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7" r:id="rId1"/>
    <p:sldMasterId id="2147483659" r:id="rId2"/>
  </p:sldMasterIdLst>
  <p:notesMasterIdLst>
    <p:notesMasterId r:id="rId10"/>
  </p:notesMasterIdLst>
  <p:handoutMasterIdLst>
    <p:handoutMasterId r:id="rId11"/>
  </p:handoutMasterIdLst>
  <p:sldIdLst>
    <p:sldId id="299" r:id="rId3"/>
    <p:sldId id="308" r:id="rId4"/>
    <p:sldId id="287" r:id="rId5"/>
    <p:sldId id="274" r:id="rId6"/>
    <p:sldId id="306" r:id="rId7"/>
    <p:sldId id="289" r:id="rId8"/>
    <p:sldId id="259" r:id="rId9"/>
  </p:sldIdLst>
  <p:sldSz cx="9144000" cy="5143500" type="screen16x9"/>
  <p:notesSz cx="6858000" cy="9144000"/>
  <p:embeddedFontLst>
    <p:embeddedFont>
      <p:font typeface="Calibri Light" panose="020F0302020204030204" pitchFamily="34" charset="0"/>
      <p:regular r:id="rId12"/>
      <p:italic r:id="rId13"/>
    </p:embeddedFont>
    <p:embeddedFont>
      <p:font typeface="Aharoni" panose="020B0604020202020204" charset="-79"/>
      <p:bold r:id="rId14"/>
    </p:embeddedFont>
    <p:embeddedFont>
      <p:font typeface="Microsoft Tai Le" panose="020B0502040204020203" pitchFamily="34" charset="0"/>
      <p:regular r:id="rId15"/>
      <p:bold r:id="rId16"/>
    </p:embeddedFont>
    <p:embeddedFont>
      <p:font typeface="MS PGothic" panose="020B0600070205080204" pitchFamily="34" charset="-128"/>
      <p:regular r:id="rId17"/>
    </p:embeddedFont>
    <p:embeddedFont>
      <p:font typeface="Muli" panose="020B0604020202020204" charset="0"/>
      <p:regular r:id="rId18"/>
      <p:bold r:id="rId19"/>
      <p:italic r:id="rId20"/>
      <p:boldItalic r:id="rId21"/>
    </p:embeddedFont>
    <p:embeddedFont>
      <p:font typeface="Trebuchet MS" panose="020B0603020202020204" pitchFamily="34" charset="0"/>
      <p:regular r:id="rId22"/>
      <p:bold r:id="rId23"/>
      <p:italic r:id="rId24"/>
      <p:boldItalic r:id="rId25"/>
    </p:embeddedFont>
    <p:embeddedFont>
      <p:font typeface="Calibri" panose="020F0502020204030204" pitchFamily="34" charset="0"/>
      <p:regular r:id="rId26"/>
      <p:bold r:id="rId27"/>
      <p:italic r:id="rId28"/>
      <p:boldItalic r:id="rId29"/>
    </p:embeddedFont>
    <p:embeddedFont>
      <p:font typeface="Nirmala UI" panose="020B0502040204020203" pitchFamily="34" charset="0"/>
      <p:regular r:id="rId30"/>
      <p:bold r:id="rId31"/>
    </p:embeddedFont>
    <p:embeddedFont>
      <p:font typeface="Estrangelo Edessa" panose="020B0604020202020204" charset="0"/>
      <p:regular r:id="rId32"/>
    </p:embeddedFont>
    <p:embeddedFont>
      <p:font typeface="MS PGothic" panose="020B0600070205080204" pitchFamily="34" charset="-128"/>
      <p:regular r:id="rId17"/>
    </p:embeddedFont>
    <p:embeddedFont>
      <p:font typeface="Gill Sans MT" panose="020B0502020104020203" pitchFamily="34" charset="0"/>
      <p:regular r:id="rId33"/>
      <p:bold r:id="rId34"/>
      <p:italic r:id="rId35"/>
      <p:boldItalic r:id="rId36"/>
    </p:embeddedFont>
    <p:embeddedFont>
      <p:font typeface="Nixie One" panose="020B0604020202020204" charset="0"/>
      <p:regular r:id="rId37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iya Rufianne" initials="GR" lastIdx="2" clrIdx="0">
    <p:extLst>
      <p:ext uri="{19B8F6BF-5375-455C-9EA6-DF929625EA0E}">
        <p15:presenceInfo xmlns:p15="http://schemas.microsoft.com/office/powerpoint/2012/main" userId="S-1-5-21-88094858-919529-1617787245-36730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5FF"/>
    <a:srgbClr val="00E1C6"/>
    <a:srgbClr val="FFC000"/>
    <a:srgbClr val="3292E1"/>
    <a:srgbClr val="1D405D"/>
    <a:srgbClr val="CD6D1E"/>
    <a:srgbClr val="E885F5"/>
    <a:srgbClr val="F2F2AA"/>
    <a:srgbClr val="E1CEAB"/>
    <a:srgbClr val="E3CF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BC713F6F-9E95-4003-BA17-2CD16246FE94}">
  <a:tblStyle styleId="{BC713F6F-9E95-4003-BA17-2CD16246FE94}" styleName="Table_0">
    <a:wholeTbl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insideV>
        </a:tcBdr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247" autoAdjust="0"/>
    <p:restoredTop sz="94660"/>
  </p:normalViewPr>
  <p:slideViewPr>
    <p:cSldViewPr snapToGrid="0">
      <p:cViewPr varScale="1">
        <p:scale>
          <a:sx n="80" d="100"/>
          <a:sy n="80" d="100"/>
        </p:scale>
        <p:origin x="109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26" Type="http://schemas.openxmlformats.org/officeDocument/2006/relationships/font" Target="fonts/font15.fntdata"/><Relationship Id="rId39" Type="http://schemas.openxmlformats.org/officeDocument/2006/relationships/presProps" Target="presProps.xml"/><Relationship Id="rId21" Type="http://schemas.openxmlformats.org/officeDocument/2006/relationships/font" Target="fonts/font10.fntdata"/><Relationship Id="rId34" Type="http://schemas.openxmlformats.org/officeDocument/2006/relationships/font" Target="fonts/font23.fntdata"/><Relationship Id="rId42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5.fntdata"/><Relationship Id="rId20" Type="http://schemas.openxmlformats.org/officeDocument/2006/relationships/font" Target="fonts/font9.fntdata"/><Relationship Id="rId29" Type="http://schemas.openxmlformats.org/officeDocument/2006/relationships/font" Target="fonts/font18.fntdata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24" Type="http://schemas.openxmlformats.org/officeDocument/2006/relationships/font" Target="fonts/font13.fntdata"/><Relationship Id="rId32" Type="http://schemas.openxmlformats.org/officeDocument/2006/relationships/font" Target="fonts/font21.fntdata"/><Relationship Id="rId37" Type="http://schemas.openxmlformats.org/officeDocument/2006/relationships/font" Target="fonts/font26.fntdata"/><Relationship Id="rId40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font" Target="fonts/font4.fntdata"/><Relationship Id="rId23" Type="http://schemas.openxmlformats.org/officeDocument/2006/relationships/font" Target="fonts/font12.fntdata"/><Relationship Id="rId28" Type="http://schemas.openxmlformats.org/officeDocument/2006/relationships/font" Target="fonts/font17.fntdata"/><Relationship Id="rId36" Type="http://schemas.openxmlformats.org/officeDocument/2006/relationships/font" Target="fonts/font25.fntdata"/><Relationship Id="rId10" Type="http://schemas.openxmlformats.org/officeDocument/2006/relationships/notesMaster" Target="notesMasters/notesMaster1.xml"/><Relationship Id="rId19" Type="http://schemas.openxmlformats.org/officeDocument/2006/relationships/font" Target="fonts/font8.fntdata"/><Relationship Id="rId31" Type="http://schemas.openxmlformats.org/officeDocument/2006/relationships/font" Target="fonts/font20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font" Target="fonts/font3.fntdata"/><Relationship Id="rId22" Type="http://schemas.openxmlformats.org/officeDocument/2006/relationships/font" Target="fonts/font11.fntdata"/><Relationship Id="rId27" Type="http://schemas.openxmlformats.org/officeDocument/2006/relationships/font" Target="fonts/font16.fntdata"/><Relationship Id="rId30" Type="http://schemas.openxmlformats.org/officeDocument/2006/relationships/font" Target="fonts/font19.fntdata"/><Relationship Id="rId35" Type="http://schemas.openxmlformats.org/officeDocument/2006/relationships/font" Target="fonts/font24.fntdata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5" Type="http://schemas.openxmlformats.org/officeDocument/2006/relationships/font" Target="fonts/font14.fntdata"/><Relationship Id="rId33" Type="http://schemas.openxmlformats.org/officeDocument/2006/relationships/font" Target="fonts/font22.fntdata"/><Relationship Id="rId38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F11879-4C2A-4DCF-90B0-32EC58F4A965}" type="datetimeFigureOut">
              <a:rPr lang="en-US" smtClean="0"/>
              <a:t>5/9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503B6D-4300-4645-BA48-B9072378B6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40386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299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 sz="1100"/>
            </a:lvl1pPr>
            <a:lvl2pPr lvl="1">
              <a:spcBef>
                <a:spcPts val="0"/>
              </a:spcBef>
              <a:defRPr sz="1100"/>
            </a:lvl2pPr>
            <a:lvl3pPr lvl="2">
              <a:spcBef>
                <a:spcPts val="0"/>
              </a:spcBef>
              <a:defRPr sz="1100"/>
            </a:lvl3pPr>
            <a:lvl4pPr lvl="3">
              <a:spcBef>
                <a:spcPts val="0"/>
              </a:spcBef>
              <a:defRPr sz="1100"/>
            </a:lvl4pPr>
            <a:lvl5pPr lvl="4">
              <a:spcBef>
                <a:spcPts val="0"/>
              </a:spcBef>
              <a:defRPr sz="1100"/>
            </a:lvl5pPr>
            <a:lvl6pPr lvl="5">
              <a:spcBef>
                <a:spcPts val="0"/>
              </a:spcBef>
              <a:defRPr sz="1100"/>
            </a:lvl6pPr>
            <a:lvl7pPr lvl="6">
              <a:spcBef>
                <a:spcPts val="0"/>
              </a:spcBef>
              <a:defRPr sz="1100"/>
            </a:lvl7pPr>
            <a:lvl8pPr lvl="7">
              <a:spcBef>
                <a:spcPts val="0"/>
              </a:spcBef>
              <a:defRPr sz="1100"/>
            </a:lvl8pPr>
            <a:lvl9pPr lvl="8">
              <a:spcBef>
                <a:spcPts val="0"/>
              </a:spcBef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02100762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5" name="Shape 1405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06" name="Shape 140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3015795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09600" y="1150938"/>
            <a:ext cx="5519738" cy="3105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32923" indent="-232923"/>
            <a:r>
              <a:rPr lang="en-US" b="0" baseline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[a bird’s eye view of GPOBA’s reach, including closed and active subsidy projects, pipeline under preparation, TA, and </a:t>
            </a:r>
            <a:r>
              <a:rPr lang="en-US" b="0" baseline="0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PforR</a:t>
            </a:r>
            <a:r>
              <a:rPr lang="en-US" b="0" baseline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 support</a:t>
            </a:r>
          </a:p>
          <a:p>
            <a:pPr marL="232923" indent="-232923"/>
            <a:r>
              <a:rPr lang="en-US" b="0" baseline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*Striped countries signify where GPOBA has multiple activities, i.e., subsidy project + </a:t>
            </a:r>
            <a:r>
              <a:rPr lang="en-US" b="0" baseline="0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PforR</a:t>
            </a:r>
            <a:r>
              <a:rPr lang="en-US" b="0" baseline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 support]</a:t>
            </a:r>
          </a:p>
          <a:p>
            <a:pPr marL="232923" indent="-232923"/>
            <a:endParaRPr lang="en-US" b="0" baseline="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Wingdings" panose="05000000000000000000" pitchFamily="2" charset="2"/>
            </a:endParaRPr>
          </a:p>
          <a:p>
            <a:pPr marL="232923" indent="-232923"/>
            <a:r>
              <a:rPr lang="en-US" b="0" baseline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GPOBA has over 12 years experience in core infrastructure and across 7 sectors (list) and exploring transport, urban services &amp; housing</a:t>
            </a:r>
          </a:p>
          <a:p>
            <a:pPr marL="232923" indent="-232923"/>
            <a:r>
              <a:rPr lang="en-US" b="0" baseline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Reaching over 9 million people</a:t>
            </a:r>
          </a:p>
          <a:p>
            <a:pPr marL="232923" indent="-232923"/>
            <a:endParaRPr lang="en-US" b="0" baseline="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Wingdings" panose="05000000000000000000" pitchFamily="2" charset="2"/>
            </a:endParaRPr>
          </a:p>
          <a:p>
            <a:pPr marL="232923" indent="-232923"/>
            <a:r>
              <a:rPr lang="en-US" b="0" baseline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[ Review Activities, Donors, Reach]</a:t>
            </a:r>
          </a:p>
          <a:p>
            <a:pPr marL="232923" indent="-232923"/>
            <a:r>
              <a:rPr lang="en-US" b="0" baseline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We know how to connect infrastructure with people who need it most</a:t>
            </a:r>
          </a:p>
          <a:p>
            <a:pPr marL="232923" indent="-232923"/>
            <a:endParaRPr lang="en-US" b="0" baseline="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Wingdings" panose="05000000000000000000" pitchFamily="2" charset="2"/>
            </a:endParaRPr>
          </a:p>
          <a:p>
            <a:pPr marL="232923" indent="-232923"/>
            <a:r>
              <a:rPr lang="en-US" b="0" baseline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Wingdings" panose="05000000000000000000" pitchFamily="2" charset="2"/>
              </a:rPr>
              <a:t>GPOBA has a dedicated team with decades of experience in PPPs, Infrastructure and Finance, also the experience and understanding to effectively reach consumers in low income communities</a:t>
            </a:r>
          </a:p>
          <a:p>
            <a:pPr marL="232923" indent="-232923"/>
            <a:endParaRPr lang="en-US" b="0" baseline="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Wingdings" panose="05000000000000000000" pitchFamily="2" charset="2"/>
            </a:endParaRPr>
          </a:p>
          <a:p>
            <a:pPr marL="232923" indent="-232923"/>
            <a:endParaRPr lang="en-US" b="0" baseline="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Wingdings" panose="05000000000000000000" pitchFamily="2" charset="2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b="1" dirty="0"/>
              <a:t>-Knowledge dissemination </a:t>
            </a:r>
            <a:r>
              <a:rPr lang="en-US" dirty="0"/>
              <a:t>through publications, webinars, online media, face-to-face clinics, and other events</a:t>
            </a:r>
          </a:p>
          <a:p>
            <a:pPr marL="232923" indent="-232923"/>
            <a:endParaRPr lang="en-US" b="0" baseline="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Wingdings" panose="05000000000000000000" pitchFamily="2" charset="2"/>
            </a:endParaRPr>
          </a:p>
          <a:p>
            <a:pPr marL="232923" indent="-232923"/>
            <a:endParaRPr lang="en-US" b="0" baseline="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9533528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0" name="Shape 1410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11" name="Shape 1411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511460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5" name="Shape 1615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16" name="Shape 1616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650770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0" name="Shape 1410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11" name="Shape 1411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745841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0" name="Shape 1410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11" name="Shape 1411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607261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6" name="Shape 1426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27" name="Shape 142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727001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9"/>
          <p:cNvSpPr txBox="1">
            <a:spLocks noGrp="1"/>
          </p:cNvSpPr>
          <p:nvPr>
            <p:ph type="ctrTitle"/>
          </p:nvPr>
        </p:nvSpPr>
        <p:spPr>
          <a:xfrm>
            <a:off x="1400175" y="1991825"/>
            <a:ext cx="6343500" cy="1159799"/>
          </a:xfrm>
          <a:prstGeom prst="rect">
            <a:avLst/>
          </a:prstGeom>
        </p:spPr>
        <p:txBody>
          <a:bodyPr lIns="91425" tIns="91425" rIns="91425" bIns="91425" anchor="ctr" anchorCtr="0"/>
          <a:lstStyle>
            <a:lvl1pPr lvl="0" algn="ctr">
              <a:spcBef>
                <a:spcPts val="0"/>
              </a:spcBef>
              <a:buSzPct val="100000"/>
              <a:defRPr sz="4800"/>
            </a:lvl1pPr>
            <a:lvl2pPr lvl="1" algn="ctr">
              <a:spcBef>
                <a:spcPts val="0"/>
              </a:spcBef>
              <a:buSzPct val="100000"/>
              <a:defRPr sz="4800"/>
            </a:lvl2pPr>
            <a:lvl3pPr lvl="2" algn="ctr">
              <a:spcBef>
                <a:spcPts val="0"/>
              </a:spcBef>
              <a:buSzPct val="100000"/>
              <a:defRPr sz="4800"/>
            </a:lvl3pPr>
            <a:lvl4pPr lvl="3" algn="ctr">
              <a:spcBef>
                <a:spcPts val="0"/>
              </a:spcBef>
              <a:buSzPct val="100000"/>
              <a:defRPr sz="4800"/>
            </a:lvl4pPr>
            <a:lvl5pPr lvl="4" algn="ctr">
              <a:spcBef>
                <a:spcPts val="0"/>
              </a:spcBef>
              <a:buSzPct val="100000"/>
              <a:defRPr sz="4800"/>
            </a:lvl5pPr>
            <a:lvl6pPr lvl="5" algn="ctr">
              <a:spcBef>
                <a:spcPts val="0"/>
              </a:spcBef>
              <a:buSzPct val="100000"/>
              <a:defRPr sz="4800"/>
            </a:lvl6pPr>
            <a:lvl7pPr lvl="6" algn="ctr">
              <a:spcBef>
                <a:spcPts val="0"/>
              </a:spcBef>
              <a:buSzPct val="100000"/>
              <a:defRPr sz="4800"/>
            </a:lvl7pPr>
            <a:lvl8pPr lvl="7" algn="ctr">
              <a:spcBef>
                <a:spcPts val="0"/>
              </a:spcBef>
              <a:buSzPct val="100000"/>
              <a:defRPr sz="4800"/>
            </a:lvl8pPr>
            <a:lvl9pPr lvl="8" algn="ctr">
              <a:spcBef>
                <a:spcPts val="0"/>
              </a:spcBef>
              <a:buSzPct val="100000"/>
              <a:defRPr sz="4800"/>
            </a:lvl9pPr>
          </a:lstStyle>
          <a:p>
            <a:endParaRPr/>
          </a:p>
        </p:txBody>
      </p:sp>
      <p:sp>
        <p:nvSpPr>
          <p:cNvPr id="211" name="Rectangle 210"/>
          <p:cNvSpPr/>
          <p:nvPr userDrawn="1"/>
        </p:nvSpPr>
        <p:spPr>
          <a:xfrm>
            <a:off x="1196428" y="3857442"/>
            <a:ext cx="1371600" cy="91440"/>
          </a:xfrm>
          <a:prstGeom prst="rect">
            <a:avLst/>
          </a:prstGeom>
          <a:solidFill>
            <a:srgbClr val="00E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2" name="Rectangle 211"/>
          <p:cNvSpPr/>
          <p:nvPr userDrawn="1"/>
        </p:nvSpPr>
        <p:spPr>
          <a:xfrm>
            <a:off x="2568028" y="3857442"/>
            <a:ext cx="1371600" cy="91440"/>
          </a:xfrm>
          <a:prstGeom prst="rect">
            <a:avLst/>
          </a:prstGeom>
          <a:solidFill>
            <a:srgbClr val="3292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3" name="Rectangle 212"/>
          <p:cNvSpPr/>
          <p:nvPr userDrawn="1"/>
        </p:nvSpPr>
        <p:spPr>
          <a:xfrm>
            <a:off x="3939628" y="3857442"/>
            <a:ext cx="1371600" cy="91440"/>
          </a:xfrm>
          <a:prstGeom prst="rect">
            <a:avLst/>
          </a:prstGeom>
          <a:solidFill>
            <a:srgbClr val="19B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4" name="Rectangle 213"/>
          <p:cNvSpPr/>
          <p:nvPr userDrawn="1"/>
        </p:nvSpPr>
        <p:spPr>
          <a:xfrm>
            <a:off x="5311228" y="3857442"/>
            <a:ext cx="1371600" cy="914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5" name="Rectangle 214"/>
          <p:cNvSpPr/>
          <p:nvPr userDrawn="1"/>
        </p:nvSpPr>
        <p:spPr>
          <a:xfrm>
            <a:off x="6682828" y="3857442"/>
            <a:ext cx="1371600" cy="91440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72C6BA-991C-4FC6-9826-BB59078AB9C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5E020-1E93-4A3F-9435-2EC62D9EE5F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9895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72C6BA-991C-4FC6-9826-BB59078AB9C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5E020-1E93-4A3F-9435-2EC62D9EE5F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11269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72C6BA-991C-4FC6-9826-BB59078AB9C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5E020-1E93-4A3F-9435-2EC62D9EE5F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3873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72C6BA-991C-4FC6-9826-BB59078AB9C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5E020-1E93-4A3F-9435-2EC62D9EE5F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09807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72C6BA-991C-4FC6-9826-BB59078AB9C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5E020-1E93-4A3F-9435-2EC62D9EE5F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64309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72C6BA-991C-4FC6-9826-BB59078AB9C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5E020-1E93-4A3F-9435-2EC62D9EE5F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53807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1682"/>
          <p:cNvSpPr>
            <a:spLocks/>
          </p:cNvSpPr>
          <p:nvPr/>
        </p:nvSpPr>
        <p:spPr bwMode="auto">
          <a:xfrm flipH="1">
            <a:off x="6380163" y="461965"/>
            <a:ext cx="1014412" cy="1421606"/>
          </a:xfrm>
          <a:custGeom>
            <a:avLst/>
            <a:gdLst>
              <a:gd name="T0" fmla="*/ 0 w 638"/>
              <a:gd name="T1" fmla="*/ 0 h 1194"/>
              <a:gd name="T2" fmla="*/ 2147483647 w 638"/>
              <a:gd name="T3" fmla="*/ 2147483647 h 1194"/>
              <a:gd name="T4" fmla="*/ 2147483647 w 638"/>
              <a:gd name="T5" fmla="*/ 2147483647 h 1194"/>
              <a:gd name="T6" fmla="*/ 2147483647 w 638"/>
              <a:gd name="T7" fmla="*/ 2147483647 h 1194"/>
              <a:gd name="T8" fmla="*/ 2147483647 w 638"/>
              <a:gd name="T9" fmla="*/ 2147483647 h 1194"/>
              <a:gd name="T10" fmla="*/ 2147483647 w 638"/>
              <a:gd name="T11" fmla="*/ 2147483647 h 1194"/>
              <a:gd name="T12" fmla="*/ 2147483647 w 638"/>
              <a:gd name="T13" fmla="*/ 2147483647 h 1194"/>
              <a:gd name="T14" fmla="*/ 2147483647 w 638"/>
              <a:gd name="T15" fmla="*/ 2147483647 h 1194"/>
              <a:gd name="T16" fmla="*/ 2147483647 w 638"/>
              <a:gd name="T17" fmla="*/ 2147483647 h 1194"/>
              <a:gd name="T18" fmla="*/ 2147483647 w 638"/>
              <a:gd name="T19" fmla="*/ 2147483647 h 1194"/>
              <a:gd name="T20" fmla="*/ 2147483647 w 638"/>
              <a:gd name="T21" fmla="*/ 2147483647 h 1194"/>
              <a:gd name="T22" fmla="*/ 2147483647 w 638"/>
              <a:gd name="T23" fmla="*/ 2147483647 h 1194"/>
              <a:gd name="T24" fmla="*/ 2147483647 w 638"/>
              <a:gd name="T25" fmla="*/ 2147483647 h 1194"/>
              <a:gd name="T26" fmla="*/ 2147483647 w 638"/>
              <a:gd name="T27" fmla="*/ 2147483647 h 1194"/>
              <a:gd name="T28" fmla="*/ 2147483647 w 638"/>
              <a:gd name="T29" fmla="*/ 2147483647 h 1194"/>
              <a:gd name="T30" fmla="*/ 2147483647 w 638"/>
              <a:gd name="T31" fmla="*/ 2147483647 h 1194"/>
              <a:gd name="T32" fmla="*/ 2147483647 w 638"/>
              <a:gd name="T33" fmla="*/ 2147483647 h 1194"/>
              <a:gd name="T34" fmla="*/ 2147483647 w 638"/>
              <a:gd name="T35" fmla="*/ 2147483647 h 1194"/>
              <a:gd name="T36" fmla="*/ 2147483647 w 638"/>
              <a:gd name="T37" fmla="*/ 2147483647 h 1194"/>
              <a:gd name="T38" fmla="*/ 2147483647 w 638"/>
              <a:gd name="T39" fmla="*/ 2147483647 h 1194"/>
              <a:gd name="T40" fmla="*/ 2147483647 w 638"/>
              <a:gd name="T41" fmla="*/ 2147483647 h 1194"/>
              <a:gd name="T42" fmla="*/ 2147483647 w 638"/>
              <a:gd name="T43" fmla="*/ 2147483647 h 1194"/>
              <a:gd name="T44" fmla="*/ 2147483647 w 638"/>
              <a:gd name="T45" fmla="*/ 2147483647 h 1194"/>
              <a:gd name="T46" fmla="*/ 2147483647 w 638"/>
              <a:gd name="T47" fmla="*/ 2147483647 h 1194"/>
              <a:gd name="T48" fmla="*/ 2147483647 w 638"/>
              <a:gd name="T49" fmla="*/ 2147483647 h 1194"/>
              <a:gd name="T50" fmla="*/ 2147483647 w 638"/>
              <a:gd name="T51" fmla="*/ 2147483647 h 1194"/>
              <a:gd name="T52" fmla="*/ 2147483647 w 638"/>
              <a:gd name="T53" fmla="*/ 2147483647 h 1194"/>
              <a:gd name="T54" fmla="*/ 2147483647 w 638"/>
              <a:gd name="T55" fmla="*/ 2147483647 h 1194"/>
              <a:gd name="T56" fmla="*/ 0 w 638"/>
              <a:gd name="T57" fmla="*/ 0 h 1194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638" h="1194">
                <a:moveTo>
                  <a:pt x="0" y="0"/>
                </a:moveTo>
                <a:lnTo>
                  <a:pt x="38" y="110"/>
                </a:lnTo>
                <a:lnTo>
                  <a:pt x="78" y="216"/>
                </a:lnTo>
                <a:lnTo>
                  <a:pt x="106" y="304"/>
                </a:lnTo>
                <a:lnTo>
                  <a:pt x="136" y="398"/>
                </a:lnTo>
                <a:lnTo>
                  <a:pt x="164" y="506"/>
                </a:lnTo>
                <a:lnTo>
                  <a:pt x="206" y="672"/>
                </a:lnTo>
                <a:lnTo>
                  <a:pt x="236" y="788"/>
                </a:lnTo>
                <a:lnTo>
                  <a:pt x="272" y="990"/>
                </a:lnTo>
                <a:lnTo>
                  <a:pt x="286" y="1086"/>
                </a:lnTo>
                <a:lnTo>
                  <a:pt x="302" y="1194"/>
                </a:lnTo>
                <a:lnTo>
                  <a:pt x="638" y="1194"/>
                </a:lnTo>
                <a:lnTo>
                  <a:pt x="624" y="1142"/>
                </a:lnTo>
                <a:lnTo>
                  <a:pt x="598" y="1060"/>
                </a:lnTo>
                <a:lnTo>
                  <a:pt x="572" y="980"/>
                </a:lnTo>
                <a:lnTo>
                  <a:pt x="548" y="912"/>
                </a:lnTo>
                <a:lnTo>
                  <a:pt x="494" y="784"/>
                </a:lnTo>
                <a:lnTo>
                  <a:pt x="456" y="698"/>
                </a:lnTo>
                <a:lnTo>
                  <a:pt x="424" y="626"/>
                </a:lnTo>
                <a:lnTo>
                  <a:pt x="378" y="532"/>
                </a:lnTo>
                <a:lnTo>
                  <a:pt x="340" y="470"/>
                </a:lnTo>
                <a:lnTo>
                  <a:pt x="306" y="414"/>
                </a:lnTo>
                <a:lnTo>
                  <a:pt x="268" y="342"/>
                </a:lnTo>
                <a:lnTo>
                  <a:pt x="228" y="286"/>
                </a:lnTo>
                <a:lnTo>
                  <a:pt x="174" y="210"/>
                </a:lnTo>
                <a:lnTo>
                  <a:pt x="122" y="140"/>
                </a:lnTo>
                <a:lnTo>
                  <a:pt x="58" y="52"/>
                </a:lnTo>
                <a:lnTo>
                  <a:pt x="30" y="2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5" name="Freeform 1683"/>
          <p:cNvSpPr>
            <a:spLocks/>
          </p:cNvSpPr>
          <p:nvPr/>
        </p:nvSpPr>
        <p:spPr bwMode="auto">
          <a:xfrm flipH="1">
            <a:off x="7410450" y="2381"/>
            <a:ext cx="712788" cy="438150"/>
          </a:xfrm>
          <a:custGeom>
            <a:avLst/>
            <a:gdLst>
              <a:gd name="T0" fmla="*/ 2147483647 w 448"/>
              <a:gd name="T1" fmla="*/ 2147483647 h 372"/>
              <a:gd name="T2" fmla="*/ 2147483647 w 448"/>
              <a:gd name="T3" fmla="*/ 2147483647 h 372"/>
              <a:gd name="T4" fmla="*/ 2147483647 w 448"/>
              <a:gd name="T5" fmla="*/ 2147483647 h 372"/>
              <a:gd name="T6" fmla="*/ 2147483647 w 448"/>
              <a:gd name="T7" fmla="*/ 2147483647 h 372"/>
              <a:gd name="T8" fmla="*/ 2147483647 w 448"/>
              <a:gd name="T9" fmla="*/ 2147483647 h 372"/>
              <a:gd name="T10" fmla="*/ 2147483647 w 448"/>
              <a:gd name="T11" fmla="*/ 2147483647 h 372"/>
              <a:gd name="T12" fmla="*/ 0 w 448"/>
              <a:gd name="T13" fmla="*/ 0 h 372"/>
              <a:gd name="T14" fmla="*/ 2147483647 w 448"/>
              <a:gd name="T15" fmla="*/ 0 h 372"/>
              <a:gd name="T16" fmla="*/ 2147483647 w 448"/>
              <a:gd name="T17" fmla="*/ 2147483647 h 372"/>
              <a:gd name="T18" fmla="*/ 2147483647 w 448"/>
              <a:gd name="T19" fmla="*/ 2147483647 h 372"/>
              <a:gd name="T20" fmla="*/ 2147483647 w 448"/>
              <a:gd name="T21" fmla="*/ 2147483647 h 372"/>
              <a:gd name="T22" fmla="*/ 2147483647 w 448"/>
              <a:gd name="T23" fmla="*/ 2147483647 h 372"/>
              <a:gd name="T24" fmla="*/ 2147483647 w 448"/>
              <a:gd name="T25" fmla="*/ 2147483647 h 372"/>
              <a:gd name="T26" fmla="*/ 2147483647 w 448"/>
              <a:gd name="T27" fmla="*/ 2147483647 h 372"/>
              <a:gd name="T28" fmla="*/ 2147483647 w 448"/>
              <a:gd name="T29" fmla="*/ 2147483647 h 37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48" h="372">
                <a:moveTo>
                  <a:pt x="448" y="372"/>
                </a:moveTo>
                <a:lnTo>
                  <a:pt x="388" y="302"/>
                </a:lnTo>
                <a:lnTo>
                  <a:pt x="280" y="208"/>
                </a:lnTo>
                <a:lnTo>
                  <a:pt x="210" y="142"/>
                </a:lnTo>
                <a:lnTo>
                  <a:pt x="140" y="94"/>
                </a:lnTo>
                <a:lnTo>
                  <a:pt x="64" y="44"/>
                </a:lnTo>
                <a:lnTo>
                  <a:pt x="0" y="0"/>
                </a:lnTo>
                <a:lnTo>
                  <a:pt x="280" y="0"/>
                </a:lnTo>
                <a:lnTo>
                  <a:pt x="300" y="36"/>
                </a:lnTo>
                <a:lnTo>
                  <a:pt x="324" y="82"/>
                </a:lnTo>
                <a:lnTo>
                  <a:pt x="346" y="134"/>
                </a:lnTo>
                <a:lnTo>
                  <a:pt x="378" y="206"/>
                </a:lnTo>
                <a:lnTo>
                  <a:pt x="408" y="264"/>
                </a:lnTo>
                <a:lnTo>
                  <a:pt x="434" y="334"/>
                </a:lnTo>
                <a:lnTo>
                  <a:pt x="448" y="372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6" name="Line 1086"/>
          <p:cNvSpPr>
            <a:spLocks noChangeShapeType="1"/>
          </p:cNvSpPr>
          <p:nvPr/>
        </p:nvSpPr>
        <p:spPr bwMode="auto">
          <a:xfrm>
            <a:off x="484190" y="463156"/>
            <a:ext cx="1587" cy="119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7" name="Line 1087"/>
          <p:cNvSpPr>
            <a:spLocks noChangeShapeType="1"/>
          </p:cNvSpPr>
          <p:nvPr/>
        </p:nvSpPr>
        <p:spPr bwMode="auto">
          <a:xfrm>
            <a:off x="484190" y="463156"/>
            <a:ext cx="1587" cy="119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8" name="Rectangle 1088"/>
          <p:cNvSpPr>
            <a:spLocks noChangeArrowheads="1"/>
          </p:cNvSpPr>
          <p:nvPr/>
        </p:nvSpPr>
        <p:spPr bwMode="auto">
          <a:xfrm>
            <a:off x="484190" y="463156"/>
            <a:ext cx="1587" cy="1190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buFontTx/>
              <a:buChar char="•"/>
              <a:defRPr/>
            </a:pPr>
            <a:endParaRPr lang="en-US" altLang="en-US" sz="731" b="0" kern="1200">
              <a:solidFill>
                <a:srgbClr val="002345"/>
              </a:solidFill>
              <a:cs typeface="+mn-cs"/>
            </a:endParaRPr>
          </a:p>
        </p:txBody>
      </p:sp>
      <p:sp>
        <p:nvSpPr>
          <p:cNvPr id="9" name="Rectangle 1089"/>
          <p:cNvSpPr>
            <a:spLocks noChangeArrowheads="1"/>
          </p:cNvSpPr>
          <p:nvPr/>
        </p:nvSpPr>
        <p:spPr bwMode="auto">
          <a:xfrm>
            <a:off x="484190" y="463156"/>
            <a:ext cx="1587" cy="11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buFontTx/>
              <a:buChar char="•"/>
              <a:defRPr/>
            </a:pPr>
            <a:endParaRPr lang="en-US" altLang="en-US" sz="731" b="0" kern="1200">
              <a:solidFill>
                <a:srgbClr val="002345"/>
              </a:solidFill>
              <a:cs typeface="+mn-cs"/>
            </a:endParaRPr>
          </a:p>
        </p:txBody>
      </p:sp>
      <p:sp>
        <p:nvSpPr>
          <p:cNvPr id="10" name="Freeform 1098"/>
          <p:cNvSpPr>
            <a:spLocks/>
          </p:cNvSpPr>
          <p:nvPr/>
        </p:nvSpPr>
        <p:spPr bwMode="auto">
          <a:xfrm>
            <a:off x="487365" y="463156"/>
            <a:ext cx="3175" cy="1190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0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0 w 2"/>
              <a:gd name="T25" fmla="*/ 0 h 1587"/>
              <a:gd name="T26" fmla="*/ 0 w 2"/>
              <a:gd name="T27" fmla="*/ 0 h 1587"/>
              <a:gd name="T28" fmla="*/ 0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11" name="Freeform 1115"/>
          <p:cNvSpPr>
            <a:spLocks/>
          </p:cNvSpPr>
          <p:nvPr/>
        </p:nvSpPr>
        <p:spPr bwMode="auto">
          <a:xfrm>
            <a:off x="458790" y="354807"/>
            <a:ext cx="3175" cy="2381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2147483647 w 2"/>
              <a:gd name="T15" fmla="*/ 2147483647 h 2"/>
              <a:gd name="T16" fmla="*/ 2147483647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2147483647 w 2"/>
              <a:gd name="T29" fmla="*/ 2147483647 h 2"/>
              <a:gd name="T30" fmla="*/ 2147483647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2147483647 h 2"/>
              <a:gd name="T36" fmla="*/ 2147483647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2147483647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2147483647 w 2"/>
              <a:gd name="T63" fmla="*/ 2147483647 h 2"/>
              <a:gd name="T64" fmla="*/ 0 w 2"/>
              <a:gd name="T65" fmla="*/ 2147483647 h 2"/>
              <a:gd name="T66" fmla="*/ 0 w 2"/>
              <a:gd name="T67" fmla="*/ 2147483647 h 2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12" name="Freeform 1120"/>
          <p:cNvSpPr>
            <a:spLocks/>
          </p:cNvSpPr>
          <p:nvPr/>
        </p:nvSpPr>
        <p:spPr bwMode="auto">
          <a:xfrm>
            <a:off x="458790" y="347665"/>
            <a:ext cx="3175" cy="2381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0 w 2"/>
              <a:gd name="T5" fmla="*/ 2147483647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2147483647 w 2"/>
              <a:gd name="T13" fmla="*/ 0 h 2"/>
              <a:gd name="T14" fmla="*/ 2147483647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0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2147483647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2147483647 w 2"/>
              <a:gd name="T53" fmla="*/ 2147483647 h 2"/>
              <a:gd name="T54" fmla="*/ 2147483647 w 2"/>
              <a:gd name="T55" fmla="*/ 2147483647 h 2"/>
              <a:gd name="T56" fmla="*/ 2147483647 w 2"/>
              <a:gd name="T57" fmla="*/ 0 h 2"/>
              <a:gd name="T58" fmla="*/ 0 w 2"/>
              <a:gd name="T59" fmla="*/ 0 h 2"/>
              <a:gd name="T60" fmla="*/ 0 w 2"/>
              <a:gd name="T61" fmla="*/ 0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13" name="Freeform 1134"/>
          <p:cNvSpPr>
            <a:spLocks/>
          </p:cNvSpPr>
          <p:nvPr/>
        </p:nvSpPr>
        <p:spPr bwMode="auto">
          <a:xfrm>
            <a:off x="703265" y="385762"/>
            <a:ext cx="3175" cy="4763"/>
          </a:xfrm>
          <a:custGeom>
            <a:avLst/>
            <a:gdLst>
              <a:gd name="T0" fmla="*/ 2147483647 w 2"/>
              <a:gd name="T1" fmla="*/ 2147483647 h 4"/>
              <a:gd name="T2" fmla="*/ 2147483647 w 2"/>
              <a:gd name="T3" fmla="*/ 2147483647 h 4"/>
              <a:gd name="T4" fmla="*/ 2147483647 w 2"/>
              <a:gd name="T5" fmla="*/ 2147483647 h 4"/>
              <a:gd name="T6" fmla="*/ 2147483647 w 2"/>
              <a:gd name="T7" fmla="*/ 2147483647 h 4"/>
              <a:gd name="T8" fmla="*/ 2147483647 w 2"/>
              <a:gd name="T9" fmla="*/ 0 h 4"/>
              <a:gd name="T10" fmla="*/ 2147483647 w 2"/>
              <a:gd name="T11" fmla="*/ 0 h 4"/>
              <a:gd name="T12" fmla="*/ 2147483647 w 2"/>
              <a:gd name="T13" fmla="*/ 0 h 4"/>
              <a:gd name="T14" fmla="*/ 0 w 2"/>
              <a:gd name="T15" fmla="*/ 2147483647 h 4"/>
              <a:gd name="T16" fmla="*/ 2147483647 w 2"/>
              <a:gd name="T17" fmla="*/ 2147483647 h 4"/>
              <a:gd name="T18" fmla="*/ 2147483647 w 2"/>
              <a:gd name="T19" fmla="*/ 2147483647 h 4"/>
              <a:gd name="T20" fmla="*/ 2147483647 w 2"/>
              <a:gd name="T21" fmla="*/ 2147483647 h 4"/>
              <a:gd name="T22" fmla="*/ 2147483647 w 2"/>
              <a:gd name="T23" fmla="*/ 0 h 4"/>
              <a:gd name="T24" fmla="*/ 2147483647 w 2"/>
              <a:gd name="T25" fmla="*/ 2147483647 h 4"/>
              <a:gd name="T26" fmla="*/ 2147483647 w 2"/>
              <a:gd name="T27" fmla="*/ 2147483647 h 4"/>
              <a:gd name="T28" fmla="*/ 2147483647 w 2"/>
              <a:gd name="T29" fmla="*/ 2147483647 h 4"/>
              <a:gd name="T30" fmla="*/ 2147483647 w 2"/>
              <a:gd name="T31" fmla="*/ 2147483647 h 4"/>
              <a:gd name="T32" fmla="*/ 2147483647 w 2"/>
              <a:gd name="T33" fmla="*/ 2147483647 h 4"/>
              <a:gd name="T34" fmla="*/ 2147483647 w 2"/>
              <a:gd name="T35" fmla="*/ 2147483647 h 4"/>
              <a:gd name="T36" fmla="*/ 2147483647 w 2"/>
              <a:gd name="T37" fmla="*/ 2147483647 h 4"/>
              <a:gd name="T38" fmla="*/ 2147483647 w 2"/>
              <a:gd name="T39" fmla="*/ 2147483647 h 4"/>
              <a:gd name="T40" fmla="*/ 2147483647 w 2"/>
              <a:gd name="T41" fmla="*/ 2147483647 h 4"/>
              <a:gd name="T42" fmla="*/ 2147483647 w 2"/>
              <a:gd name="T43" fmla="*/ 2147483647 h 4"/>
              <a:gd name="T44" fmla="*/ 2147483647 w 2"/>
              <a:gd name="T45" fmla="*/ 2147483647 h 4"/>
              <a:gd name="T46" fmla="*/ 2147483647 w 2"/>
              <a:gd name="T47" fmla="*/ 2147483647 h 4"/>
              <a:gd name="T48" fmla="*/ 2147483647 w 2"/>
              <a:gd name="T49" fmla="*/ 2147483647 h 4"/>
              <a:gd name="T50" fmla="*/ 2147483647 w 2"/>
              <a:gd name="T51" fmla="*/ 2147483647 h 4"/>
              <a:gd name="T52" fmla="*/ 0 w 2"/>
              <a:gd name="T53" fmla="*/ 2147483647 h 4"/>
              <a:gd name="T54" fmla="*/ 2147483647 w 2"/>
              <a:gd name="T55" fmla="*/ 2147483647 h 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0" t="0" r="r" b="b"/>
            <a:pathLst>
              <a:path w="2" h="4">
                <a:moveTo>
                  <a:pt x="2" y="4"/>
                </a:move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4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0" y="2"/>
                </a:lnTo>
                <a:lnTo>
                  <a:pt x="2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14" name="Freeform 1141"/>
          <p:cNvSpPr>
            <a:spLocks/>
          </p:cNvSpPr>
          <p:nvPr/>
        </p:nvSpPr>
        <p:spPr bwMode="auto">
          <a:xfrm>
            <a:off x="706439" y="359569"/>
            <a:ext cx="1587" cy="4763"/>
          </a:xfrm>
          <a:custGeom>
            <a:avLst/>
            <a:gdLst>
              <a:gd name="T0" fmla="*/ 0 w 1587"/>
              <a:gd name="T1" fmla="*/ 2147483647 h 4"/>
              <a:gd name="T2" fmla="*/ 0 w 1587"/>
              <a:gd name="T3" fmla="*/ 2147483647 h 4"/>
              <a:gd name="T4" fmla="*/ 0 w 1587"/>
              <a:gd name="T5" fmla="*/ 0 h 4"/>
              <a:gd name="T6" fmla="*/ 0 w 1587"/>
              <a:gd name="T7" fmla="*/ 0 h 4"/>
              <a:gd name="T8" fmla="*/ 0 w 1587"/>
              <a:gd name="T9" fmla="*/ 2147483647 h 4"/>
              <a:gd name="T10" fmla="*/ 0 w 1587"/>
              <a:gd name="T11" fmla="*/ 2147483647 h 4"/>
              <a:gd name="T12" fmla="*/ 0 w 1587"/>
              <a:gd name="T13" fmla="*/ 2147483647 h 4"/>
              <a:gd name="T14" fmla="*/ 0 w 1587"/>
              <a:gd name="T15" fmla="*/ 2147483647 h 4"/>
              <a:gd name="T16" fmla="*/ 0 w 1587"/>
              <a:gd name="T17" fmla="*/ 2147483647 h 4"/>
              <a:gd name="T18" fmla="*/ 0 w 1587"/>
              <a:gd name="T19" fmla="*/ 2147483647 h 4"/>
              <a:gd name="T20" fmla="*/ 0 w 1587"/>
              <a:gd name="T21" fmla="*/ 2147483647 h 4"/>
              <a:gd name="T22" fmla="*/ 0 w 1587"/>
              <a:gd name="T23" fmla="*/ 2147483647 h 4"/>
              <a:gd name="T24" fmla="*/ 0 w 1587"/>
              <a:gd name="T25" fmla="*/ 2147483647 h 4"/>
              <a:gd name="T26" fmla="*/ 0 w 1587"/>
              <a:gd name="T27" fmla="*/ 2147483647 h 4"/>
              <a:gd name="T28" fmla="*/ 0 w 1587"/>
              <a:gd name="T29" fmla="*/ 2147483647 h 4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1587" h="4">
                <a:moveTo>
                  <a:pt x="0" y="4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0" y="2"/>
                </a:lnTo>
                <a:lnTo>
                  <a:pt x="0" y="4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15" name="Freeform 1148"/>
          <p:cNvSpPr>
            <a:spLocks/>
          </p:cNvSpPr>
          <p:nvPr/>
        </p:nvSpPr>
        <p:spPr bwMode="auto">
          <a:xfrm>
            <a:off x="693740" y="345282"/>
            <a:ext cx="3175" cy="2381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0 h 2"/>
              <a:gd name="T4" fmla="*/ 2147483647 w 2"/>
              <a:gd name="T5" fmla="*/ 0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2147483647 w 2"/>
              <a:gd name="T27" fmla="*/ 0 h 2"/>
              <a:gd name="T28" fmla="*/ 2147483647 w 2"/>
              <a:gd name="T29" fmla="*/ 0 h 2"/>
              <a:gd name="T30" fmla="*/ 0 w 2"/>
              <a:gd name="T31" fmla="*/ 2147483647 h 2"/>
              <a:gd name="T32" fmla="*/ 2147483647 w 2"/>
              <a:gd name="T33" fmla="*/ 2147483647 h 2"/>
              <a:gd name="T34" fmla="*/ 2147483647 w 2"/>
              <a:gd name="T35" fmla="*/ 0 h 2"/>
              <a:gd name="T36" fmla="*/ 0 w 2"/>
              <a:gd name="T37" fmla="*/ 2147483647 h 2"/>
              <a:gd name="T38" fmla="*/ 2147483647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2147483647 w 2"/>
              <a:gd name="T59" fmla="*/ 2147483647 h 2"/>
              <a:gd name="T60" fmla="*/ 2147483647 w 2"/>
              <a:gd name="T61" fmla="*/ 2147483647 h 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16" name="Freeform 1150"/>
          <p:cNvSpPr>
            <a:spLocks/>
          </p:cNvSpPr>
          <p:nvPr/>
        </p:nvSpPr>
        <p:spPr bwMode="auto">
          <a:xfrm>
            <a:off x="684215" y="335758"/>
            <a:ext cx="1587" cy="2381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0 h 2"/>
              <a:gd name="T4" fmla="*/ 0 w 1587"/>
              <a:gd name="T5" fmla="*/ 2147483647 h 2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17" name="Freeform 1152"/>
          <p:cNvSpPr>
            <a:spLocks/>
          </p:cNvSpPr>
          <p:nvPr/>
        </p:nvSpPr>
        <p:spPr bwMode="auto">
          <a:xfrm>
            <a:off x="684215" y="335758"/>
            <a:ext cx="3175" cy="2381"/>
          </a:xfrm>
          <a:custGeom>
            <a:avLst/>
            <a:gdLst>
              <a:gd name="T0" fmla="*/ 2147483647 w 2"/>
              <a:gd name="T1" fmla="*/ 0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0 h 2"/>
              <a:gd name="T8" fmla="*/ 0 w 2"/>
              <a:gd name="T9" fmla="*/ 2147483647 h 2"/>
              <a:gd name="T10" fmla="*/ 2147483647 w 2"/>
              <a:gd name="T11" fmla="*/ 2147483647 h 2"/>
              <a:gd name="T12" fmla="*/ 2147483647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18" name="Freeform 1154"/>
          <p:cNvSpPr>
            <a:spLocks/>
          </p:cNvSpPr>
          <p:nvPr/>
        </p:nvSpPr>
        <p:spPr bwMode="auto">
          <a:xfrm>
            <a:off x="665165" y="326231"/>
            <a:ext cx="3175" cy="1191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19" name="Freeform 1156"/>
          <p:cNvSpPr>
            <a:spLocks/>
          </p:cNvSpPr>
          <p:nvPr/>
        </p:nvSpPr>
        <p:spPr bwMode="auto">
          <a:xfrm>
            <a:off x="665165" y="323851"/>
            <a:ext cx="3175" cy="2381"/>
          </a:xfrm>
          <a:custGeom>
            <a:avLst/>
            <a:gdLst>
              <a:gd name="T0" fmla="*/ 2147483647 w 2"/>
              <a:gd name="T1" fmla="*/ 2147483647 h 2"/>
              <a:gd name="T2" fmla="*/ 0 w 2"/>
              <a:gd name="T3" fmla="*/ 0 h 2"/>
              <a:gd name="T4" fmla="*/ 0 w 2"/>
              <a:gd name="T5" fmla="*/ 0 h 2"/>
              <a:gd name="T6" fmla="*/ 0 w 2"/>
              <a:gd name="T7" fmla="*/ 2147483647 h 2"/>
              <a:gd name="T8" fmla="*/ 2147483647 w 2"/>
              <a:gd name="T9" fmla="*/ 2147483647 h 2"/>
              <a:gd name="T10" fmla="*/ 2147483647 w 2"/>
              <a:gd name="T11" fmla="*/ 2147483647 h 2"/>
              <a:gd name="T12" fmla="*/ 2147483647 w 2"/>
              <a:gd name="T13" fmla="*/ 2147483647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2147483647 h 2"/>
              <a:gd name="T24" fmla="*/ 2147483647 w 2"/>
              <a:gd name="T25" fmla="*/ 2147483647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20" name="Freeform 1163"/>
          <p:cNvSpPr>
            <a:spLocks/>
          </p:cNvSpPr>
          <p:nvPr/>
        </p:nvSpPr>
        <p:spPr bwMode="auto">
          <a:xfrm>
            <a:off x="611188" y="311947"/>
            <a:ext cx="6350" cy="2381"/>
          </a:xfrm>
          <a:custGeom>
            <a:avLst/>
            <a:gdLst>
              <a:gd name="T0" fmla="*/ 2147483647 w 4"/>
              <a:gd name="T1" fmla="*/ 2147483647 h 2"/>
              <a:gd name="T2" fmla="*/ 2147483647 w 4"/>
              <a:gd name="T3" fmla="*/ 2147483647 h 2"/>
              <a:gd name="T4" fmla="*/ 2147483647 w 4"/>
              <a:gd name="T5" fmla="*/ 2147483647 h 2"/>
              <a:gd name="T6" fmla="*/ 2147483647 w 4"/>
              <a:gd name="T7" fmla="*/ 0 h 2"/>
              <a:gd name="T8" fmla="*/ 2147483647 w 4"/>
              <a:gd name="T9" fmla="*/ 0 h 2"/>
              <a:gd name="T10" fmla="*/ 2147483647 w 4"/>
              <a:gd name="T11" fmla="*/ 0 h 2"/>
              <a:gd name="T12" fmla="*/ 2147483647 w 4"/>
              <a:gd name="T13" fmla="*/ 0 h 2"/>
              <a:gd name="T14" fmla="*/ 0 w 4"/>
              <a:gd name="T15" fmla="*/ 2147483647 h 2"/>
              <a:gd name="T16" fmla="*/ 2147483647 w 4"/>
              <a:gd name="T17" fmla="*/ 2147483647 h 2"/>
              <a:gd name="T18" fmla="*/ 2147483647 w 4"/>
              <a:gd name="T19" fmla="*/ 0 h 2"/>
              <a:gd name="T20" fmla="*/ 2147483647 w 4"/>
              <a:gd name="T21" fmla="*/ 2147483647 h 2"/>
              <a:gd name="T22" fmla="*/ 2147483647 w 4"/>
              <a:gd name="T23" fmla="*/ 0 h 2"/>
              <a:gd name="T24" fmla="*/ 2147483647 w 4"/>
              <a:gd name="T25" fmla="*/ 0 h 2"/>
              <a:gd name="T26" fmla="*/ 2147483647 w 4"/>
              <a:gd name="T27" fmla="*/ 0 h 2"/>
              <a:gd name="T28" fmla="*/ 2147483647 w 4"/>
              <a:gd name="T29" fmla="*/ 0 h 2"/>
              <a:gd name="T30" fmla="*/ 0 w 4"/>
              <a:gd name="T31" fmla="*/ 0 h 2"/>
              <a:gd name="T32" fmla="*/ 2147483647 w 4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" h="2">
                <a:moveTo>
                  <a:pt x="2" y="2"/>
                </a:moveTo>
                <a:lnTo>
                  <a:pt x="2" y="2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4" y="2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21" name="Freeform 1172"/>
          <p:cNvSpPr>
            <a:spLocks/>
          </p:cNvSpPr>
          <p:nvPr/>
        </p:nvSpPr>
        <p:spPr bwMode="auto">
          <a:xfrm>
            <a:off x="582615" y="357190"/>
            <a:ext cx="3175" cy="2381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0 w 2"/>
              <a:gd name="T39" fmla="*/ 2147483647 h 2"/>
              <a:gd name="T40" fmla="*/ 0 w 2"/>
              <a:gd name="T41" fmla="*/ 2147483647 h 2"/>
              <a:gd name="T42" fmla="*/ 0 w 2"/>
              <a:gd name="T43" fmla="*/ 2147483647 h 2"/>
              <a:gd name="T44" fmla="*/ 0 w 2"/>
              <a:gd name="T45" fmla="*/ 2147483647 h 2"/>
              <a:gd name="T46" fmla="*/ 0 w 2"/>
              <a:gd name="T47" fmla="*/ 2147483647 h 2"/>
              <a:gd name="T48" fmla="*/ 0 w 2"/>
              <a:gd name="T49" fmla="*/ 2147483647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0 w 2"/>
              <a:gd name="T57" fmla="*/ 2147483647 h 2"/>
              <a:gd name="T58" fmla="*/ 0 w 2"/>
              <a:gd name="T59" fmla="*/ 2147483647 h 2"/>
              <a:gd name="T60" fmla="*/ 0 w 2"/>
              <a:gd name="T61" fmla="*/ 2147483647 h 2"/>
              <a:gd name="T62" fmla="*/ 0 w 2"/>
              <a:gd name="T63" fmla="*/ 2147483647 h 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22" name="Freeform 1177"/>
          <p:cNvSpPr>
            <a:spLocks/>
          </p:cNvSpPr>
          <p:nvPr/>
        </p:nvSpPr>
        <p:spPr bwMode="auto">
          <a:xfrm>
            <a:off x="557215" y="401244"/>
            <a:ext cx="3175" cy="2381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2147483647 h 2"/>
              <a:gd name="T40" fmla="*/ 0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0 h 2"/>
              <a:gd name="T46" fmla="*/ 2147483647 w 2"/>
              <a:gd name="T47" fmla="*/ 0 h 2"/>
              <a:gd name="T48" fmla="*/ 2147483647 w 2"/>
              <a:gd name="T49" fmla="*/ 0 h 2"/>
              <a:gd name="T50" fmla="*/ 2147483647 w 2"/>
              <a:gd name="T51" fmla="*/ 0 h 2"/>
              <a:gd name="T52" fmla="*/ 2147483647 w 2"/>
              <a:gd name="T53" fmla="*/ 0 h 2"/>
              <a:gd name="T54" fmla="*/ 2147483647 w 2"/>
              <a:gd name="T55" fmla="*/ 0 h 2"/>
              <a:gd name="T56" fmla="*/ 2147483647 w 2"/>
              <a:gd name="T57" fmla="*/ 0 h 2"/>
              <a:gd name="T58" fmla="*/ 2147483647 w 2"/>
              <a:gd name="T59" fmla="*/ 0 h 2"/>
              <a:gd name="T60" fmla="*/ 2147483647 w 2"/>
              <a:gd name="T61" fmla="*/ 0 h 2"/>
              <a:gd name="T62" fmla="*/ 2147483647 w 2"/>
              <a:gd name="T63" fmla="*/ 0 h 2"/>
              <a:gd name="T64" fmla="*/ 2147483647 w 2"/>
              <a:gd name="T65" fmla="*/ 0 h 2"/>
              <a:gd name="T66" fmla="*/ 2147483647 w 2"/>
              <a:gd name="T67" fmla="*/ 2147483647 h 2"/>
              <a:gd name="T68" fmla="*/ 2147483647 w 2"/>
              <a:gd name="T69" fmla="*/ 0 h 2"/>
              <a:gd name="T70" fmla="*/ 2147483647 w 2"/>
              <a:gd name="T71" fmla="*/ 0 h 2"/>
              <a:gd name="T72" fmla="*/ 0 w 2"/>
              <a:gd name="T73" fmla="*/ 0 h 2"/>
              <a:gd name="T74" fmla="*/ 0 w 2"/>
              <a:gd name="T75" fmla="*/ 0 h 2"/>
              <a:gd name="T76" fmla="*/ 0 w 2"/>
              <a:gd name="T77" fmla="*/ 2147483647 h 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23" name="Freeform 1180"/>
          <p:cNvSpPr>
            <a:spLocks/>
          </p:cNvSpPr>
          <p:nvPr/>
        </p:nvSpPr>
        <p:spPr bwMode="auto">
          <a:xfrm>
            <a:off x="560390" y="397672"/>
            <a:ext cx="3175" cy="3572"/>
          </a:xfrm>
          <a:custGeom>
            <a:avLst/>
            <a:gdLst>
              <a:gd name="T0" fmla="*/ 0 w 2"/>
              <a:gd name="T1" fmla="*/ 2147483647 h 3"/>
              <a:gd name="T2" fmla="*/ 0 w 2"/>
              <a:gd name="T3" fmla="*/ 2147483647 h 3"/>
              <a:gd name="T4" fmla="*/ 2147483647 w 2"/>
              <a:gd name="T5" fmla="*/ 2147483647 h 3"/>
              <a:gd name="T6" fmla="*/ 2147483647 w 2"/>
              <a:gd name="T7" fmla="*/ 2147483647 h 3"/>
              <a:gd name="T8" fmla="*/ 0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0 w 2"/>
              <a:gd name="T19" fmla="*/ 2147483647 h 3"/>
              <a:gd name="T20" fmla="*/ 0 w 2"/>
              <a:gd name="T21" fmla="*/ 2147483647 h 3"/>
              <a:gd name="T22" fmla="*/ 0 w 2"/>
              <a:gd name="T23" fmla="*/ 0 h 3"/>
              <a:gd name="T24" fmla="*/ 0 w 2"/>
              <a:gd name="T25" fmla="*/ 2147483647 h 3"/>
              <a:gd name="T26" fmla="*/ 0 w 2"/>
              <a:gd name="T27" fmla="*/ 2147483647 h 3"/>
              <a:gd name="T28" fmla="*/ 0 w 2"/>
              <a:gd name="T29" fmla="*/ 2147483647 h 3"/>
              <a:gd name="T30" fmla="*/ 0 w 2"/>
              <a:gd name="T31" fmla="*/ 2147483647 h 3"/>
              <a:gd name="T32" fmla="*/ 0 w 2"/>
              <a:gd name="T33" fmla="*/ 2147483647 h 3"/>
              <a:gd name="T34" fmla="*/ 0 w 2"/>
              <a:gd name="T35" fmla="*/ 2147483647 h 3"/>
              <a:gd name="T36" fmla="*/ 0 w 2"/>
              <a:gd name="T37" fmla="*/ 2147483647 h 3"/>
              <a:gd name="T38" fmla="*/ 0 w 2"/>
              <a:gd name="T39" fmla="*/ 2147483647 h 3"/>
              <a:gd name="T40" fmla="*/ 0 w 2"/>
              <a:gd name="T41" fmla="*/ 2147483647 h 3"/>
              <a:gd name="T42" fmla="*/ 0 w 2"/>
              <a:gd name="T43" fmla="*/ 2147483647 h 3"/>
              <a:gd name="T44" fmla="*/ 0 w 2"/>
              <a:gd name="T45" fmla="*/ 2147483647 h 3"/>
              <a:gd name="T46" fmla="*/ 0 w 2"/>
              <a:gd name="T47" fmla="*/ 2147483647 h 3"/>
              <a:gd name="T48" fmla="*/ 0 w 2"/>
              <a:gd name="T49" fmla="*/ 2147483647 h 3"/>
              <a:gd name="T50" fmla="*/ 0 w 2"/>
              <a:gd name="T51" fmla="*/ 2147483647 h 3"/>
              <a:gd name="T52" fmla="*/ 0 w 2"/>
              <a:gd name="T53" fmla="*/ 2147483647 h 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0" y="3"/>
                </a:lnTo>
                <a:lnTo>
                  <a:pt x="2" y="3"/>
                </a:lnTo>
                <a:lnTo>
                  <a:pt x="0" y="0"/>
                </a:ln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24" name="Line 1187"/>
          <p:cNvSpPr>
            <a:spLocks noChangeShapeType="1"/>
          </p:cNvSpPr>
          <p:nvPr/>
        </p:nvSpPr>
        <p:spPr bwMode="auto">
          <a:xfrm>
            <a:off x="569915" y="390525"/>
            <a:ext cx="1587" cy="1191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25" name="Line 1188"/>
          <p:cNvSpPr>
            <a:spLocks noChangeShapeType="1"/>
          </p:cNvSpPr>
          <p:nvPr/>
        </p:nvSpPr>
        <p:spPr bwMode="auto">
          <a:xfrm>
            <a:off x="569915" y="390525"/>
            <a:ext cx="1587" cy="1191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26" name="Freeform 1208"/>
          <p:cNvSpPr>
            <a:spLocks/>
          </p:cNvSpPr>
          <p:nvPr/>
        </p:nvSpPr>
        <p:spPr bwMode="auto">
          <a:xfrm>
            <a:off x="595313" y="417913"/>
            <a:ext cx="1587" cy="1190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27" name="Freeform 1210"/>
          <p:cNvSpPr>
            <a:spLocks/>
          </p:cNvSpPr>
          <p:nvPr/>
        </p:nvSpPr>
        <p:spPr bwMode="auto">
          <a:xfrm>
            <a:off x="595315" y="417913"/>
            <a:ext cx="3175" cy="2381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0 h 2"/>
              <a:gd name="T8" fmla="*/ 2147483647 w 2"/>
              <a:gd name="T9" fmla="*/ 0 h 2"/>
              <a:gd name="T10" fmla="*/ 0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2147483647 w 2"/>
              <a:gd name="T21" fmla="*/ 2147483647 h 2"/>
              <a:gd name="T22" fmla="*/ 2147483647 w 2"/>
              <a:gd name="T23" fmla="*/ 0 h 2"/>
              <a:gd name="T24" fmla="*/ 2147483647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2147483647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28" name="Freeform 1214"/>
          <p:cNvSpPr>
            <a:spLocks/>
          </p:cNvSpPr>
          <p:nvPr/>
        </p:nvSpPr>
        <p:spPr bwMode="auto">
          <a:xfrm>
            <a:off x="595315" y="417913"/>
            <a:ext cx="3175" cy="2381"/>
          </a:xfrm>
          <a:custGeom>
            <a:avLst/>
            <a:gdLst>
              <a:gd name="T0" fmla="*/ 0 w 2"/>
              <a:gd name="T1" fmla="*/ 2147483647 h 2"/>
              <a:gd name="T2" fmla="*/ 2147483647 w 2"/>
              <a:gd name="T3" fmla="*/ 2147483647 h 2"/>
              <a:gd name="T4" fmla="*/ 0 w 2"/>
              <a:gd name="T5" fmla="*/ 0 h 2"/>
              <a:gd name="T6" fmla="*/ 0 w 2"/>
              <a:gd name="T7" fmla="*/ 2147483647 h 2"/>
              <a:gd name="T8" fmla="*/ 0 w 2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29" name="Rectangle 1215"/>
          <p:cNvSpPr>
            <a:spLocks noChangeArrowheads="1"/>
          </p:cNvSpPr>
          <p:nvPr/>
        </p:nvSpPr>
        <p:spPr bwMode="auto">
          <a:xfrm>
            <a:off x="595313" y="470300"/>
            <a:ext cx="1587" cy="1190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buFontTx/>
              <a:buChar char="•"/>
              <a:defRPr/>
            </a:pPr>
            <a:endParaRPr lang="en-US" altLang="en-US" sz="731" b="0" kern="1200">
              <a:solidFill>
                <a:srgbClr val="002345"/>
              </a:solidFill>
              <a:cs typeface="+mn-cs"/>
            </a:endParaRPr>
          </a:p>
        </p:txBody>
      </p:sp>
      <p:sp>
        <p:nvSpPr>
          <p:cNvPr id="30" name="Freeform 1217"/>
          <p:cNvSpPr>
            <a:spLocks/>
          </p:cNvSpPr>
          <p:nvPr/>
        </p:nvSpPr>
        <p:spPr bwMode="auto">
          <a:xfrm>
            <a:off x="595313" y="470300"/>
            <a:ext cx="1587" cy="1190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31" name="Freeform 1219"/>
          <p:cNvSpPr>
            <a:spLocks/>
          </p:cNvSpPr>
          <p:nvPr/>
        </p:nvSpPr>
        <p:spPr bwMode="auto">
          <a:xfrm>
            <a:off x="731840" y="406006"/>
            <a:ext cx="1587" cy="1190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32" name="Freeform 1221"/>
          <p:cNvSpPr>
            <a:spLocks/>
          </p:cNvSpPr>
          <p:nvPr/>
        </p:nvSpPr>
        <p:spPr bwMode="auto">
          <a:xfrm>
            <a:off x="731840" y="406006"/>
            <a:ext cx="3175" cy="2381"/>
          </a:xfrm>
          <a:custGeom>
            <a:avLst/>
            <a:gdLst>
              <a:gd name="T0" fmla="*/ 2147483647 w 2"/>
              <a:gd name="T1" fmla="*/ 0 h 2"/>
              <a:gd name="T2" fmla="*/ 2147483647 w 2"/>
              <a:gd name="T3" fmla="*/ 0 h 2"/>
              <a:gd name="T4" fmla="*/ 2147483647 w 2"/>
              <a:gd name="T5" fmla="*/ 0 h 2"/>
              <a:gd name="T6" fmla="*/ 0 w 2"/>
              <a:gd name="T7" fmla="*/ 0 h 2"/>
              <a:gd name="T8" fmla="*/ 0 w 2"/>
              <a:gd name="T9" fmla="*/ 0 h 2"/>
              <a:gd name="T10" fmla="*/ 0 w 2"/>
              <a:gd name="T11" fmla="*/ 2147483647 h 2"/>
              <a:gd name="T12" fmla="*/ 2147483647 w 2"/>
              <a:gd name="T13" fmla="*/ 0 h 2"/>
              <a:gd name="T14" fmla="*/ 2147483647 w 2"/>
              <a:gd name="T15" fmla="*/ 0 h 2"/>
              <a:gd name="T16" fmla="*/ 2147483647 w 2"/>
              <a:gd name="T17" fmla="*/ 0 h 2"/>
              <a:gd name="T18" fmla="*/ 0 w 2"/>
              <a:gd name="T19" fmla="*/ 0 h 2"/>
              <a:gd name="T20" fmla="*/ 0 w 2"/>
              <a:gd name="T21" fmla="*/ 0 h 2"/>
              <a:gd name="T22" fmla="*/ 0 w 2"/>
              <a:gd name="T23" fmla="*/ 2147483647 h 2"/>
              <a:gd name="T24" fmla="*/ 2147483647 w 2"/>
              <a:gd name="T25" fmla="*/ 0 h 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33" name="Freeform 1234"/>
          <p:cNvSpPr>
            <a:spLocks/>
          </p:cNvSpPr>
          <p:nvPr/>
        </p:nvSpPr>
        <p:spPr bwMode="auto">
          <a:xfrm>
            <a:off x="722315" y="413150"/>
            <a:ext cx="3175" cy="1190"/>
          </a:xfrm>
          <a:custGeom>
            <a:avLst/>
            <a:gdLst>
              <a:gd name="T0" fmla="*/ 0 w 2"/>
              <a:gd name="T1" fmla="*/ 0 h 1587"/>
              <a:gd name="T2" fmla="*/ 0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2147483647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0 w 2"/>
              <a:gd name="T19" fmla="*/ 0 h 1587"/>
              <a:gd name="T20" fmla="*/ 0 w 2"/>
              <a:gd name="T21" fmla="*/ 0 h 1587"/>
              <a:gd name="T22" fmla="*/ 0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0 w 2"/>
              <a:gd name="T31" fmla="*/ 0 h 1587"/>
              <a:gd name="T32" fmla="*/ 0 w 2"/>
              <a:gd name="T33" fmla="*/ 0 h 1587"/>
              <a:gd name="T34" fmla="*/ 2147483647 w 2"/>
              <a:gd name="T35" fmla="*/ 0 h 1587"/>
              <a:gd name="T36" fmla="*/ 0 w 2"/>
              <a:gd name="T37" fmla="*/ 0 h 1587"/>
              <a:gd name="T38" fmla="*/ 0 w 2"/>
              <a:gd name="T39" fmla="*/ 0 h 1587"/>
              <a:gd name="T40" fmla="*/ 0 w 2"/>
              <a:gd name="T41" fmla="*/ 0 h 1587"/>
              <a:gd name="T42" fmla="*/ 0 w 2"/>
              <a:gd name="T43" fmla="*/ 0 h 1587"/>
              <a:gd name="T44" fmla="*/ 0 w 2"/>
              <a:gd name="T45" fmla="*/ 0 h 1587"/>
              <a:gd name="T46" fmla="*/ 0 w 2"/>
              <a:gd name="T47" fmla="*/ 0 h 1587"/>
              <a:gd name="T48" fmla="*/ 0 w 2"/>
              <a:gd name="T49" fmla="*/ 0 h 1587"/>
              <a:gd name="T50" fmla="*/ 0 w 2"/>
              <a:gd name="T51" fmla="*/ 0 h 1587"/>
              <a:gd name="T52" fmla="*/ 0 w 2"/>
              <a:gd name="T53" fmla="*/ 0 h 1587"/>
              <a:gd name="T54" fmla="*/ 0 w 2"/>
              <a:gd name="T55" fmla="*/ 0 h 1587"/>
              <a:gd name="T56" fmla="*/ 0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34" name="Line 1237"/>
          <p:cNvSpPr>
            <a:spLocks noChangeShapeType="1"/>
          </p:cNvSpPr>
          <p:nvPr/>
        </p:nvSpPr>
        <p:spPr bwMode="auto">
          <a:xfrm>
            <a:off x="728663" y="408388"/>
            <a:ext cx="1587" cy="119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35" name="Line 1238"/>
          <p:cNvSpPr>
            <a:spLocks noChangeShapeType="1"/>
          </p:cNvSpPr>
          <p:nvPr/>
        </p:nvSpPr>
        <p:spPr bwMode="auto">
          <a:xfrm>
            <a:off x="728663" y="408388"/>
            <a:ext cx="1587" cy="119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36" name="Freeform 1240"/>
          <p:cNvSpPr>
            <a:spLocks/>
          </p:cNvSpPr>
          <p:nvPr/>
        </p:nvSpPr>
        <p:spPr bwMode="auto">
          <a:xfrm>
            <a:off x="728663" y="406006"/>
            <a:ext cx="1587" cy="2381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37" name="Freeform 1243"/>
          <p:cNvSpPr>
            <a:spLocks/>
          </p:cNvSpPr>
          <p:nvPr/>
        </p:nvSpPr>
        <p:spPr bwMode="auto">
          <a:xfrm>
            <a:off x="728665" y="403625"/>
            <a:ext cx="3175" cy="2381"/>
          </a:xfrm>
          <a:custGeom>
            <a:avLst/>
            <a:gdLst>
              <a:gd name="T0" fmla="*/ 2147483647 w 2"/>
              <a:gd name="T1" fmla="*/ 2147483647 h 2"/>
              <a:gd name="T2" fmla="*/ 2147483647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0 w 2"/>
              <a:gd name="T9" fmla="*/ 2147483647 h 2"/>
              <a:gd name="T10" fmla="*/ 0 w 2"/>
              <a:gd name="T11" fmla="*/ 2147483647 h 2"/>
              <a:gd name="T12" fmla="*/ 2147483647 w 2"/>
              <a:gd name="T13" fmla="*/ 2147483647 h 2"/>
              <a:gd name="T14" fmla="*/ 0 w 2"/>
              <a:gd name="T15" fmla="*/ 2147483647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0 w 2"/>
              <a:gd name="T25" fmla="*/ 2147483647 h 2"/>
              <a:gd name="T26" fmla="*/ 0 w 2"/>
              <a:gd name="T27" fmla="*/ 2147483647 h 2"/>
              <a:gd name="T28" fmla="*/ 0 w 2"/>
              <a:gd name="T29" fmla="*/ 2147483647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2147483647 h 2"/>
              <a:gd name="T38" fmla="*/ 2147483647 w 2"/>
              <a:gd name="T39" fmla="*/ 2147483647 h 2"/>
              <a:gd name="T40" fmla="*/ 2147483647 w 2"/>
              <a:gd name="T41" fmla="*/ 2147483647 h 2"/>
              <a:gd name="T42" fmla="*/ 2147483647 w 2"/>
              <a:gd name="T43" fmla="*/ 2147483647 h 2"/>
              <a:gd name="T44" fmla="*/ 2147483647 w 2"/>
              <a:gd name="T45" fmla="*/ 2147483647 h 2"/>
              <a:gd name="T46" fmla="*/ 2147483647 w 2"/>
              <a:gd name="T47" fmla="*/ 2147483647 h 2"/>
              <a:gd name="T48" fmla="*/ 0 w 2"/>
              <a:gd name="T49" fmla="*/ 0 h 2"/>
              <a:gd name="T50" fmla="*/ 0 w 2"/>
              <a:gd name="T51" fmla="*/ 2147483647 h 2"/>
              <a:gd name="T52" fmla="*/ 0 w 2"/>
              <a:gd name="T53" fmla="*/ 2147483647 h 2"/>
              <a:gd name="T54" fmla="*/ 0 w 2"/>
              <a:gd name="T55" fmla="*/ 2147483647 h 2"/>
              <a:gd name="T56" fmla="*/ 2147483647 w 2"/>
              <a:gd name="T57" fmla="*/ 2147483647 h 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0" t="0" r="r" b="b"/>
            <a:pathLst>
              <a:path w="2" h="2">
                <a:moveTo>
                  <a:pt x="2" y="2"/>
                </a:move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38" name="Freeform 1246"/>
          <p:cNvSpPr>
            <a:spLocks/>
          </p:cNvSpPr>
          <p:nvPr/>
        </p:nvSpPr>
        <p:spPr bwMode="auto">
          <a:xfrm>
            <a:off x="725490" y="410769"/>
            <a:ext cx="3175" cy="2381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0 h 2"/>
              <a:gd name="T6" fmla="*/ 2147483647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0 w 2"/>
              <a:gd name="T13" fmla="*/ 2147483647 h 2"/>
              <a:gd name="T14" fmla="*/ 0 w 2"/>
              <a:gd name="T15" fmla="*/ 2147483647 h 2"/>
              <a:gd name="T16" fmla="*/ 2147483647 w 2"/>
              <a:gd name="T17" fmla="*/ 0 h 2"/>
              <a:gd name="T18" fmla="*/ 2147483647 w 2"/>
              <a:gd name="T19" fmla="*/ 0 h 2"/>
              <a:gd name="T20" fmla="*/ 0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w 2"/>
              <a:gd name="T35" fmla="*/ 0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2147483647 h 2"/>
              <a:gd name="T48" fmla="*/ 0 w 2"/>
              <a:gd name="T49" fmla="*/ 2147483647 h 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39" name="Freeform 1250"/>
          <p:cNvSpPr>
            <a:spLocks/>
          </p:cNvSpPr>
          <p:nvPr/>
        </p:nvSpPr>
        <p:spPr bwMode="auto">
          <a:xfrm>
            <a:off x="731840" y="397669"/>
            <a:ext cx="3175" cy="1191"/>
          </a:xfrm>
          <a:custGeom>
            <a:avLst/>
            <a:gdLst>
              <a:gd name="T0" fmla="*/ 2147483647 w 2"/>
              <a:gd name="T1" fmla="*/ 0 h 1588"/>
              <a:gd name="T2" fmla="*/ 0 w 2"/>
              <a:gd name="T3" fmla="*/ 0 h 1588"/>
              <a:gd name="T4" fmla="*/ 2147483647 w 2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2" h="1588">
                <a:moveTo>
                  <a:pt x="2" y="0"/>
                </a:moveTo>
                <a:lnTo>
                  <a:pt x="0" y="0"/>
                </a:lnTo>
                <a:lnTo>
                  <a:pt x="2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40" name="Freeform 1252"/>
          <p:cNvSpPr>
            <a:spLocks/>
          </p:cNvSpPr>
          <p:nvPr/>
        </p:nvSpPr>
        <p:spPr bwMode="auto">
          <a:xfrm>
            <a:off x="731840" y="395287"/>
            <a:ext cx="3175" cy="5954"/>
          </a:xfrm>
          <a:custGeom>
            <a:avLst/>
            <a:gdLst>
              <a:gd name="T0" fmla="*/ 2147483647 w 2"/>
              <a:gd name="T1" fmla="*/ 2147483647 h 5"/>
              <a:gd name="T2" fmla="*/ 2147483647 w 2"/>
              <a:gd name="T3" fmla="*/ 2147483647 h 5"/>
              <a:gd name="T4" fmla="*/ 0 w 2"/>
              <a:gd name="T5" fmla="*/ 0 h 5"/>
              <a:gd name="T6" fmla="*/ 0 w 2"/>
              <a:gd name="T7" fmla="*/ 2147483647 h 5"/>
              <a:gd name="T8" fmla="*/ 0 w 2"/>
              <a:gd name="T9" fmla="*/ 2147483647 h 5"/>
              <a:gd name="T10" fmla="*/ 2147483647 w 2"/>
              <a:gd name="T11" fmla="*/ 2147483647 h 5"/>
              <a:gd name="T12" fmla="*/ 2147483647 w 2"/>
              <a:gd name="T13" fmla="*/ 2147483647 h 5"/>
              <a:gd name="T14" fmla="*/ 2147483647 w 2"/>
              <a:gd name="T15" fmla="*/ 2147483647 h 5"/>
              <a:gd name="T16" fmla="*/ 0 w 2"/>
              <a:gd name="T17" fmla="*/ 0 h 5"/>
              <a:gd name="T18" fmla="*/ 0 w 2"/>
              <a:gd name="T19" fmla="*/ 2147483647 h 5"/>
              <a:gd name="T20" fmla="*/ 0 w 2"/>
              <a:gd name="T21" fmla="*/ 2147483647 h 5"/>
              <a:gd name="T22" fmla="*/ 2147483647 w 2"/>
              <a:gd name="T23" fmla="*/ 2147483647 h 5"/>
              <a:gd name="T24" fmla="*/ 2147483647 w 2"/>
              <a:gd name="T25" fmla="*/ 2147483647 h 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" h="5">
                <a:moveTo>
                  <a:pt x="2" y="2"/>
                </a:move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  <a:lnTo>
                  <a:pt x="0" y="0"/>
                </a:lnTo>
                <a:lnTo>
                  <a:pt x="0" y="2"/>
                </a:lnTo>
                <a:lnTo>
                  <a:pt x="2" y="5"/>
                </a:lnTo>
                <a:lnTo>
                  <a:pt x="2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41" name="Freeform 1255"/>
          <p:cNvSpPr>
            <a:spLocks/>
          </p:cNvSpPr>
          <p:nvPr/>
        </p:nvSpPr>
        <p:spPr bwMode="auto">
          <a:xfrm>
            <a:off x="712790" y="413150"/>
            <a:ext cx="3175" cy="1190"/>
          </a:xfrm>
          <a:custGeom>
            <a:avLst/>
            <a:gdLst>
              <a:gd name="T0" fmla="*/ 0 w 2"/>
              <a:gd name="T1" fmla="*/ 0 h 1587"/>
              <a:gd name="T2" fmla="*/ 2147483647 w 2"/>
              <a:gd name="T3" fmla="*/ 0 h 1587"/>
              <a:gd name="T4" fmla="*/ 2147483647 w 2"/>
              <a:gd name="T5" fmla="*/ 0 h 1587"/>
              <a:gd name="T6" fmla="*/ 2147483647 w 2"/>
              <a:gd name="T7" fmla="*/ 0 h 1587"/>
              <a:gd name="T8" fmla="*/ 2147483647 w 2"/>
              <a:gd name="T9" fmla="*/ 0 h 1587"/>
              <a:gd name="T10" fmla="*/ 0 w 2"/>
              <a:gd name="T11" fmla="*/ 0 h 1587"/>
              <a:gd name="T12" fmla="*/ 0 w 2"/>
              <a:gd name="T13" fmla="*/ 0 h 1587"/>
              <a:gd name="T14" fmla="*/ 0 w 2"/>
              <a:gd name="T15" fmla="*/ 0 h 1587"/>
              <a:gd name="T16" fmla="*/ 0 w 2"/>
              <a:gd name="T17" fmla="*/ 0 h 1587"/>
              <a:gd name="T18" fmla="*/ 2147483647 w 2"/>
              <a:gd name="T19" fmla="*/ 0 h 1587"/>
              <a:gd name="T20" fmla="*/ 2147483647 w 2"/>
              <a:gd name="T21" fmla="*/ 0 h 1587"/>
              <a:gd name="T22" fmla="*/ 2147483647 w 2"/>
              <a:gd name="T23" fmla="*/ 0 h 1587"/>
              <a:gd name="T24" fmla="*/ 2147483647 w 2"/>
              <a:gd name="T25" fmla="*/ 0 h 1587"/>
              <a:gd name="T26" fmla="*/ 2147483647 w 2"/>
              <a:gd name="T27" fmla="*/ 0 h 1587"/>
              <a:gd name="T28" fmla="*/ 2147483647 w 2"/>
              <a:gd name="T29" fmla="*/ 0 h 1587"/>
              <a:gd name="T30" fmla="*/ 2147483647 w 2"/>
              <a:gd name="T31" fmla="*/ 0 h 1587"/>
              <a:gd name="T32" fmla="*/ 2147483647 w 2"/>
              <a:gd name="T33" fmla="*/ 0 h 1587"/>
              <a:gd name="T34" fmla="*/ 2147483647 w 2"/>
              <a:gd name="T35" fmla="*/ 0 h 1587"/>
              <a:gd name="T36" fmla="*/ 2147483647 w 2"/>
              <a:gd name="T37" fmla="*/ 0 h 1587"/>
              <a:gd name="T38" fmla="*/ 2147483647 w 2"/>
              <a:gd name="T39" fmla="*/ 0 h 1587"/>
              <a:gd name="T40" fmla="*/ 2147483647 w 2"/>
              <a:gd name="T41" fmla="*/ 0 h 1587"/>
              <a:gd name="T42" fmla="*/ 2147483647 w 2"/>
              <a:gd name="T43" fmla="*/ 0 h 1587"/>
              <a:gd name="T44" fmla="*/ 2147483647 w 2"/>
              <a:gd name="T45" fmla="*/ 0 h 1587"/>
              <a:gd name="T46" fmla="*/ 2147483647 w 2"/>
              <a:gd name="T47" fmla="*/ 0 h 1587"/>
              <a:gd name="T48" fmla="*/ 2147483647 w 2"/>
              <a:gd name="T49" fmla="*/ 0 h 1587"/>
              <a:gd name="T50" fmla="*/ 2147483647 w 2"/>
              <a:gd name="T51" fmla="*/ 0 h 1587"/>
              <a:gd name="T52" fmla="*/ 2147483647 w 2"/>
              <a:gd name="T53" fmla="*/ 0 h 1587"/>
              <a:gd name="T54" fmla="*/ 2147483647 w 2"/>
              <a:gd name="T55" fmla="*/ 0 h 1587"/>
              <a:gd name="T56" fmla="*/ 2147483647 w 2"/>
              <a:gd name="T57" fmla="*/ 0 h 1587"/>
              <a:gd name="T58" fmla="*/ 0 w 2"/>
              <a:gd name="T59" fmla="*/ 0 h 1587"/>
              <a:gd name="T60" fmla="*/ 0 w 2"/>
              <a:gd name="T61" fmla="*/ 0 h 1587"/>
              <a:gd name="T62" fmla="*/ 0 w 2"/>
              <a:gd name="T63" fmla="*/ 0 h 158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2" h="1587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42" name="Rectangle 1256"/>
          <p:cNvSpPr>
            <a:spLocks noChangeArrowheads="1"/>
          </p:cNvSpPr>
          <p:nvPr/>
        </p:nvSpPr>
        <p:spPr bwMode="auto">
          <a:xfrm>
            <a:off x="722315" y="413150"/>
            <a:ext cx="1587" cy="119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buFontTx/>
              <a:buChar char="•"/>
              <a:defRPr/>
            </a:pPr>
            <a:endParaRPr lang="en-US" altLang="en-US" sz="731" b="0" kern="1200">
              <a:solidFill>
                <a:srgbClr val="002345"/>
              </a:solidFill>
              <a:cs typeface="+mn-cs"/>
            </a:endParaRPr>
          </a:p>
        </p:txBody>
      </p:sp>
      <p:sp>
        <p:nvSpPr>
          <p:cNvPr id="43" name="Freeform 1258"/>
          <p:cNvSpPr>
            <a:spLocks/>
          </p:cNvSpPr>
          <p:nvPr/>
        </p:nvSpPr>
        <p:spPr bwMode="auto">
          <a:xfrm>
            <a:off x="722315" y="413150"/>
            <a:ext cx="1587" cy="1190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44" name="Freeform 1266"/>
          <p:cNvSpPr>
            <a:spLocks/>
          </p:cNvSpPr>
          <p:nvPr/>
        </p:nvSpPr>
        <p:spPr bwMode="auto">
          <a:xfrm>
            <a:off x="728663" y="401244"/>
            <a:ext cx="1587" cy="1190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w 1587"/>
              <a:gd name="T7" fmla="*/ 0 h 1587"/>
              <a:gd name="T8" fmla="*/ 0 w 1587"/>
              <a:gd name="T9" fmla="*/ 0 h 1587"/>
              <a:gd name="T10" fmla="*/ 0 w 1587"/>
              <a:gd name="T11" fmla="*/ 0 h 1587"/>
              <a:gd name="T12" fmla="*/ 0 w 1587"/>
              <a:gd name="T13" fmla="*/ 0 h 1587"/>
              <a:gd name="T14" fmla="*/ 0 w 1587"/>
              <a:gd name="T15" fmla="*/ 0 h 1587"/>
              <a:gd name="T16" fmla="*/ 0 w 1587"/>
              <a:gd name="T17" fmla="*/ 0 h 1587"/>
              <a:gd name="T18" fmla="*/ 0 w 1587"/>
              <a:gd name="T19" fmla="*/ 0 h 1587"/>
              <a:gd name="T20" fmla="*/ 0 w 1587"/>
              <a:gd name="T21" fmla="*/ 0 h 1587"/>
              <a:gd name="T22" fmla="*/ 0 w 1587"/>
              <a:gd name="T23" fmla="*/ 0 h 1587"/>
              <a:gd name="T24" fmla="*/ 0 w 1587"/>
              <a:gd name="T25" fmla="*/ 0 h 1587"/>
              <a:gd name="T26" fmla="*/ 0 w 1587"/>
              <a:gd name="T27" fmla="*/ 0 h 1587"/>
              <a:gd name="T28" fmla="*/ 0 w 1587"/>
              <a:gd name="T29" fmla="*/ 0 h 1587"/>
              <a:gd name="T30" fmla="*/ 0 w 1587"/>
              <a:gd name="T31" fmla="*/ 0 h 1587"/>
              <a:gd name="T32" fmla="*/ 0 w 1587"/>
              <a:gd name="T33" fmla="*/ 0 h 1587"/>
              <a:gd name="T34" fmla="*/ 0 w 1587"/>
              <a:gd name="T35" fmla="*/ 0 h 1587"/>
              <a:gd name="T36" fmla="*/ 0 w 1587"/>
              <a:gd name="T37" fmla="*/ 0 h 1587"/>
              <a:gd name="T38" fmla="*/ 0 w 1587"/>
              <a:gd name="T39" fmla="*/ 0 h 1587"/>
              <a:gd name="T40" fmla="*/ 0 w 1587"/>
              <a:gd name="T41" fmla="*/ 0 h 1587"/>
              <a:gd name="T42" fmla="*/ 0 w 1587"/>
              <a:gd name="T43" fmla="*/ 0 h 1587"/>
              <a:gd name="T44" fmla="*/ 0 w 1587"/>
              <a:gd name="T45" fmla="*/ 0 h 1587"/>
              <a:gd name="T46" fmla="*/ 0 w 1587"/>
              <a:gd name="T47" fmla="*/ 0 h 1587"/>
              <a:gd name="T48" fmla="*/ 0 w 1587"/>
              <a:gd name="T49" fmla="*/ 0 h 1587"/>
              <a:gd name="T50" fmla="*/ 0 w 1587"/>
              <a:gd name="T51" fmla="*/ 0 h 1587"/>
              <a:gd name="T52" fmla="*/ 0 w 1587"/>
              <a:gd name="T53" fmla="*/ 0 h 1587"/>
              <a:gd name="T54" fmla="*/ 0 w 1587"/>
              <a:gd name="T55" fmla="*/ 0 h 1587"/>
              <a:gd name="T56" fmla="*/ 0 w 1587"/>
              <a:gd name="T57" fmla="*/ 0 h 1587"/>
              <a:gd name="T58" fmla="*/ 0 w 1587"/>
              <a:gd name="T59" fmla="*/ 0 h 1587"/>
              <a:gd name="T60" fmla="*/ 0 w 1587"/>
              <a:gd name="T61" fmla="*/ 0 h 1587"/>
              <a:gd name="T62" fmla="*/ 0 w 1587"/>
              <a:gd name="T63" fmla="*/ 0 h 1587"/>
              <a:gd name="T64" fmla="*/ 0 w 1587"/>
              <a:gd name="T65" fmla="*/ 0 h 1587"/>
              <a:gd name="T66" fmla="*/ 0 w 1587"/>
              <a:gd name="T67" fmla="*/ 0 h 1587"/>
              <a:gd name="T68" fmla="*/ 0 w 1587"/>
              <a:gd name="T69" fmla="*/ 0 h 1587"/>
              <a:gd name="T70" fmla="*/ 0 w 1587"/>
              <a:gd name="T71" fmla="*/ 0 h 1587"/>
              <a:gd name="T72" fmla="*/ 0 w 1587"/>
              <a:gd name="T73" fmla="*/ 0 h 1587"/>
              <a:gd name="T74" fmla="*/ 0 w 1587"/>
              <a:gd name="T75" fmla="*/ 0 h 1587"/>
              <a:gd name="T76" fmla="*/ 0 w 1587"/>
              <a:gd name="T77" fmla="*/ 0 h 1587"/>
              <a:gd name="T78" fmla="*/ 0 w 1587"/>
              <a:gd name="T79" fmla="*/ 0 h 1587"/>
              <a:gd name="T80" fmla="*/ 0 w 1587"/>
              <a:gd name="T81" fmla="*/ 0 h 1587"/>
              <a:gd name="T82" fmla="*/ 0 w 1587"/>
              <a:gd name="T83" fmla="*/ 0 h 1587"/>
              <a:gd name="T84" fmla="*/ 0 w 1587"/>
              <a:gd name="T85" fmla="*/ 0 h 1587"/>
              <a:gd name="T86" fmla="*/ 0 w 1587"/>
              <a:gd name="T87" fmla="*/ 0 h 15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587" h="1587"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45" name="Freeform 1269"/>
          <p:cNvSpPr>
            <a:spLocks/>
          </p:cNvSpPr>
          <p:nvPr/>
        </p:nvSpPr>
        <p:spPr bwMode="auto">
          <a:xfrm>
            <a:off x="728665" y="397672"/>
            <a:ext cx="3175" cy="3572"/>
          </a:xfrm>
          <a:custGeom>
            <a:avLst/>
            <a:gdLst>
              <a:gd name="T0" fmla="*/ 0 w 2"/>
              <a:gd name="T1" fmla="*/ 2147483647 h 3"/>
              <a:gd name="T2" fmla="*/ 2147483647 w 2"/>
              <a:gd name="T3" fmla="*/ 0 h 3"/>
              <a:gd name="T4" fmla="*/ 2147483647 w 2"/>
              <a:gd name="T5" fmla="*/ 0 h 3"/>
              <a:gd name="T6" fmla="*/ 2147483647 w 2"/>
              <a:gd name="T7" fmla="*/ 0 h 3"/>
              <a:gd name="T8" fmla="*/ 2147483647 w 2"/>
              <a:gd name="T9" fmla="*/ 0 h 3"/>
              <a:gd name="T10" fmla="*/ 0 w 2"/>
              <a:gd name="T11" fmla="*/ 0 h 3"/>
              <a:gd name="T12" fmla="*/ 0 w 2"/>
              <a:gd name="T13" fmla="*/ 0 h 3"/>
              <a:gd name="T14" fmla="*/ 0 w 2"/>
              <a:gd name="T15" fmla="*/ 2147483647 h 3"/>
              <a:gd name="T16" fmla="*/ 0 w 2"/>
              <a:gd name="T17" fmla="*/ 2147483647 h 3"/>
              <a:gd name="T18" fmla="*/ 2147483647 w 2"/>
              <a:gd name="T19" fmla="*/ 0 h 3"/>
              <a:gd name="T20" fmla="*/ 2147483647 w 2"/>
              <a:gd name="T21" fmla="*/ 0 h 3"/>
              <a:gd name="T22" fmla="*/ 0 w 2"/>
              <a:gd name="T23" fmla="*/ 0 h 3"/>
              <a:gd name="T24" fmla="*/ 0 w 2"/>
              <a:gd name="T25" fmla="*/ 0 h 3"/>
              <a:gd name="T26" fmla="*/ 0 w 2"/>
              <a:gd name="T27" fmla="*/ 0 h 3"/>
              <a:gd name="T28" fmla="*/ 0 w 2"/>
              <a:gd name="T29" fmla="*/ 0 h 3"/>
              <a:gd name="T30" fmla="*/ 0 w 2"/>
              <a:gd name="T31" fmla="*/ 0 h 3"/>
              <a:gd name="T32" fmla="*/ 0 w 2"/>
              <a:gd name="T33" fmla="*/ 0 h 3"/>
              <a:gd name="T34" fmla="*/ 0 w 2"/>
              <a:gd name="T35" fmla="*/ 0 h 3"/>
              <a:gd name="T36" fmla="*/ 0 w 2"/>
              <a:gd name="T37" fmla="*/ 0 h 3"/>
              <a:gd name="T38" fmla="*/ 0 w 2"/>
              <a:gd name="T39" fmla="*/ 2147483647 h 3"/>
              <a:gd name="T40" fmla="*/ 0 w 2"/>
              <a:gd name="T41" fmla="*/ 2147483647 h 3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" h="3">
                <a:moveTo>
                  <a:pt x="0" y="3"/>
                </a:move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46" name="Line 1270"/>
          <p:cNvSpPr>
            <a:spLocks noChangeShapeType="1"/>
          </p:cNvSpPr>
          <p:nvPr/>
        </p:nvSpPr>
        <p:spPr bwMode="auto">
          <a:xfrm>
            <a:off x="728663" y="397669"/>
            <a:ext cx="1587" cy="1191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47" name="Line 1271"/>
          <p:cNvSpPr>
            <a:spLocks noChangeShapeType="1"/>
          </p:cNvSpPr>
          <p:nvPr/>
        </p:nvSpPr>
        <p:spPr bwMode="auto">
          <a:xfrm>
            <a:off x="728663" y="397669"/>
            <a:ext cx="1587" cy="1191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48" name="Rectangle 1272"/>
          <p:cNvSpPr>
            <a:spLocks noChangeArrowheads="1"/>
          </p:cNvSpPr>
          <p:nvPr/>
        </p:nvSpPr>
        <p:spPr bwMode="auto">
          <a:xfrm>
            <a:off x="728663" y="397669"/>
            <a:ext cx="1587" cy="119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buFontTx/>
              <a:buChar char="•"/>
              <a:defRPr/>
            </a:pPr>
            <a:endParaRPr lang="en-US" altLang="en-US" sz="731" b="0" kern="1200">
              <a:solidFill>
                <a:srgbClr val="002345"/>
              </a:solidFill>
              <a:cs typeface="+mn-cs"/>
            </a:endParaRPr>
          </a:p>
        </p:txBody>
      </p:sp>
      <p:sp>
        <p:nvSpPr>
          <p:cNvPr id="49" name="Rectangle 1273"/>
          <p:cNvSpPr>
            <a:spLocks noChangeArrowheads="1"/>
          </p:cNvSpPr>
          <p:nvPr/>
        </p:nvSpPr>
        <p:spPr bwMode="auto">
          <a:xfrm>
            <a:off x="728663" y="397669"/>
            <a:ext cx="1587" cy="1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buFontTx/>
              <a:buChar char="•"/>
              <a:defRPr/>
            </a:pPr>
            <a:endParaRPr lang="en-US" altLang="en-US" sz="731" b="0" kern="1200">
              <a:solidFill>
                <a:srgbClr val="002345"/>
              </a:solidFill>
              <a:cs typeface="+mn-cs"/>
            </a:endParaRPr>
          </a:p>
        </p:txBody>
      </p:sp>
      <p:sp>
        <p:nvSpPr>
          <p:cNvPr id="50" name="Line 1274"/>
          <p:cNvSpPr>
            <a:spLocks noChangeShapeType="1"/>
          </p:cNvSpPr>
          <p:nvPr/>
        </p:nvSpPr>
        <p:spPr bwMode="auto">
          <a:xfrm>
            <a:off x="728663" y="395288"/>
            <a:ext cx="1587" cy="1191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51" name="Line 1275"/>
          <p:cNvSpPr>
            <a:spLocks noChangeShapeType="1"/>
          </p:cNvSpPr>
          <p:nvPr/>
        </p:nvSpPr>
        <p:spPr bwMode="auto">
          <a:xfrm>
            <a:off x="728663" y="395288"/>
            <a:ext cx="1587" cy="1191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52" name="Freeform 1277"/>
          <p:cNvSpPr>
            <a:spLocks/>
          </p:cNvSpPr>
          <p:nvPr/>
        </p:nvSpPr>
        <p:spPr bwMode="auto">
          <a:xfrm>
            <a:off x="728663" y="392909"/>
            <a:ext cx="1587" cy="2381"/>
          </a:xfrm>
          <a:custGeom>
            <a:avLst/>
            <a:gdLst>
              <a:gd name="T0" fmla="*/ 0 w 1587"/>
              <a:gd name="T1" fmla="*/ 2147483647 h 2"/>
              <a:gd name="T2" fmla="*/ 0 w 1587"/>
              <a:gd name="T3" fmla="*/ 2147483647 h 2"/>
              <a:gd name="T4" fmla="*/ 0 w 1587"/>
              <a:gd name="T5" fmla="*/ 0 h 2"/>
              <a:gd name="T6" fmla="*/ 0 w 1587"/>
              <a:gd name="T7" fmla="*/ 2147483647 h 2"/>
              <a:gd name="T8" fmla="*/ 0 w 1587"/>
              <a:gd name="T9" fmla="*/ 2147483647 h 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587" h="2">
                <a:moveTo>
                  <a:pt x="0" y="2"/>
                </a:move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53" name="Freeform 1287"/>
          <p:cNvSpPr>
            <a:spLocks/>
          </p:cNvSpPr>
          <p:nvPr/>
        </p:nvSpPr>
        <p:spPr bwMode="auto">
          <a:xfrm>
            <a:off x="719140" y="385763"/>
            <a:ext cx="3175" cy="2381"/>
          </a:xfrm>
          <a:custGeom>
            <a:avLst/>
            <a:gdLst>
              <a:gd name="T0" fmla="*/ 0 w 2"/>
              <a:gd name="T1" fmla="*/ 0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2147483647 h 2"/>
              <a:gd name="T18" fmla="*/ 0 w 2"/>
              <a:gd name="T19" fmla="*/ 2147483647 h 2"/>
              <a:gd name="T20" fmla="*/ 0 w 2"/>
              <a:gd name="T21" fmla="*/ 2147483647 h 2"/>
              <a:gd name="T22" fmla="*/ 0 w 2"/>
              <a:gd name="T23" fmla="*/ 2147483647 h 2"/>
              <a:gd name="T24" fmla="*/ 2147483647 w 2"/>
              <a:gd name="T25" fmla="*/ 2147483647 h 2"/>
              <a:gd name="T26" fmla="*/ 2147483647 w 2"/>
              <a:gd name="T27" fmla="*/ 2147483647 h 2"/>
              <a:gd name="T28" fmla="*/ 0 w 2"/>
              <a:gd name="T29" fmla="*/ 0 h 2"/>
              <a:gd name="T30" fmla="*/ 0 w 2"/>
              <a:gd name="T31" fmla="*/ 0 h 2"/>
              <a:gd name="T32" fmla="*/ 0 w 2"/>
              <a:gd name="T33" fmla="*/ 0 h 2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54" name="Freeform 1290"/>
          <p:cNvSpPr>
            <a:spLocks/>
          </p:cNvSpPr>
          <p:nvPr/>
        </p:nvSpPr>
        <p:spPr bwMode="auto">
          <a:xfrm>
            <a:off x="719140" y="388146"/>
            <a:ext cx="3175" cy="2381"/>
          </a:xfrm>
          <a:custGeom>
            <a:avLst/>
            <a:gdLst>
              <a:gd name="T0" fmla="*/ 0 w 2"/>
              <a:gd name="T1" fmla="*/ 2147483647 h 2"/>
              <a:gd name="T2" fmla="*/ 0 w 2"/>
              <a:gd name="T3" fmla="*/ 2147483647 h 2"/>
              <a:gd name="T4" fmla="*/ 2147483647 w 2"/>
              <a:gd name="T5" fmla="*/ 2147483647 h 2"/>
              <a:gd name="T6" fmla="*/ 2147483647 w 2"/>
              <a:gd name="T7" fmla="*/ 2147483647 h 2"/>
              <a:gd name="T8" fmla="*/ 2147483647 w 2"/>
              <a:gd name="T9" fmla="*/ 2147483647 h 2"/>
              <a:gd name="T10" fmla="*/ 2147483647 w 2"/>
              <a:gd name="T11" fmla="*/ 0 h 2"/>
              <a:gd name="T12" fmla="*/ 0 w 2"/>
              <a:gd name="T13" fmla="*/ 0 h 2"/>
              <a:gd name="T14" fmla="*/ 0 w 2"/>
              <a:gd name="T15" fmla="*/ 0 h 2"/>
              <a:gd name="T16" fmla="*/ 0 w 2"/>
              <a:gd name="T17" fmla="*/ 0 h 2"/>
              <a:gd name="T18" fmla="*/ 0 w 2"/>
              <a:gd name="T19" fmla="*/ 0 h 2"/>
              <a:gd name="T20" fmla="*/ 2147483647 w 2"/>
              <a:gd name="T21" fmla="*/ 0 h 2"/>
              <a:gd name="T22" fmla="*/ 0 w 2"/>
              <a:gd name="T23" fmla="*/ 0 h 2"/>
              <a:gd name="T24" fmla="*/ 0 w 2"/>
              <a:gd name="T25" fmla="*/ 0 h 2"/>
              <a:gd name="T26" fmla="*/ 0 w 2"/>
              <a:gd name="T27" fmla="*/ 0 h 2"/>
              <a:gd name="T28" fmla="*/ 0 w 2"/>
              <a:gd name="T29" fmla="*/ 0 h 2"/>
              <a:gd name="T30" fmla="*/ 0 w 2"/>
              <a:gd name="T31" fmla="*/ 2147483647 h 2"/>
              <a:gd name="T32" fmla="*/ 0 w 2"/>
              <a:gd name="T33" fmla="*/ 2147483647 h 2"/>
              <a:gd name="T34" fmla="*/ 0 w 2"/>
              <a:gd name="T35" fmla="*/ 2147483647 h 2"/>
              <a:gd name="T36" fmla="*/ 0 w 2"/>
              <a:gd name="T37" fmla="*/ 0 h 2"/>
              <a:gd name="T38" fmla="*/ 0 w 2"/>
              <a:gd name="T39" fmla="*/ 0 h 2"/>
              <a:gd name="T40" fmla="*/ 0 w 2"/>
              <a:gd name="T41" fmla="*/ 0 h 2"/>
              <a:gd name="T42" fmla="*/ 0 w 2"/>
              <a:gd name="T43" fmla="*/ 0 h 2"/>
              <a:gd name="T44" fmla="*/ 0 w 2"/>
              <a:gd name="T45" fmla="*/ 0 h 2"/>
              <a:gd name="T46" fmla="*/ 0 w 2"/>
              <a:gd name="T47" fmla="*/ 0 h 2"/>
              <a:gd name="T48" fmla="*/ 0 w 2"/>
              <a:gd name="T49" fmla="*/ 2147483647 h 2"/>
              <a:gd name="T50" fmla="*/ 2147483647 w 2"/>
              <a:gd name="T51" fmla="*/ 2147483647 h 2"/>
              <a:gd name="T52" fmla="*/ 2147483647 w 2"/>
              <a:gd name="T53" fmla="*/ 0 h 2"/>
              <a:gd name="T54" fmla="*/ 2147483647 w 2"/>
              <a:gd name="T55" fmla="*/ 0 h 2"/>
              <a:gd name="T56" fmla="*/ 0 w 2"/>
              <a:gd name="T57" fmla="*/ 0 h 2"/>
              <a:gd name="T58" fmla="*/ 0 w 2"/>
              <a:gd name="T59" fmla="*/ 0 h 2"/>
              <a:gd name="T60" fmla="*/ 0 w 2"/>
              <a:gd name="T61" fmla="*/ 2147483647 h 2"/>
              <a:gd name="T62" fmla="*/ 0 w 2"/>
              <a:gd name="T63" fmla="*/ 2147483647 h 2"/>
              <a:gd name="T64" fmla="*/ 2147483647 w 2"/>
              <a:gd name="T65" fmla="*/ 2147483647 h 2"/>
              <a:gd name="T66" fmla="*/ 2147483647 w 2"/>
              <a:gd name="T67" fmla="*/ 2147483647 h 2"/>
              <a:gd name="T68" fmla="*/ 0 w 2"/>
              <a:gd name="T69" fmla="*/ 2147483647 h 2"/>
              <a:gd name="T70" fmla="*/ 0 w 2"/>
              <a:gd name="T71" fmla="*/ 2147483647 h 2"/>
              <a:gd name="T72" fmla="*/ 0 w 2"/>
              <a:gd name="T73" fmla="*/ 2147483647 h 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lnTo>
                  <a:pt x="0" y="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900" b="1" kern="1200">
              <a:solidFill>
                <a:srgbClr val="002345"/>
              </a:solidFill>
              <a:latin typeface="Trebuchet MS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55" name="Rectangle 1335"/>
          <p:cNvSpPr>
            <a:spLocks noChangeArrowheads="1"/>
          </p:cNvSpPr>
          <p:nvPr/>
        </p:nvSpPr>
        <p:spPr bwMode="auto">
          <a:xfrm>
            <a:off x="468314" y="381000"/>
            <a:ext cx="1587" cy="1191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buFontTx/>
              <a:buChar char="•"/>
              <a:defRPr/>
            </a:pPr>
            <a:endParaRPr lang="en-US" altLang="en-US" sz="731" b="0" kern="1200">
              <a:solidFill>
                <a:srgbClr val="002345"/>
              </a:solidFill>
              <a:cs typeface="+mn-cs"/>
            </a:endParaRPr>
          </a:p>
        </p:txBody>
      </p:sp>
      <p:sp>
        <p:nvSpPr>
          <p:cNvPr id="56" name="Rectangle 1336"/>
          <p:cNvSpPr>
            <a:spLocks noChangeArrowheads="1"/>
          </p:cNvSpPr>
          <p:nvPr/>
        </p:nvSpPr>
        <p:spPr bwMode="auto">
          <a:xfrm>
            <a:off x="474665" y="371475"/>
            <a:ext cx="1587" cy="1191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buFontTx/>
              <a:buChar char="•"/>
              <a:defRPr/>
            </a:pPr>
            <a:endParaRPr lang="en-US" altLang="en-US" sz="731" b="0" kern="1200">
              <a:solidFill>
                <a:srgbClr val="002345"/>
              </a:solidFill>
              <a:cs typeface="+mn-cs"/>
            </a:endParaRPr>
          </a:p>
        </p:txBody>
      </p:sp>
      <p:sp>
        <p:nvSpPr>
          <p:cNvPr id="57" name="Rectangle 1337"/>
          <p:cNvSpPr>
            <a:spLocks noChangeArrowheads="1"/>
          </p:cNvSpPr>
          <p:nvPr/>
        </p:nvSpPr>
        <p:spPr bwMode="auto">
          <a:xfrm>
            <a:off x="474665" y="371475"/>
            <a:ext cx="1587" cy="1191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buFontTx/>
              <a:buChar char="•"/>
              <a:defRPr/>
            </a:pPr>
            <a:endParaRPr lang="en-US" altLang="en-US" sz="731" b="0" kern="1200">
              <a:solidFill>
                <a:srgbClr val="002345"/>
              </a:solidFill>
              <a:cs typeface="+mn-cs"/>
            </a:endParaRPr>
          </a:p>
        </p:txBody>
      </p:sp>
      <p:sp>
        <p:nvSpPr>
          <p:cNvPr id="58" name="Rectangle 1340"/>
          <p:cNvSpPr>
            <a:spLocks noChangeArrowheads="1"/>
          </p:cNvSpPr>
          <p:nvPr/>
        </p:nvSpPr>
        <p:spPr bwMode="auto">
          <a:xfrm>
            <a:off x="468314" y="381000"/>
            <a:ext cx="1587" cy="119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buFontTx/>
              <a:buChar char="•"/>
              <a:defRPr/>
            </a:pPr>
            <a:endParaRPr lang="en-US" altLang="en-US" sz="731" b="0" kern="1200">
              <a:solidFill>
                <a:srgbClr val="002345"/>
              </a:solidFill>
              <a:cs typeface="+mn-cs"/>
            </a:endParaRPr>
          </a:p>
        </p:txBody>
      </p:sp>
      <p:sp>
        <p:nvSpPr>
          <p:cNvPr id="59" name="Rectangle 1341"/>
          <p:cNvSpPr>
            <a:spLocks noChangeArrowheads="1"/>
          </p:cNvSpPr>
          <p:nvPr/>
        </p:nvSpPr>
        <p:spPr bwMode="auto">
          <a:xfrm>
            <a:off x="468314" y="381000"/>
            <a:ext cx="1587" cy="119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buFontTx/>
              <a:buChar char="•"/>
              <a:defRPr/>
            </a:pPr>
            <a:endParaRPr lang="en-US" altLang="en-US" sz="731" b="0" kern="1200">
              <a:solidFill>
                <a:srgbClr val="002345"/>
              </a:solidFill>
              <a:cs typeface="+mn-cs"/>
            </a:endParaRPr>
          </a:p>
        </p:txBody>
      </p:sp>
      <p:sp>
        <p:nvSpPr>
          <p:cNvPr id="60" name="Rectangle 1342"/>
          <p:cNvSpPr>
            <a:spLocks noChangeArrowheads="1"/>
          </p:cNvSpPr>
          <p:nvPr/>
        </p:nvSpPr>
        <p:spPr bwMode="auto">
          <a:xfrm>
            <a:off x="468314" y="381000"/>
            <a:ext cx="1587" cy="119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buFontTx/>
              <a:buChar char="•"/>
              <a:defRPr/>
            </a:pPr>
            <a:endParaRPr lang="en-US" altLang="en-US" sz="731" b="0" kern="1200">
              <a:solidFill>
                <a:srgbClr val="002345"/>
              </a:solidFill>
              <a:cs typeface="+mn-cs"/>
            </a:endParaRPr>
          </a:p>
        </p:txBody>
      </p:sp>
      <p:sp>
        <p:nvSpPr>
          <p:cNvPr id="61" name="Rectangle 1343"/>
          <p:cNvSpPr>
            <a:spLocks noChangeArrowheads="1"/>
          </p:cNvSpPr>
          <p:nvPr/>
        </p:nvSpPr>
        <p:spPr bwMode="auto">
          <a:xfrm>
            <a:off x="468314" y="381000"/>
            <a:ext cx="1587" cy="1191"/>
          </a:xfrm>
          <a:prstGeom prst="rect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buFontTx/>
              <a:buChar char="•"/>
              <a:defRPr/>
            </a:pPr>
            <a:endParaRPr lang="en-US" altLang="en-US" sz="731" b="0" kern="1200">
              <a:solidFill>
                <a:srgbClr val="002345"/>
              </a:solidFill>
              <a:cs typeface="+mn-cs"/>
            </a:endParaRPr>
          </a:p>
        </p:txBody>
      </p:sp>
      <p:sp>
        <p:nvSpPr>
          <p:cNvPr id="62" name="Rectangle 1344"/>
          <p:cNvSpPr>
            <a:spLocks noChangeArrowheads="1"/>
          </p:cNvSpPr>
          <p:nvPr/>
        </p:nvSpPr>
        <p:spPr bwMode="auto">
          <a:xfrm>
            <a:off x="465140" y="364334"/>
            <a:ext cx="1587" cy="238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rebuchet MS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  <a:buFontTx/>
              <a:buChar char="•"/>
              <a:defRPr/>
            </a:pPr>
            <a:endParaRPr lang="en-US" altLang="en-US" sz="731" b="0" kern="1200">
              <a:solidFill>
                <a:srgbClr val="002345"/>
              </a:solidFill>
              <a:cs typeface="+mn-cs"/>
            </a:endParaRPr>
          </a:p>
        </p:txBody>
      </p:sp>
      <p:sp>
        <p:nvSpPr>
          <p:cNvPr id="324" name="Title 323"/>
          <p:cNvSpPr>
            <a:spLocks noGrp="1"/>
          </p:cNvSpPr>
          <p:nvPr>
            <p:ph type="title"/>
          </p:nvPr>
        </p:nvSpPr>
        <p:spPr>
          <a:xfrm>
            <a:off x="343401" y="226222"/>
            <a:ext cx="8439652" cy="773906"/>
          </a:xfrm>
        </p:spPr>
        <p:txBody>
          <a:bodyPr/>
          <a:lstStyle>
            <a:lvl1pPr>
              <a:defRPr b="0" i="0" cap="none" baseline="0">
                <a:solidFill>
                  <a:schemeClr val="tx1"/>
                </a:solidFill>
                <a:latin typeface="+mn-lt"/>
                <a:cs typeface="Andes Extra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1" name="Content Placeholder 330"/>
          <p:cNvSpPr>
            <a:spLocks noGrp="1"/>
          </p:cNvSpPr>
          <p:nvPr>
            <p:ph sz="quarter" idx="10"/>
          </p:nvPr>
        </p:nvSpPr>
        <p:spPr>
          <a:xfrm>
            <a:off x="343403" y="1095378"/>
            <a:ext cx="8440305" cy="3450647"/>
          </a:xfrm>
        </p:spPr>
        <p:txBody>
          <a:bodyPr>
            <a:normAutofit/>
          </a:bodyPr>
          <a:lstStyle>
            <a:lvl1pPr>
              <a:lnSpc>
                <a:spcPct val="130000"/>
              </a:lnSpc>
              <a:spcBef>
                <a:spcPts val="675"/>
              </a:spcBef>
              <a:defRPr>
                <a:solidFill>
                  <a:srgbClr val="7F7F7F"/>
                </a:solidFill>
              </a:defRPr>
            </a:lvl1pPr>
            <a:lvl2pPr>
              <a:lnSpc>
                <a:spcPct val="130000"/>
              </a:lnSpc>
              <a:spcBef>
                <a:spcPts val="675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2pPr>
            <a:lvl3pPr marL="313754"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3pPr>
            <a:lvl4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4pPr>
            <a:lvl5pPr>
              <a:lnSpc>
                <a:spcPct val="130000"/>
              </a:lnSpc>
              <a:spcBef>
                <a:spcPts val="0"/>
              </a:spcBef>
              <a:buClr>
                <a:schemeClr val="tx2">
                  <a:lumMod val="50000"/>
                  <a:lumOff val="50000"/>
                </a:schemeClr>
              </a:buClr>
              <a:defRPr>
                <a:solidFill>
                  <a:srgbClr val="7F7F7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3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741365" y="4767265"/>
            <a:ext cx="5915025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64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6D0506-0136-4D98-B2B4-24195A3580D3}" type="slidenum">
              <a:rPr lang="en-US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87827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itle Here (Arial 30, Bold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1" y="1100137"/>
            <a:ext cx="8229600" cy="3444479"/>
          </a:xfrm>
        </p:spPr>
        <p:txBody>
          <a:bodyPr/>
          <a:lstStyle>
            <a:lvl1pPr marL="257175" marR="0" indent="-257175" algn="l" defTabSz="5143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lvl1pPr>
            <a:lvl2pPr>
              <a:defRPr>
                <a:solidFill>
                  <a:schemeClr val="bg2"/>
                </a:solidFill>
              </a:defRPr>
            </a:lvl2pPr>
          </a:lstStyle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aragraph text (Arial 26)</a:t>
            </a:r>
          </a:p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aragraph text</a:t>
            </a:r>
          </a:p>
          <a:p>
            <a:pPr lvl="0"/>
            <a:r>
              <a:rPr lang="en-US" dirty="0"/>
              <a:t>First level bulle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13"/>
          <p:cNvSpPr>
            <a:spLocks noGrp="1"/>
          </p:cNvSpPr>
          <p:nvPr>
            <p:ph type="sldNum" sz="quarter" idx="4"/>
          </p:nvPr>
        </p:nvSpPr>
        <p:spPr>
          <a:xfrm>
            <a:off x="228601" y="4722765"/>
            <a:ext cx="48095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563">
                <a:solidFill>
                  <a:schemeClr val="tx2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fld id="{F9F971E6-D8D4-4C59-A1A0-5FE329A63D94}" type="slidenum">
              <a:rPr lang="en-US" smtClean="0">
                <a:solidFill>
                  <a:srgbClr val="44546A">
                    <a:lumMod val="65000"/>
                    <a:lumOff val="3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4546A">
                  <a:lumMod val="65000"/>
                  <a:lumOff val="3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14131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btitle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Shape 177"/>
          <p:cNvSpPr txBox="1">
            <a:spLocks noGrp="1"/>
          </p:cNvSpPr>
          <p:nvPr>
            <p:ph type="ctrTitle"/>
          </p:nvPr>
        </p:nvSpPr>
        <p:spPr>
          <a:xfrm>
            <a:off x="2743200" y="1735750"/>
            <a:ext cx="5638800" cy="1159799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buSzPct val="100000"/>
              <a:defRPr sz="3600"/>
            </a:lvl1pPr>
            <a:lvl2pPr lvl="1" rtl="0">
              <a:spcBef>
                <a:spcPts val="0"/>
              </a:spcBef>
              <a:buSzPct val="100000"/>
              <a:defRPr sz="3600"/>
            </a:lvl2pPr>
            <a:lvl3pPr lvl="2" rtl="0">
              <a:spcBef>
                <a:spcPts val="0"/>
              </a:spcBef>
              <a:buSzPct val="100000"/>
              <a:defRPr sz="3600"/>
            </a:lvl3pPr>
            <a:lvl4pPr lvl="3" rtl="0">
              <a:spcBef>
                <a:spcPts val="0"/>
              </a:spcBef>
              <a:buSzPct val="100000"/>
              <a:defRPr sz="3600"/>
            </a:lvl4pPr>
            <a:lvl5pPr lvl="4" rtl="0">
              <a:spcBef>
                <a:spcPts val="0"/>
              </a:spcBef>
              <a:buSzPct val="100000"/>
              <a:defRPr sz="3600"/>
            </a:lvl5pPr>
            <a:lvl6pPr lvl="5" rtl="0">
              <a:spcBef>
                <a:spcPts val="0"/>
              </a:spcBef>
              <a:buSzPct val="100000"/>
              <a:defRPr sz="3600"/>
            </a:lvl6pPr>
            <a:lvl7pPr lvl="6" rtl="0">
              <a:spcBef>
                <a:spcPts val="0"/>
              </a:spcBef>
              <a:buSzPct val="100000"/>
              <a:defRPr sz="3600"/>
            </a:lvl7pPr>
            <a:lvl8pPr lvl="7" rtl="0">
              <a:spcBef>
                <a:spcPts val="0"/>
              </a:spcBef>
              <a:buSzPct val="100000"/>
              <a:defRPr sz="3600"/>
            </a:lvl8pPr>
            <a:lvl9pPr lvl="8" rtl="0">
              <a:spcBef>
                <a:spcPts val="0"/>
              </a:spcBef>
              <a:buSzPct val="100000"/>
              <a:defRPr sz="3600"/>
            </a:lvl9pPr>
          </a:lstStyle>
          <a:p>
            <a:endParaRPr/>
          </a:p>
        </p:txBody>
      </p:sp>
      <p:sp>
        <p:nvSpPr>
          <p:cNvPr id="178" name="Shape 178"/>
          <p:cNvSpPr txBox="1">
            <a:spLocks noGrp="1"/>
          </p:cNvSpPr>
          <p:nvPr>
            <p:ph type="subTitle" idx="1"/>
          </p:nvPr>
        </p:nvSpPr>
        <p:spPr>
          <a:xfrm>
            <a:off x="2743200" y="2821004"/>
            <a:ext cx="5696099" cy="7847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buNone/>
              <a:defRPr/>
            </a:lvl1pPr>
            <a:lvl2pPr lvl="1" rtl="0">
              <a:spcBef>
                <a:spcPts val="0"/>
              </a:spcBef>
              <a:buNone/>
              <a:defRPr/>
            </a:lvl2pPr>
            <a:lvl3pPr lvl="2" rtl="0">
              <a:spcBef>
                <a:spcPts val="0"/>
              </a:spcBef>
              <a:buNone/>
              <a:defRPr/>
            </a:lvl3pPr>
            <a:lvl4pPr lvl="3" rtl="0">
              <a:spcBef>
                <a:spcPts val="0"/>
              </a:spcBef>
              <a:buNone/>
              <a:defRPr/>
            </a:lvl4pPr>
            <a:lvl5pPr lvl="4" rtl="0">
              <a:spcBef>
                <a:spcPts val="0"/>
              </a:spcBef>
              <a:buNone/>
              <a:defRPr/>
            </a:lvl5pPr>
            <a:lvl6pPr lvl="5" rtl="0">
              <a:spcBef>
                <a:spcPts val="0"/>
              </a:spcBef>
              <a:buNone/>
              <a:defRPr/>
            </a:lvl6pPr>
            <a:lvl7pPr lvl="6" rtl="0">
              <a:spcBef>
                <a:spcPts val="0"/>
              </a:spcBef>
              <a:buNone/>
              <a:defRPr/>
            </a:lvl7pPr>
            <a:lvl8pPr lvl="7" rtl="0">
              <a:spcBef>
                <a:spcPts val="0"/>
              </a:spcBef>
              <a:buNone/>
              <a:defRPr/>
            </a:lvl8pPr>
            <a:lvl9pPr lvl="8" rtl="0">
              <a:spcBef>
                <a:spcPts val="0"/>
              </a:spcBef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3 columns">
    <p:spTree>
      <p:nvGrpSpPr>
        <p:cNvPr id="1" name="Shape 8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4" name="Shape 854"/>
          <p:cNvSpPr txBox="1">
            <a:spLocks noGrp="1"/>
          </p:cNvSpPr>
          <p:nvPr>
            <p:ph type="title"/>
          </p:nvPr>
        </p:nvSpPr>
        <p:spPr>
          <a:xfrm>
            <a:off x="1732700" y="641091"/>
            <a:ext cx="4944300" cy="6453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 dirty="0"/>
          </a:p>
        </p:txBody>
      </p:sp>
      <p:sp>
        <p:nvSpPr>
          <p:cNvPr id="855" name="Shape 855"/>
          <p:cNvSpPr txBox="1">
            <a:spLocks noGrp="1"/>
          </p:cNvSpPr>
          <p:nvPr>
            <p:ph type="body" idx="1"/>
          </p:nvPr>
        </p:nvSpPr>
        <p:spPr>
          <a:xfrm>
            <a:off x="1732700" y="1814518"/>
            <a:ext cx="2176800" cy="25448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 rtl="0"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856" name="Shape 856"/>
          <p:cNvSpPr txBox="1">
            <a:spLocks noGrp="1"/>
          </p:cNvSpPr>
          <p:nvPr>
            <p:ph type="body" idx="2"/>
          </p:nvPr>
        </p:nvSpPr>
        <p:spPr>
          <a:xfrm>
            <a:off x="4020972" y="1814518"/>
            <a:ext cx="2176800" cy="25448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 rtl="0"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857" name="Shape 857"/>
          <p:cNvSpPr txBox="1">
            <a:spLocks noGrp="1"/>
          </p:cNvSpPr>
          <p:nvPr>
            <p:ph type="body" idx="3"/>
          </p:nvPr>
        </p:nvSpPr>
        <p:spPr>
          <a:xfrm>
            <a:off x="6309244" y="1814518"/>
            <a:ext cx="2176800" cy="2544899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marL="0" lvl="0" indent="0" rtl="0">
              <a:spcBef>
                <a:spcPts val="0"/>
              </a:spcBef>
              <a:buFont typeface="Arial" panose="020B0604020202020204" pitchFamily="34" charset="0"/>
              <a:buNone/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20" name="正方形/長方形 14"/>
          <p:cNvSpPr/>
          <p:nvPr userDrawn="1"/>
        </p:nvSpPr>
        <p:spPr>
          <a:xfrm flipV="1">
            <a:off x="1732700" y="1272744"/>
            <a:ext cx="6753344" cy="62211"/>
          </a:xfrm>
          <a:prstGeom prst="rect">
            <a:avLst/>
          </a:prstGeom>
          <a:pattFill prst="dkUpDiag">
            <a:fgClr>
              <a:schemeClr val="accent1">
                <a:lumMod val="75000"/>
              </a:schemeClr>
            </a:fgClr>
            <a:bgClr>
              <a:srgbClr val="0E293C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3 columns">
    <p:spTree>
      <p:nvGrpSpPr>
        <p:cNvPr id="1" name="Shape 85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54118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72C6BA-991C-4FC6-9826-BB59078AB9C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5E020-1E93-4A3F-9435-2EC62D9EE5F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55666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72C6BA-991C-4FC6-9826-BB59078AB9C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5E020-1E93-4A3F-9435-2EC62D9EE5F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0553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72C6BA-991C-4FC6-9826-BB59078AB9C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5E020-1E93-4A3F-9435-2EC62D9EE5F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0991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72C6BA-991C-4FC6-9826-BB59078AB9C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5E020-1E93-4A3F-9435-2EC62D9EE5F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2055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72C6BA-991C-4FC6-9826-BB59078AB9C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9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C5E020-1E93-4A3F-9435-2EC62D9EE5F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0359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1732700" y="1735600"/>
            <a:ext cx="4944300" cy="6453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lvl="0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1pPr>
            <a:lvl2pPr lvl="1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2pPr>
            <a:lvl3pPr lvl="2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3pPr>
            <a:lvl4pPr lvl="3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4pPr>
            <a:lvl5pPr lvl="4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5pPr>
            <a:lvl6pPr lvl="5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6pPr>
            <a:lvl7pPr lvl="6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7pPr>
            <a:lvl8pPr lvl="7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8pPr>
            <a:lvl9pPr lvl="8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1732700" y="2255124"/>
            <a:ext cx="4944300" cy="16599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600"/>
              </a:spcBef>
              <a:buClr>
                <a:srgbClr val="19BBD5"/>
              </a:buClr>
              <a:buFont typeface="Muli"/>
              <a:buChar char="◇"/>
              <a:defRPr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1pPr>
            <a:lvl2pPr lvl="1">
              <a:spcBef>
                <a:spcPts val="480"/>
              </a:spcBef>
              <a:buClr>
                <a:srgbClr val="19BBD5"/>
              </a:buClr>
              <a:buFont typeface="Muli"/>
              <a:buChar char="￭"/>
              <a:defRPr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2pPr>
            <a:lvl3pPr lvl="2">
              <a:spcBef>
                <a:spcPts val="480"/>
              </a:spcBef>
              <a:buClr>
                <a:srgbClr val="19BBD5"/>
              </a:buClr>
              <a:buFont typeface="Muli"/>
              <a:buChar char="￮"/>
              <a:defRPr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3pPr>
            <a:lvl4pPr lvl="3">
              <a:spcBef>
                <a:spcPts val="360"/>
              </a:spcBef>
              <a:buClr>
                <a:srgbClr val="19BBD5"/>
              </a:buClr>
              <a:buFont typeface="Muli"/>
              <a:defRPr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4pPr>
            <a:lvl5pPr lvl="4">
              <a:spcBef>
                <a:spcPts val="360"/>
              </a:spcBef>
              <a:buClr>
                <a:srgbClr val="19BBD5"/>
              </a:buClr>
              <a:buFont typeface="Muli"/>
              <a:defRPr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5pPr>
            <a:lvl6pPr lvl="5">
              <a:spcBef>
                <a:spcPts val="360"/>
              </a:spcBef>
              <a:buClr>
                <a:srgbClr val="C6DAEC"/>
              </a:buClr>
              <a:buFont typeface="Muli"/>
              <a:defRPr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6pPr>
            <a:lvl7pPr lvl="6">
              <a:spcBef>
                <a:spcPts val="360"/>
              </a:spcBef>
              <a:buClr>
                <a:srgbClr val="C6DAEC"/>
              </a:buClr>
              <a:buFont typeface="Muli"/>
              <a:defRPr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7pPr>
            <a:lvl8pPr lvl="7">
              <a:spcBef>
                <a:spcPts val="360"/>
              </a:spcBef>
              <a:buClr>
                <a:srgbClr val="C6DAEC"/>
              </a:buClr>
              <a:buFont typeface="Muli"/>
              <a:defRPr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8pPr>
            <a:lvl9pPr lvl="8">
              <a:spcBef>
                <a:spcPts val="360"/>
              </a:spcBef>
              <a:buClr>
                <a:srgbClr val="C6DAEC"/>
              </a:buClr>
              <a:buFont typeface="Muli"/>
              <a:defRPr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3" r:id="rId3"/>
    <p:sldLayoutId id="2147483658" r:id="rId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72C6BA-991C-4FC6-9826-BB59078AB9CD}" type="datetimeFigureOut">
              <a:rPr lang="en-US" kern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  <a:cs typeface="+mn-cs"/>
              </a:rPr>
              <a:pPr/>
              <a:t>5/9/2017</a:t>
            </a:fld>
            <a:endParaRPr lang="en-US" kern="120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kern="120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C5E020-1E93-4A3F-9435-2EC62D9EE5FB}" type="slidenum">
              <a:rPr lang="en-US" kern="1200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  <a:cs typeface="+mn-cs"/>
              </a:rPr>
              <a:pPr/>
              <a:t>‹#›</a:t>
            </a:fld>
            <a:endParaRPr lang="en-US" kern="1200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5059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72" r:id="rId13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63" Type="http://schemas.openxmlformats.org/officeDocument/2006/relationships/tags" Target="../tags/tag63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226" Type="http://schemas.openxmlformats.org/officeDocument/2006/relationships/tags" Target="../tags/tag226.xml"/><Relationship Id="rId268" Type="http://schemas.openxmlformats.org/officeDocument/2006/relationships/tags" Target="../tags/tag268.xml"/><Relationship Id="rId32" Type="http://schemas.openxmlformats.org/officeDocument/2006/relationships/tags" Target="../tags/tag32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335" Type="http://schemas.openxmlformats.org/officeDocument/2006/relationships/tags" Target="../tags/tag335.xml"/><Relationship Id="rId5" Type="http://schemas.openxmlformats.org/officeDocument/2006/relationships/tags" Target="../tags/tag5.xml"/><Relationship Id="rId181" Type="http://schemas.openxmlformats.org/officeDocument/2006/relationships/tags" Target="../tags/tag181.xml"/><Relationship Id="rId237" Type="http://schemas.openxmlformats.org/officeDocument/2006/relationships/tags" Target="../tags/tag237.xml"/><Relationship Id="rId279" Type="http://schemas.openxmlformats.org/officeDocument/2006/relationships/tags" Target="../tags/tag279.xml"/><Relationship Id="rId43" Type="http://schemas.openxmlformats.org/officeDocument/2006/relationships/tags" Target="../tags/tag43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46" Type="http://schemas.openxmlformats.org/officeDocument/2006/relationships/tags" Target="../tags/tag346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48" Type="http://schemas.openxmlformats.org/officeDocument/2006/relationships/tags" Target="../tags/tag248.xml"/><Relationship Id="rId12" Type="http://schemas.openxmlformats.org/officeDocument/2006/relationships/tags" Target="../tags/tag12.xml"/><Relationship Id="rId108" Type="http://schemas.openxmlformats.org/officeDocument/2006/relationships/tags" Target="../tags/tag108.xml"/><Relationship Id="rId315" Type="http://schemas.openxmlformats.org/officeDocument/2006/relationships/tags" Target="../tags/tag315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96" Type="http://schemas.openxmlformats.org/officeDocument/2006/relationships/tags" Target="../tags/tag96.xml"/><Relationship Id="rId161" Type="http://schemas.openxmlformats.org/officeDocument/2006/relationships/tags" Target="../tags/tag161.xml"/><Relationship Id="rId217" Type="http://schemas.openxmlformats.org/officeDocument/2006/relationships/tags" Target="../tags/tag217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326" Type="http://schemas.openxmlformats.org/officeDocument/2006/relationships/tags" Target="../tags/tag326.xml"/><Relationship Id="rId65" Type="http://schemas.openxmlformats.org/officeDocument/2006/relationships/tags" Target="../tags/tag65.xml"/><Relationship Id="rId130" Type="http://schemas.openxmlformats.org/officeDocument/2006/relationships/tags" Target="../tags/tag130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228" Type="http://schemas.openxmlformats.org/officeDocument/2006/relationships/tags" Target="../tags/tag228.xml"/><Relationship Id="rId281" Type="http://schemas.openxmlformats.org/officeDocument/2006/relationships/tags" Target="../tags/tag281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76" Type="http://schemas.openxmlformats.org/officeDocument/2006/relationships/tags" Target="../tags/tag76.xml"/><Relationship Id="rId141" Type="http://schemas.openxmlformats.org/officeDocument/2006/relationships/tags" Target="../tags/tag141.xml"/><Relationship Id="rId7" Type="http://schemas.openxmlformats.org/officeDocument/2006/relationships/tags" Target="../tags/tag7.xml"/><Relationship Id="rId183" Type="http://schemas.openxmlformats.org/officeDocument/2006/relationships/tags" Target="../tags/tag183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45" Type="http://schemas.openxmlformats.org/officeDocument/2006/relationships/tags" Target="../tags/tag45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348" Type="http://schemas.openxmlformats.org/officeDocument/2006/relationships/tags" Target="../tags/tag348.xml"/><Relationship Id="rId152" Type="http://schemas.openxmlformats.org/officeDocument/2006/relationships/tags" Target="../tags/tag152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56" Type="http://schemas.openxmlformats.org/officeDocument/2006/relationships/tags" Target="../tags/tag56.xml"/><Relationship Id="rId317" Type="http://schemas.openxmlformats.org/officeDocument/2006/relationships/tags" Target="../tags/tag317.xml"/><Relationship Id="rId359" Type="http://schemas.openxmlformats.org/officeDocument/2006/relationships/tags" Target="../tags/tag359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63" Type="http://schemas.openxmlformats.org/officeDocument/2006/relationships/tags" Target="../tags/tag163.xml"/><Relationship Id="rId219" Type="http://schemas.openxmlformats.org/officeDocument/2006/relationships/tags" Target="../tags/tag219.xml"/><Relationship Id="rId370" Type="http://schemas.openxmlformats.org/officeDocument/2006/relationships/notesSlide" Target="../notesSlides/notesSlide2.xml"/><Relationship Id="rId230" Type="http://schemas.openxmlformats.org/officeDocument/2006/relationships/tags" Target="../tags/tag230.xml"/><Relationship Id="rId25" Type="http://schemas.openxmlformats.org/officeDocument/2006/relationships/tags" Target="../tags/tag25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328" Type="http://schemas.openxmlformats.org/officeDocument/2006/relationships/tags" Target="../tags/tag328.xml"/><Relationship Id="rId132" Type="http://schemas.openxmlformats.org/officeDocument/2006/relationships/tags" Target="../tags/tag132.xml"/><Relationship Id="rId174" Type="http://schemas.openxmlformats.org/officeDocument/2006/relationships/tags" Target="../tags/tag174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Relationship Id="rId42" Type="http://schemas.openxmlformats.org/officeDocument/2006/relationships/tags" Target="../tags/tag42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345" Type="http://schemas.openxmlformats.org/officeDocument/2006/relationships/tags" Target="../tags/tag345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53" Type="http://schemas.openxmlformats.org/officeDocument/2006/relationships/tags" Target="../tags/tag53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56" Type="http://schemas.openxmlformats.org/officeDocument/2006/relationships/tags" Target="../tags/tag356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16" Type="http://schemas.openxmlformats.org/officeDocument/2006/relationships/tags" Target="../tags/tag216.xml"/><Relationship Id="rId258" Type="http://schemas.openxmlformats.org/officeDocument/2006/relationships/tags" Target="../tags/tag258.xml"/><Relationship Id="rId22" Type="http://schemas.openxmlformats.org/officeDocument/2006/relationships/tags" Target="../tags/tag22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325" Type="http://schemas.openxmlformats.org/officeDocument/2006/relationships/tags" Target="../tags/tag325.xml"/><Relationship Id="rId367" Type="http://schemas.openxmlformats.org/officeDocument/2006/relationships/tags" Target="../tags/tag367.xml"/><Relationship Id="rId171" Type="http://schemas.openxmlformats.org/officeDocument/2006/relationships/tags" Target="../tags/tag171.xml"/><Relationship Id="rId227" Type="http://schemas.openxmlformats.org/officeDocument/2006/relationships/tags" Target="../tags/tag227.xml"/><Relationship Id="rId269" Type="http://schemas.openxmlformats.org/officeDocument/2006/relationships/tags" Target="../tags/tag269.xml"/><Relationship Id="rId33" Type="http://schemas.openxmlformats.org/officeDocument/2006/relationships/tags" Target="../tags/tag33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36" Type="http://schemas.openxmlformats.org/officeDocument/2006/relationships/tags" Target="../tags/tag336.xml"/><Relationship Id="rId75" Type="http://schemas.openxmlformats.org/officeDocument/2006/relationships/tags" Target="../tags/tag75.xml"/><Relationship Id="rId140" Type="http://schemas.openxmlformats.org/officeDocument/2006/relationships/tags" Target="../tags/tag140.xml"/><Relationship Id="rId182" Type="http://schemas.openxmlformats.org/officeDocument/2006/relationships/tags" Target="../tags/tag182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86" Type="http://schemas.openxmlformats.org/officeDocument/2006/relationships/tags" Target="../tags/tag86.xml"/><Relationship Id="rId151" Type="http://schemas.openxmlformats.org/officeDocument/2006/relationships/tags" Target="../tags/tag151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316" Type="http://schemas.openxmlformats.org/officeDocument/2006/relationships/tags" Target="../tags/tag316.xml"/><Relationship Id="rId55" Type="http://schemas.openxmlformats.org/officeDocument/2006/relationships/tags" Target="../tags/tag55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358" Type="http://schemas.openxmlformats.org/officeDocument/2006/relationships/tags" Target="../tags/tag358.xml"/><Relationship Id="rId162" Type="http://schemas.openxmlformats.org/officeDocument/2006/relationships/tags" Target="../tags/tag162.xml"/><Relationship Id="rId218" Type="http://schemas.openxmlformats.org/officeDocument/2006/relationships/tags" Target="../tags/tag218.xml"/><Relationship Id="rId271" Type="http://schemas.openxmlformats.org/officeDocument/2006/relationships/tags" Target="../tags/tag271.xml"/><Relationship Id="rId24" Type="http://schemas.openxmlformats.org/officeDocument/2006/relationships/tags" Target="../tags/tag24.xml"/><Relationship Id="rId66" Type="http://schemas.openxmlformats.org/officeDocument/2006/relationships/tags" Target="../tags/tag66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69" Type="http://schemas.openxmlformats.org/officeDocument/2006/relationships/slideLayout" Target="../slideLayouts/slideLayout7.xml"/><Relationship Id="rId173" Type="http://schemas.openxmlformats.org/officeDocument/2006/relationships/tags" Target="../tags/tag173.xml"/><Relationship Id="rId229" Type="http://schemas.openxmlformats.org/officeDocument/2006/relationships/tags" Target="../tags/tag229.xml"/><Relationship Id="rId240" Type="http://schemas.openxmlformats.org/officeDocument/2006/relationships/tags" Target="../tags/tag240.xml"/><Relationship Id="rId35" Type="http://schemas.openxmlformats.org/officeDocument/2006/relationships/tags" Target="../tags/tag35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38" Type="http://schemas.openxmlformats.org/officeDocument/2006/relationships/tags" Target="../tags/tag338.xml"/><Relationship Id="rId8" Type="http://schemas.openxmlformats.org/officeDocument/2006/relationships/tags" Target="../tags/tag8.xml"/><Relationship Id="rId142" Type="http://schemas.openxmlformats.org/officeDocument/2006/relationships/tags" Target="../tags/tag142.xml"/><Relationship Id="rId184" Type="http://schemas.openxmlformats.org/officeDocument/2006/relationships/tags" Target="../tags/tag184.xml"/><Relationship Id="rId251" Type="http://schemas.openxmlformats.org/officeDocument/2006/relationships/tags" Target="../tags/tag251.xml"/><Relationship Id="rId46" Type="http://schemas.openxmlformats.org/officeDocument/2006/relationships/tags" Target="../tags/tag46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53" Type="http://schemas.openxmlformats.org/officeDocument/2006/relationships/tags" Target="../tags/tag153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13.emf"/><Relationship Id="rId3" Type="http://schemas.openxmlformats.org/officeDocument/2006/relationships/image" Target="../media/image3.emf"/><Relationship Id="rId7" Type="http://schemas.openxmlformats.org/officeDocument/2006/relationships/image" Target="../media/image7.emf"/><Relationship Id="rId12" Type="http://schemas.openxmlformats.org/officeDocument/2006/relationships/image" Target="../media/image12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emf"/><Relationship Id="rId11" Type="http://schemas.openxmlformats.org/officeDocument/2006/relationships/image" Target="../media/image11.emf"/><Relationship Id="rId5" Type="http://schemas.openxmlformats.org/officeDocument/2006/relationships/image" Target="../media/image5.emf"/><Relationship Id="rId10" Type="http://schemas.openxmlformats.org/officeDocument/2006/relationships/image" Target="../media/image10.emf"/><Relationship Id="rId4" Type="http://schemas.openxmlformats.org/officeDocument/2006/relationships/image" Target="../media/image4.emf"/><Relationship Id="rId9" Type="http://schemas.openxmlformats.org/officeDocument/2006/relationships/image" Target="../media/image9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10" Type="http://schemas.openxmlformats.org/officeDocument/2006/relationships/image" Target="../media/image26.png"/><Relationship Id="rId4" Type="http://schemas.openxmlformats.org/officeDocument/2006/relationships/image" Target="../media/image21.png"/><Relationship Id="rId9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9.png"/><Relationship Id="rId5" Type="http://schemas.microsoft.com/office/2007/relationships/hdphoto" Target="../media/hdphoto2.wdp"/><Relationship Id="rId4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Shape 14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921173"/>
            <a:ext cx="9144000" cy="1761067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08" name="Shape 1408"/>
          <p:cNvSpPr txBox="1">
            <a:spLocks noGrp="1"/>
          </p:cNvSpPr>
          <p:nvPr>
            <p:ph type="ctrTitle"/>
          </p:nvPr>
        </p:nvSpPr>
        <p:spPr>
          <a:xfrm>
            <a:off x="851534" y="1244154"/>
            <a:ext cx="8124826" cy="1159799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lvl="0" algn="l">
              <a:spcBef>
                <a:spcPts val="0"/>
              </a:spcBef>
              <a:buNone/>
            </a:pPr>
            <a:r>
              <a:rPr lang="en-US" sz="3200" b="1" dirty="0">
                <a:solidFill>
                  <a:schemeClr val="accent5">
                    <a:lumMod val="20000"/>
                    <a:lumOff val="80000"/>
                  </a:schemeClr>
                </a:solidFill>
              </a:rPr>
              <a:t>Government of Indonesia  &amp;  GPOBA:</a:t>
            </a:r>
            <a:br>
              <a:rPr lang="en-US" sz="3200" b="1" dirty="0">
                <a:solidFill>
                  <a:schemeClr val="accent5">
                    <a:lumMod val="20000"/>
                    <a:lumOff val="80000"/>
                  </a:schemeClr>
                </a:solidFill>
              </a:rPr>
            </a:br>
            <a:r>
              <a:rPr lang="en-US" sz="2800" b="1" dirty="0">
                <a:solidFill>
                  <a:schemeClr val="accent5">
                    <a:lumMod val="20000"/>
                    <a:lumOff val="80000"/>
                  </a:schemeClr>
                </a:solidFill>
              </a:rPr>
              <a:t>A Partnership for LG Performance Improvement &amp; Accountability</a:t>
            </a:r>
            <a:endParaRPr lang="en" sz="2800" b="1" dirty="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3" name="Shape 1408"/>
          <p:cNvSpPr txBox="1">
            <a:spLocks/>
          </p:cNvSpPr>
          <p:nvPr/>
        </p:nvSpPr>
        <p:spPr>
          <a:xfrm>
            <a:off x="5808868" y="3193020"/>
            <a:ext cx="2297394" cy="677078"/>
          </a:xfrm>
          <a:prstGeom prst="rect">
            <a:avLst/>
          </a:prstGeom>
          <a:noFill/>
          <a:ln>
            <a:noFill/>
          </a:ln>
        </p:spPr>
        <p:txBody>
          <a:bodyPr wrap="none" lIns="91425" tIns="91425" rIns="91425" bIns="91425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ct val="100000"/>
              <a:buFont typeface="Nixie One"/>
              <a:buNone/>
              <a:defRPr sz="48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1pPr>
            <a:lvl2pPr lvl="1" algn="ctr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8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2pPr>
            <a:lvl3pPr lvl="2" algn="ctr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8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3pPr>
            <a:lvl4pPr lvl="3" algn="ctr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8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4pPr>
            <a:lvl5pPr lvl="4" algn="ctr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8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5pPr>
            <a:lvl6pPr lvl="5" algn="ctr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8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6pPr>
            <a:lvl7pPr lvl="6" algn="ctr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8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7pPr>
            <a:lvl8pPr lvl="7" algn="ctr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8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8pPr>
            <a:lvl9pPr lvl="8" algn="ctr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8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9pPr>
          </a:lstStyle>
          <a:p>
            <a:pPr algn="r"/>
            <a:r>
              <a:rPr lang="en-US" sz="1800" dirty="0">
                <a:solidFill>
                  <a:schemeClr val="bg1"/>
                </a:solidFill>
                <a:latin typeface="Gill Sans MT" panose="020B0502020104020203" pitchFamily="34" charset="0"/>
              </a:rPr>
              <a:t>Catherine C. O'Farrell</a:t>
            </a:r>
          </a:p>
          <a:p>
            <a:pPr algn="r"/>
            <a:r>
              <a:rPr lang="en-US" sz="1400" dirty="0">
                <a:solidFill>
                  <a:schemeClr val="bg1"/>
                </a:solidFill>
                <a:latin typeface="Gill Sans MT" panose="020B0502020104020203" pitchFamily="34" charset="0"/>
              </a:rPr>
              <a:t>Head of GPOBA</a:t>
            </a:r>
            <a:endParaRPr lang="en" sz="1400" dirty="0">
              <a:solidFill>
                <a:schemeClr val="bg1"/>
              </a:solidFill>
              <a:latin typeface="Gill Sans MT" panose="020B0502020104020203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1216" y="4380878"/>
            <a:ext cx="1402189" cy="475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9192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-62580"/>
            <a:ext cx="9143999" cy="5209321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257175"/>
            <a:endParaRPr lang="en-US" sz="1350" b="1" kern="1200" dirty="0">
              <a:solidFill>
                <a:prstClr val="white"/>
              </a:solidFill>
              <a:latin typeface="Gill Sans MT" panose="020B0502020104020203" pitchFamily="34" charset="0"/>
              <a:cs typeface="Estrangelo Edessa" panose="03080600000000000000" pitchFamily="66" charset="0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1572118" y="805365"/>
            <a:ext cx="7007128" cy="3927446"/>
            <a:chOff x="2503961" y="1365919"/>
            <a:chExt cx="6561001" cy="3870914"/>
          </a:xfrm>
        </p:grpSpPr>
        <p:sp>
          <p:nvSpPr>
            <p:cNvPr id="1097" name="Freeform 32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5330284" y="3206522"/>
              <a:ext cx="270482" cy="263564"/>
            </a:xfrm>
            <a:custGeom>
              <a:avLst/>
              <a:gdLst>
                <a:gd name="T0" fmla="*/ 2147483647 w 671"/>
                <a:gd name="T1" fmla="*/ 2147483647 h 549"/>
                <a:gd name="T2" fmla="*/ 2147483647 w 671"/>
                <a:gd name="T3" fmla="*/ 2147483647 h 549"/>
                <a:gd name="T4" fmla="*/ 2147483647 w 671"/>
                <a:gd name="T5" fmla="*/ 2147483647 h 549"/>
                <a:gd name="T6" fmla="*/ 2147483647 w 671"/>
                <a:gd name="T7" fmla="*/ 2147483647 h 549"/>
                <a:gd name="T8" fmla="*/ 2147483647 w 671"/>
                <a:gd name="T9" fmla="*/ 2147483647 h 549"/>
                <a:gd name="T10" fmla="*/ 2147483647 w 671"/>
                <a:gd name="T11" fmla="*/ 2147483647 h 549"/>
                <a:gd name="T12" fmla="*/ 2147483647 w 671"/>
                <a:gd name="T13" fmla="*/ 2147483647 h 549"/>
                <a:gd name="T14" fmla="*/ 2147483647 w 671"/>
                <a:gd name="T15" fmla="*/ 2147483647 h 549"/>
                <a:gd name="T16" fmla="*/ 2147483647 w 671"/>
                <a:gd name="T17" fmla="*/ 2147483647 h 549"/>
                <a:gd name="T18" fmla="*/ 2147483647 w 671"/>
                <a:gd name="T19" fmla="*/ 2147483647 h 549"/>
                <a:gd name="T20" fmla="*/ 2147483647 w 671"/>
                <a:gd name="T21" fmla="*/ 2147483647 h 549"/>
                <a:gd name="T22" fmla="*/ 2147483647 w 671"/>
                <a:gd name="T23" fmla="*/ 2147483647 h 549"/>
                <a:gd name="T24" fmla="*/ 2147483647 w 671"/>
                <a:gd name="T25" fmla="*/ 0 h 549"/>
                <a:gd name="T26" fmla="*/ 2147483647 w 671"/>
                <a:gd name="T27" fmla="*/ 2147483647 h 549"/>
                <a:gd name="T28" fmla="*/ 2147483647 w 671"/>
                <a:gd name="T29" fmla="*/ 2147483647 h 549"/>
                <a:gd name="T30" fmla="*/ 2147483647 w 671"/>
                <a:gd name="T31" fmla="*/ 2147483647 h 549"/>
                <a:gd name="T32" fmla="*/ 2147483647 w 671"/>
                <a:gd name="T33" fmla="*/ 2147483647 h 549"/>
                <a:gd name="T34" fmla="*/ 2147483647 w 671"/>
                <a:gd name="T35" fmla="*/ 2147483647 h 549"/>
                <a:gd name="T36" fmla="*/ 2147483647 w 671"/>
                <a:gd name="T37" fmla="*/ 2147483647 h 549"/>
                <a:gd name="T38" fmla="*/ 2147483647 w 671"/>
                <a:gd name="T39" fmla="*/ 2147483647 h 549"/>
                <a:gd name="T40" fmla="*/ 2147483647 w 671"/>
                <a:gd name="T41" fmla="*/ 2147483647 h 549"/>
                <a:gd name="T42" fmla="*/ 2147483647 w 671"/>
                <a:gd name="T43" fmla="*/ 2147483647 h 549"/>
                <a:gd name="T44" fmla="*/ 2147483647 w 671"/>
                <a:gd name="T45" fmla="*/ 2147483647 h 549"/>
                <a:gd name="T46" fmla="*/ 2147483647 w 671"/>
                <a:gd name="T47" fmla="*/ 2147483647 h 549"/>
                <a:gd name="T48" fmla="*/ 2147483647 w 671"/>
                <a:gd name="T49" fmla="*/ 2147483647 h 549"/>
                <a:gd name="T50" fmla="*/ 2147483647 w 671"/>
                <a:gd name="T51" fmla="*/ 2147483647 h 549"/>
                <a:gd name="T52" fmla="*/ 2147483647 w 671"/>
                <a:gd name="T53" fmla="*/ 2147483647 h 549"/>
                <a:gd name="T54" fmla="*/ 2147483647 w 671"/>
                <a:gd name="T55" fmla="*/ 2147483647 h 549"/>
                <a:gd name="T56" fmla="*/ 2147483647 w 671"/>
                <a:gd name="T57" fmla="*/ 2147483647 h 549"/>
                <a:gd name="T58" fmla="*/ 2147483647 w 671"/>
                <a:gd name="T59" fmla="*/ 2147483647 h 549"/>
                <a:gd name="T60" fmla="*/ 2147483647 w 671"/>
                <a:gd name="T61" fmla="*/ 2147483647 h 549"/>
                <a:gd name="T62" fmla="*/ 2147483647 w 671"/>
                <a:gd name="T63" fmla="*/ 2147483647 h 549"/>
                <a:gd name="T64" fmla="*/ 2147483647 w 671"/>
                <a:gd name="T65" fmla="*/ 2147483647 h 549"/>
                <a:gd name="T66" fmla="*/ 2147483647 w 671"/>
                <a:gd name="T67" fmla="*/ 2147483647 h 549"/>
                <a:gd name="T68" fmla="*/ 2147483647 w 671"/>
                <a:gd name="T69" fmla="*/ 2147483647 h 549"/>
                <a:gd name="T70" fmla="*/ 2147483647 w 671"/>
                <a:gd name="T71" fmla="*/ 2147483647 h 549"/>
                <a:gd name="T72" fmla="*/ 2147483647 w 671"/>
                <a:gd name="T73" fmla="*/ 2147483647 h 549"/>
                <a:gd name="T74" fmla="*/ 2147483647 w 671"/>
                <a:gd name="T75" fmla="*/ 2147483647 h 549"/>
                <a:gd name="T76" fmla="*/ 2147483647 w 671"/>
                <a:gd name="T77" fmla="*/ 2147483647 h 549"/>
                <a:gd name="T78" fmla="*/ 2147483647 w 671"/>
                <a:gd name="T79" fmla="*/ 2147483647 h 549"/>
                <a:gd name="T80" fmla="*/ 2147483647 w 671"/>
                <a:gd name="T81" fmla="*/ 2147483647 h 549"/>
                <a:gd name="T82" fmla="*/ 2147483647 w 671"/>
                <a:gd name="T83" fmla="*/ 2147483647 h 549"/>
                <a:gd name="T84" fmla="*/ 2147483647 w 671"/>
                <a:gd name="T85" fmla="*/ 2147483647 h 549"/>
                <a:gd name="T86" fmla="*/ 2147483647 w 671"/>
                <a:gd name="T87" fmla="*/ 2147483647 h 549"/>
                <a:gd name="T88" fmla="*/ 2147483647 w 671"/>
                <a:gd name="T89" fmla="*/ 2147483647 h 549"/>
                <a:gd name="T90" fmla="*/ 2147483647 w 671"/>
                <a:gd name="T91" fmla="*/ 2147483647 h 549"/>
                <a:gd name="T92" fmla="*/ 2147483647 w 671"/>
                <a:gd name="T93" fmla="*/ 2147483647 h 549"/>
                <a:gd name="T94" fmla="*/ 2147483647 w 671"/>
                <a:gd name="T95" fmla="*/ 2147483647 h 549"/>
                <a:gd name="T96" fmla="*/ 2147483647 w 671"/>
                <a:gd name="T97" fmla="*/ 2147483647 h 549"/>
                <a:gd name="T98" fmla="*/ 2147483647 w 671"/>
                <a:gd name="T99" fmla="*/ 2147483647 h 549"/>
                <a:gd name="T100" fmla="*/ 2147483647 w 671"/>
                <a:gd name="T101" fmla="*/ 2147483647 h 549"/>
                <a:gd name="T102" fmla="*/ 2147483647 w 671"/>
                <a:gd name="T103" fmla="*/ 2147483647 h 549"/>
                <a:gd name="T104" fmla="*/ 2147483647 w 671"/>
                <a:gd name="T105" fmla="*/ 2147483647 h 549"/>
                <a:gd name="T106" fmla="*/ 2147483647 w 671"/>
                <a:gd name="T107" fmla="*/ 2147483647 h 549"/>
                <a:gd name="T108" fmla="*/ 2147483647 w 671"/>
                <a:gd name="T109" fmla="*/ 2147483647 h 549"/>
                <a:gd name="T110" fmla="*/ 2147483647 w 671"/>
                <a:gd name="T111" fmla="*/ 2147483647 h 549"/>
                <a:gd name="T112" fmla="*/ 2147483647 w 671"/>
                <a:gd name="T113" fmla="*/ 2147483647 h 549"/>
                <a:gd name="T114" fmla="*/ 2147483647 w 671"/>
                <a:gd name="T115" fmla="*/ 2147483647 h 549"/>
                <a:gd name="T116" fmla="*/ 2147483647 w 671"/>
                <a:gd name="T117" fmla="*/ 2147483647 h 549"/>
                <a:gd name="T118" fmla="*/ 2147483647 w 671"/>
                <a:gd name="T119" fmla="*/ 2147483647 h 549"/>
                <a:gd name="T120" fmla="*/ 2147483647 w 671"/>
                <a:gd name="T121" fmla="*/ 2147483647 h 549"/>
                <a:gd name="T122" fmla="*/ 0 w 671"/>
                <a:gd name="T123" fmla="*/ 2147483647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71"/>
                <a:gd name="T187" fmla="*/ 0 h 549"/>
                <a:gd name="T188" fmla="*/ 671 w 671"/>
                <a:gd name="T189" fmla="*/ 549 h 54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pattFill prst="wdUpDiag">
              <a:fgClr>
                <a:srgbClr val="AAC25E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8" name="Freeform 161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7024051" y="2095787"/>
              <a:ext cx="663911" cy="302664"/>
            </a:xfrm>
            <a:custGeom>
              <a:avLst/>
              <a:gdLst>
                <a:gd name="T0" fmla="*/ 2147483647 w 1688"/>
                <a:gd name="T1" fmla="*/ 2147483647 h 630"/>
                <a:gd name="T2" fmla="*/ 2147483647 w 1688"/>
                <a:gd name="T3" fmla="*/ 2147483647 h 630"/>
                <a:gd name="T4" fmla="*/ 2147483647 w 1688"/>
                <a:gd name="T5" fmla="*/ 2147483647 h 630"/>
                <a:gd name="T6" fmla="*/ 2147483647 w 1688"/>
                <a:gd name="T7" fmla="*/ 2147483647 h 630"/>
                <a:gd name="T8" fmla="*/ 2147483647 w 1688"/>
                <a:gd name="T9" fmla="*/ 2147483647 h 630"/>
                <a:gd name="T10" fmla="*/ 2147483647 w 1688"/>
                <a:gd name="T11" fmla="*/ 2147483647 h 630"/>
                <a:gd name="T12" fmla="*/ 2147483647 w 1688"/>
                <a:gd name="T13" fmla="*/ 2147483647 h 630"/>
                <a:gd name="T14" fmla="*/ 2147483647 w 1688"/>
                <a:gd name="T15" fmla="*/ 2147483647 h 630"/>
                <a:gd name="T16" fmla="*/ 2147483647 w 1688"/>
                <a:gd name="T17" fmla="*/ 2147483647 h 630"/>
                <a:gd name="T18" fmla="*/ 2147483647 w 1688"/>
                <a:gd name="T19" fmla="*/ 2147483647 h 630"/>
                <a:gd name="T20" fmla="*/ 2147483647 w 1688"/>
                <a:gd name="T21" fmla="*/ 2147483647 h 630"/>
                <a:gd name="T22" fmla="*/ 2147483647 w 1688"/>
                <a:gd name="T23" fmla="*/ 2147483647 h 630"/>
                <a:gd name="T24" fmla="*/ 2147483647 w 1688"/>
                <a:gd name="T25" fmla="*/ 2147483647 h 630"/>
                <a:gd name="T26" fmla="*/ 2147483647 w 1688"/>
                <a:gd name="T27" fmla="*/ 2147483647 h 630"/>
                <a:gd name="T28" fmla="*/ 2147483647 w 1688"/>
                <a:gd name="T29" fmla="*/ 2147483647 h 630"/>
                <a:gd name="T30" fmla="*/ 2147483647 w 1688"/>
                <a:gd name="T31" fmla="*/ 2147483647 h 630"/>
                <a:gd name="T32" fmla="*/ 2147483647 w 1688"/>
                <a:gd name="T33" fmla="*/ 2147483647 h 630"/>
                <a:gd name="T34" fmla="*/ 2147483647 w 1688"/>
                <a:gd name="T35" fmla="*/ 2147483647 h 630"/>
                <a:gd name="T36" fmla="*/ 2147483647 w 1688"/>
                <a:gd name="T37" fmla="*/ 2147483647 h 630"/>
                <a:gd name="T38" fmla="*/ 2147483647 w 1688"/>
                <a:gd name="T39" fmla="*/ 2147483647 h 630"/>
                <a:gd name="T40" fmla="*/ 2147483647 w 1688"/>
                <a:gd name="T41" fmla="*/ 2147483647 h 630"/>
                <a:gd name="T42" fmla="*/ 2147483647 w 1688"/>
                <a:gd name="T43" fmla="*/ 2147483647 h 630"/>
                <a:gd name="T44" fmla="*/ 2147483647 w 1688"/>
                <a:gd name="T45" fmla="*/ 2147483647 h 630"/>
                <a:gd name="T46" fmla="*/ 2147483647 w 1688"/>
                <a:gd name="T47" fmla="*/ 2147483647 h 630"/>
                <a:gd name="T48" fmla="*/ 2147483647 w 1688"/>
                <a:gd name="T49" fmla="*/ 2147483647 h 630"/>
                <a:gd name="T50" fmla="*/ 2147483647 w 1688"/>
                <a:gd name="T51" fmla="*/ 2147483647 h 630"/>
                <a:gd name="T52" fmla="*/ 2147483647 w 1688"/>
                <a:gd name="T53" fmla="*/ 2147483647 h 630"/>
                <a:gd name="T54" fmla="*/ 2147483647 w 1688"/>
                <a:gd name="T55" fmla="*/ 2147483647 h 630"/>
                <a:gd name="T56" fmla="*/ 2147483647 w 1688"/>
                <a:gd name="T57" fmla="*/ 2147483647 h 630"/>
                <a:gd name="T58" fmla="*/ 2147483647 w 1688"/>
                <a:gd name="T59" fmla="*/ 2147483647 h 630"/>
                <a:gd name="T60" fmla="*/ 2147483647 w 1688"/>
                <a:gd name="T61" fmla="*/ 2147483647 h 630"/>
                <a:gd name="T62" fmla="*/ 2147483647 w 1688"/>
                <a:gd name="T63" fmla="*/ 2147483647 h 630"/>
                <a:gd name="T64" fmla="*/ 2147483647 w 1688"/>
                <a:gd name="T65" fmla="*/ 2147483647 h 630"/>
                <a:gd name="T66" fmla="*/ 2147483647 w 1688"/>
                <a:gd name="T67" fmla="*/ 2147483647 h 630"/>
                <a:gd name="T68" fmla="*/ 2147483647 w 1688"/>
                <a:gd name="T69" fmla="*/ 2147483647 h 630"/>
                <a:gd name="T70" fmla="*/ 2147483647 w 1688"/>
                <a:gd name="T71" fmla="*/ 2147483647 h 630"/>
                <a:gd name="T72" fmla="*/ 2147483647 w 1688"/>
                <a:gd name="T73" fmla="*/ 2147483647 h 630"/>
                <a:gd name="T74" fmla="*/ 2147483647 w 1688"/>
                <a:gd name="T75" fmla="*/ 2147483647 h 630"/>
                <a:gd name="T76" fmla="*/ 2147483647 w 1688"/>
                <a:gd name="T77" fmla="*/ 2147483647 h 630"/>
                <a:gd name="T78" fmla="*/ 2147483647 w 1688"/>
                <a:gd name="T79" fmla="*/ 2147483647 h 630"/>
                <a:gd name="T80" fmla="*/ 2147483647 w 1688"/>
                <a:gd name="T81" fmla="*/ 2147483647 h 630"/>
                <a:gd name="T82" fmla="*/ 2147483647 w 1688"/>
                <a:gd name="T83" fmla="*/ 2147483647 h 630"/>
                <a:gd name="T84" fmla="*/ 2147483647 w 1688"/>
                <a:gd name="T85" fmla="*/ 2147483647 h 630"/>
                <a:gd name="T86" fmla="*/ 2147483647 w 1688"/>
                <a:gd name="T87" fmla="*/ 2147483647 h 630"/>
                <a:gd name="T88" fmla="*/ 2147483647 w 1688"/>
                <a:gd name="T89" fmla="*/ 2147483647 h 630"/>
                <a:gd name="T90" fmla="*/ 2147483647 w 1688"/>
                <a:gd name="T91" fmla="*/ 2147483647 h 630"/>
                <a:gd name="T92" fmla="*/ 2147483647 w 1688"/>
                <a:gd name="T93" fmla="*/ 2147483647 h 630"/>
                <a:gd name="T94" fmla="*/ 2147483647 w 1688"/>
                <a:gd name="T95" fmla="*/ 2147483647 h 630"/>
                <a:gd name="T96" fmla="*/ 2147483647 w 1688"/>
                <a:gd name="T97" fmla="*/ 2147483647 h 630"/>
                <a:gd name="T98" fmla="*/ 2147483647 w 1688"/>
                <a:gd name="T99" fmla="*/ 2147483647 h 630"/>
                <a:gd name="T100" fmla="*/ 2147483647 w 1688"/>
                <a:gd name="T101" fmla="*/ 2147483647 h 630"/>
                <a:gd name="T102" fmla="*/ 2147483647 w 1688"/>
                <a:gd name="T103" fmla="*/ 2147483647 h 630"/>
                <a:gd name="T104" fmla="*/ 2147483647 w 1688"/>
                <a:gd name="T105" fmla="*/ 2147483647 h 630"/>
                <a:gd name="T106" fmla="*/ 2147483647 w 1688"/>
                <a:gd name="T107" fmla="*/ 2147483647 h 630"/>
                <a:gd name="T108" fmla="*/ 2147483647 w 1688"/>
                <a:gd name="T109" fmla="*/ 2147483647 h 630"/>
                <a:gd name="T110" fmla="*/ 2147483647 w 1688"/>
                <a:gd name="T111" fmla="*/ 2147483647 h 630"/>
                <a:gd name="T112" fmla="*/ 2147483647 w 1688"/>
                <a:gd name="T113" fmla="*/ 2147483647 h 630"/>
                <a:gd name="T114" fmla="*/ 2147483647 w 1688"/>
                <a:gd name="T115" fmla="*/ 2147483647 h 630"/>
                <a:gd name="T116" fmla="*/ 2147483647 w 1688"/>
                <a:gd name="T117" fmla="*/ 2147483647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688"/>
                <a:gd name="T178" fmla="*/ 0 h 630"/>
                <a:gd name="T179" fmla="*/ 1688 w 1688"/>
                <a:gd name="T180" fmla="*/ 630 h 63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0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9" name="Freeform 162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3677015" y="3890049"/>
              <a:ext cx="299411" cy="379416"/>
            </a:xfrm>
            <a:custGeom>
              <a:avLst/>
              <a:gdLst>
                <a:gd name="T0" fmla="*/ 2147483647 w 758"/>
                <a:gd name="T1" fmla="*/ 2147483647 h 795"/>
                <a:gd name="T2" fmla="*/ 2147483647 w 758"/>
                <a:gd name="T3" fmla="*/ 2147483647 h 795"/>
                <a:gd name="T4" fmla="*/ 2147483647 w 758"/>
                <a:gd name="T5" fmla="*/ 2147483647 h 795"/>
                <a:gd name="T6" fmla="*/ 2147483647 w 758"/>
                <a:gd name="T7" fmla="*/ 2147483647 h 795"/>
                <a:gd name="T8" fmla="*/ 2147483647 w 758"/>
                <a:gd name="T9" fmla="*/ 2147483647 h 795"/>
                <a:gd name="T10" fmla="*/ 2147483647 w 758"/>
                <a:gd name="T11" fmla="*/ 2147483647 h 795"/>
                <a:gd name="T12" fmla="*/ 2147483647 w 758"/>
                <a:gd name="T13" fmla="*/ 2147483647 h 795"/>
                <a:gd name="T14" fmla="*/ 2147483647 w 758"/>
                <a:gd name="T15" fmla="*/ 2147483647 h 795"/>
                <a:gd name="T16" fmla="*/ 2147483647 w 758"/>
                <a:gd name="T17" fmla="*/ 2147483647 h 795"/>
                <a:gd name="T18" fmla="*/ 2147483647 w 758"/>
                <a:gd name="T19" fmla="*/ 2147483647 h 795"/>
                <a:gd name="T20" fmla="*/ 2147483647 w 758"/>
                <a:gd name="T21" fmla="*/ 2147483647 h 795"/>
                <a:gd name="T22" fmla="*/ 2147483647 w 758"/>
                <a:gd name="T23" fmla="*/ 2147483647 h 795"/>
                <a:gd name="T24" fmla="*/ 2147483647 w 758"/>
                <a:gd name="T25" fmla="*/ 2147483647 h 795"/>
                <a:gd name="T26" fmla="*/ 2147483647 w 758"/>
                <a:gd name="T27" fmla="*/ 2147483647 h 795"/>
                <a:gd name="T28" fmla="*/ 2147483647 w 758"/>
                <a:gd name="T29" fmla="*/ 2147483647 h 795"/>
                <a:gd name="T30" fmla="*/ 2147483647 w 758"/>
                <a:gd name="T31" fmla="*/ 2147483647 h 795"/>
                <a:gd name="T32" fmla="*/ 2147483647 w 758"/>
                <a:gd name="T33" fmla="*/ 2147483647 h 795"/>
                <a:gd name="T34" fmla="*/ 2147483647 w 758"/>
                <a:gd name="T35" fmla="*/ 2147483647 h 795"/>
                <a:gd name="T36" fmla="*/ 2147483647 w 758"/>
                <a:gd name="T37" fmla="*/ 2147483647 h 795"/>
                <a:gd name="T38" fmla="*/ 2147483647 w 758"/>
                <a:gd name="T39" fmla="*/ 2147483647 h 795"/>
                <a:gd name="T40" fmla="*/ 2147483647 w 758"/>
                <a:gd name="T41" fmla="*/ 2147483647 h 795"/>
                <a:gd name="T42" fmla="*/ 2147483647 w 758"/>
                <a:gd name="T43" fmla="*/ 2147483647 h 795"/>
                <a:gd name="T44" fmla="*/ 2147483647 w 758"/>
                <a:gd name="T45" fmla="*/ 2147483647 h 795"/>
                <a:gd name="T46" fmla="*/ 2147483647 w 758"/>
                <a:gd name="T47" fmla="*/ 2147483647 h 795"/>
                <a:gd name="T48" fmla="*/ 2147483647 w 758"/>
                <a:gd name="T49" fmla="*/ 2147483647 h 795"/>
                <a:gd name="T50" fmla="*/ 2147483647 w 758"/>
                <a:gd name="T51" fmla="*/ 2147483647 h 795"/>
                <a:gd name="T52" fmla="*/ 2147483647 w 758"/>
                <a:gd name="T53" fmla="*/ 2147483647 h 795"/>
                <a:gd name="T54" fmla="*/ 2147483647 w 758"/>
                <a:gd name="T55" fmla="*/ 2147483647 h 795"/>
                <a:gd name="T56" fmla="*/ 2147483647 w 758"/>
                <a:gd name="T57" fmla="*/ 2147483647 h 795"/>
                <a:gd name="T58" fmla="*/ 2147483647 w 758"/>
                <a:gd name="T59" fmla="*/ 2147483647 h 795"/>
                <a:gd name="T60" fmla="*/ 2147483647 w 758"/>
                <a:gd name="T61" fmla="*/ 2147483647 h 795"/>
                <a:gd name="T62" fmla="*/ 2147483647 w 758"/>
                <a:gd name="T63" fmla="*/ 2147483647 h 795"/>
                <a:gd name="T64" fmla="*/ 2147483647 w 758"/>
                <a:gd name="T65" fmla="*/ 2147483647 h 795"/>
                <a:gd name="T66" fmla="*/ 2147483647 w 758"/>
                <a:gd name="T67" fmla="*/ 2147483647 h 795"/>
                <a:gd name="T68" fmla="*/ 2147483647 w 758"/>
                <a:gd name="T69" fmla="*/ 2147483647 h 795"/>
                <a:gd name="T70" fmla="*/ 2147483647 w 758"/>
                <a:gd name="T71" fmla="*/ 2147483647 h 795"/>
                <a:gd name="T72" fmla="*/ 2147483647 w 758"/>
                <a:gd name="T73" fmla="*/ 2147483647 h 795"/>
                <a:gd name="T74" fmla="*/ 2147483647 w 758"/>
                <a:gd name="T75" fmla="*/ 2147483647 h 795"/>
                <a:gd name="T76" fmla="*/ 2147483647 w 758"/>
                <a:gd name="T77" fmla="*/ 2147483647 h 795"/>
                <a:gd name="T78" fmla="*/ 2147483647 w 758"/>
                <a:gd name="T79" fmla="*/ 2147483647 h 795"/>
                <a:gd name="T80" fmla="*/ 2147483647 w 758"/>
                <a:gd name="T81" fmla="*/ 2147483647 h 795"/>
                <a:gd name="T82" fmla="*/ 2147483647 w 758"/>
                <a:gd name="T83" fmla="*/ 2147483647 h 795"/>
                <a:gd name="T84" fmla="*/ 2147483647 w 758"/>
                <a:gd name="T85" fmla="*/ 2147483647 h 795"/>
                <a:gd name="T86" fmla="*/ 2147483647 w 758"/>
                <a:gd name="T87" fmla="*/ 2147483647 h 795"/>
                <a:gd name="T88" fmla="*/ 2147483647 w 758"/>
                <a:gd name="T89" fmla="*/ 2147483647 h 795"/>
                <a:gd name="T90" fmla="*/ 2147483647 w 758"/>
                <a:gd name="T91" fmla="*/ 2147483647 h 795"/>
                <a:gd name="T92" fmla="*/ 2147483647 w 758"/>
                <a:gd name="T93" fmla="*/ 2147483647 h 795"/>
                <a:gd name="T94" fmla="*/ 2147483647 w 758"/>
                <a:gd name="T95" fmla="*/ 2147483647 h 795"/>
                <a:gd name="T96" fmla="*/ 2147483647 w 758"/>
                <a:gd name="T97" fmla="*/ 2147483647 h 795"/>
                <a:gd name="T98" fmla="*/ 2147483647 w 758"/>
                <a:gd name="T99" fmla="*/ 2147483647 h 795"/>
                <a:gd name="T100" fmla="*/ 2147483647 w 758"/>
                <a:gd name="T101" fmla="*/ 2147483647 h 795"/>
                <a:gd name="T102" fmla="*/ 2147483647 w 758"/>
                <a:gd name="T103" fmla="*/ 2147483647 h 795"/>
                <a:gd name="T104" fmla="*/ 2147483647 w 758"/>
                <a:gd name="T105" fmla="*/ 2147483647 h 795"/>
                <a:gd name="T106" fmla="*/ 2147483647 w 758"/>
                <a:gd name="T107" fmla="*/ 2147483647 h 795"/>
                <a:gd name="T108" fmla="*/ 2147483647 w 758"/>
                <a:gd name="T109" fmla="*/ 2147483647 h 795"/>
                <a:gd name="T110" fmla="*/ 2147483647 w 758"/>
                <a:gd name="T111" fmla="*/ 2147483647 h 795"/>
                <a:gd name="T112" fmla="*/ 2147483647 w 758"/>
                <a:gd name="T113" fmla="*/ 2147483647 h 795"/>
                <a:gd name="T114" fmla="*/ 2147483647 w 758"/>
                <a:gd name="T115" fmla="*/ 2147483647 h 795"/>
                <a:gd name="T116" fmla="*/ 2147483647 w 758"/>
                <a:gd name="T117" fmla="*/ 2147483647 h 795"/>
                <a:gd name="T118" fmla="*/ 0 w 758"/>
                <a:gd name="T119" fmla="*/ 2147483647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58"/>
                <a:gd name="T181" fmla="*/ 0 h 795"/>
                <a:gd name="T182" fmla="*/ 758 w 758"/>
                <a:gd name="T183" fmla="*/ 795 h 795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C00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0" name="Freeform 221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253213" y="3158733"/>
              <a:ext cx="130178" cy="79648"/>
            </a:xfrm>
            <a:custGeom>
              <a:avLst/>
              <a:gdLst>
                <a:gd name="T0" fmla="*/ 0 w 332"/>
                <a:gd name="T1" fmla="*/ 2147483647 h 169"/>
                <a:gd name="T2" fmla="*/ 2147483647 w 332"/>
                <a:gd name="T3" fmla="*/ 2147483647 h 169"/>
                <a:gd name="T4" fmla="*/ 2147483647 w 332"/>
                <a:gd name="T5" fmla="*/ 2147483647 h 169"/>
                <a:gd name="T6" fmla="*/ 2147483647 w 332"/>
                <a:gd name="T7" fmla="*/ 2147483647 h 169"/>
                <a:gd name="T8" fmla="*/ 2147483647 w 332"/>
                <a:gd name="T9" fmla="*/ 2147483647 h 169"/>
                <a:gd name="T10" fmla="*/ 2147483647 w 332"/>
                <a:gd name="T11" fmla="*/ 2147483647 h 169"/>
                <a:gd name="T12" fmla="*/ 2147483647 w 332"/>
                <a:gd name="T13" fmla="*/ 2147483647 h 169"/>
                <a:gd name="T14" fmla="*/ 2147483647 w 332"/>
                <a:gd name="T15" fmla="*/ 2147483647 h 169"/>
                <a:gd name="T16" fmla="*/ 2147483647 w 332"/>
                <a:gd name="T17" fmla="*/ 2147483647 h 169"/>
                <a:gd name="T18" fmla="*/ 2147483647 w 332"/>
                <a:gd name="T19" fmla="*/ 2147483647 h 169"/>
                <a:gd name="T20" fmla="*/ 2147483647 w 332"/>
                <a:gd name="T21" fmla="*/ 2147483647 h 169"/>
                <a:gd name="T22" fmla="*/ 2147483647 w 332"/>
                <a:gd name="T23" fmla="*/ 2147483647 h 169"/>
                <a:gd name="T24" fmla="*/ 2147483647 w 332"/>
                <a:gd name="T25" fmla="*/ 2147483647 h 169"/>
                <a:gd name="T26" fmla="*/ 2147483647 w 332"/>
                <a:gd name="T27" fmla="*/ 2147483647 h 169"/>
                <a:gd name="T28" fmla="*/ 2147483647 w 332"/>
                <a:gd name="T29" fmla="*/ 2147483647 h 169"/>
                <a:gd name="T30" fmla="*/ 2147483647 w 332"/>
                <a:gd name="T31" fmla="*/ 2147483647 h 169"/>
                <a:gd name="T32" fmla="*/ 2147483647 w 332"/>
                <a:gd name="T33" fmla="*/ 2147483647 h 169"/>
                <a:gd name="T34" fmla="*/ 2147483647 w 332"/>
                <a:gd name="T35" fmla="*/ 2147483647 h 169"/>
                <a:gd name="T36" fmla="*/ 2147483647 w 332"/>
                <a:gd name="T37" fmla="*/ 2147483647 h 169"/>
                <a:gd name="T38" fmla="*/ 2147483647 w 332"/>
                <a:gd name="T39" fmla="*/ 2147483647 h 169"/>
                <a:gd name="T40" fmla="*/ 2147483647 w 332"/>
                <a:gd name="T41" fmla="*/ 2147483647 h 169"/>
                <a:gd name="T42" fmla="*/ 2147483647 w 332"/>
                <a:gd name="T43" fmla="*/ 0 h 169"/>
                <a:gd name="T44" fmla="*/ 2147483647 w 332"/>
                <a:gd name="T45" fmla="*/ 2147483647 h 169"/>
                <a:gd name="T46" fmla="*/ 2147483647 w 332"/>
                <a:gd name="T47" fmla="*/ 2147483647 h 169"/>
                <a:gd name="T48" fmla="*/ 2147483647 w 332"/>
                <a:gd name="T49" fmla="*/ 2147483647 h 169"/>
                <a:gd name="T50" fmla="*/ 2147483647 w 332"/>
                <a:gd name="T51" fmla="*/ 2147483647 h 169"/>
                <a:gd name="T52" fmla="*/ 2147483647 w 332"/>
                <a:gd name="T53" fmla="*/ 2147483647 h 169"/>
                <a:gd name="T54" fmla="*/ 2147483647 w 332"/>
                <a:gd name="T55" fmla="*/ 2147483647 h 169"/>
                <a:gd name="T56" fmla="*/ 2147483647 w 332"/>
                <a:gd name="T57" fmla="*/ 2147483647 h 169"/>
                <a:gd name="T58" fmla="*/ 2147483647 w 332"/>
                <a:gd name="T59" fmla="*/ 2147483647 h 169"/>
                <a:gd name="T60" fmla="*/ 2147483647 w 332"/>
                <a:gd name="T61" fmla="*/ 2147483647 h 169"/>
                <a:gd name="T62" fmla="*/ 2147483647 w 332"/>
                <a:gd name="T63" fmla="*/ 2147483647 h 169"/>
                <a:gd name="T64" fmla="*/ 2147483647 w 332"/>
                <a:gd name="T65" fmla="*/ 2147483647 h 169"/>
                <a:gd name="T66" fmla="*/ 2147483647 w 332"/>
                <a:gd name="T67" fmla="*/ 2147483647 h 169"/>
                <a:gd name="T68" fmla="*/ 2147483647 w 332"/>
                <a:gd name="T69" fmla="*/ 2147483647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2"/>
                <a:gd name="T106" fmla="*/ 0 h 169"/>
                <a:gd name="T107" fmla="*/ 332 w 332"/>
                <a:gd name="T108" fmla="*/ 169 h 16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0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1" name="Freeform 232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6014445" y="2625811"/>
              <a:ext cx="30374" cy="120197"/>
            </a:xfrm>
            <a:custGeom>
              <a:avLst/>
              <a:gdLst>
                <a:gd name="T0" fmla="*/ 2147483647 w 80"/>
                <a:gd name="T1" fmla="*/ 0 h 254"/>
                <a:gd name="T2" fmla="*/ 2147483647 w 80"/>
                <a:gd name="T3" fmla="*/ 2147483647 h 254"/>
                <a:gd name="T4" fmla="*/ 2147483647 w 80"/>
                <a:gd name="T5" fmla="*/ 2147483647 h 254"/>
                <a:gd name="T6" fmla="*/ 2147483647 w 80"/>
                <a:gd name="T7" fmla="*/ 2147483647 h 254"/>
                <a:gd name="T8" fmla="*/ 2147483647 w 80"/>
                <a:gd name="T9" fmla="*/ 2147483647 h 254"/>
                <a:gd name="T10" fmla="*/ 2147483647 w 80"/>
                <a:gd name="T11" fmla="*/ 2147483647 h 254"/>
                <a:gd name="T12" fmla="*/ 2147483647 w 80"/>
                <a:gd name="T13" fmla="*/ 2147483647 h 254"/>
                <a:gd name="T14" fmla="*/ 2147483647 w 80"/>
                <a:gd name="T15" fmla="*/ 2147483647 h 254"/>
                <a:gd name="T16" fmla="*/ 2147483647 w 80"/>
                <a:gd name="T17" fmla="*/ 2147483647 h 254"/>
                <a:gd name="T18" fmla="*/ 2147483647 w 80"/>
                <a:gd name="T19" fmla="*/ 2147483647 h 254"/>
                <a:gd name="T20" fmla="*/ 2147483647 w 80"/>
                <a:gd name="T21" fmla="*/ 2147483647 h 254"/>
                <a:gd name="T22" fmla="*/ 2147483647 w 80"/>
                <a:gd name="T23" fmla="*/ 2147483647 h 254"/>
                <a:gd name="T24" fmla="*/ 2147483647 w 80"/>
                <a:gd name="T25" fmla="*/ 2147483647 h 254"/>
                <a:gd name="T26" fmla="*/ 2147483647 w 80"/>
                <a:gd name="T27" fmla="*/ 2147483647 h 254"/>
                <a:gd name="T28" fmla="*/ 2147483647 w 80"/>
                <a:gd name="T29" fmla="*/ 2147483647 h 254"/>
                <a:gd name="T30" fmla="*/ 2147483647 w 80"/>
                <a:gd name="T31" fmla="*/ 2147483647 h 254"/>
                <a:gd name="T32" fmla="*/ 0 w 80"/>
                <a:gd name="T33" fmla="*/ 2147483647 h 254"/>
                <a:gd name="T34" fmla="*/ 2147483647 w 80"/>
                <a:gd name="T35" fmla="*/ 2147483647 h 254"/>
                <a:gd name="T36" fmla="*/ 2147483647 w 80"/>
                <a:gd name="T37" fmla="*/ 2147483647 h 254"/>
                <a:gd name="T38" fmla="*/ 2147483647 w 80"/>
                <a:gd name="T39" fmla="*/ 2147483647 h 254"/>
                <a:gd name="T40" fmla="*/ 2147483647 w 80"/>
                <a:gd name="T41" fmla="*/ 2147483647 h 254"/>
                <a:gd name="T42" fmla="*/ 2147483647 w 80"/>
                <a:gd name="T43" fmla="*/ 2147483647 h 254"/>
                <a:gd name="T44" fmla="*/ 2147483647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0"/>
                <a:gd name="T70" fmla="*/ 0 h 254"/>
                <a:gd name="T71" fmla="*/ 80 w 80"/>
                <a:gd name="T72" fmla="*/ 254 h 25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0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2" name="Freeform 236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993266" y="2879238"/>
              <a:ext cx="377518" cy="427206"/>
            </a:xfrm>
            <a:custGeom>
              <a:avLst/>
              <a:gdLst>
                <a:gd name="T0" fmla="*/ 2147483647 w 948"/>
                <a:gd name="T1" fmla="*/ 2147483647 h 893"/>
                <a:gd name="T2" fmla="*/ 2147483647 w 948"/>
                <a:gd name="T3" fmla="*/ 2147483647 h 893"/>
                <a:gd name="T4" fmla="*/ 2147483647 w 948"/>
                <a:gd name="T5" fmla="*/ 2147483647 h 893"/>
                <a:gd name="T6" fmla="*/ 2147483647 w 948"/>
                <a:gd name="T7" fmla="*/ 2147483647 h 893"/>
                <a:gd name="T8" fmla="*/ 2147483647 w 948"/>
                <a:gd name="T9" fmla="*/ 2147483647 h 893"/>
                <a:gd name="T10" fmla="*/ 2147483647 w 948"/>
                <a:gd name="T11" fmla="*/ 2147483647 h 893"/>
                <a:gd name="T12" fmla="*/ 2147483647 w 948"/>
                <a:gd name="T13" fmla="*/ 2147483647 h 893"/>
                <a:gd name="T14" fmla="*/ 2147483647 w 948"/>
                <a:gd name="T15" fmla="*/ 2147483647 h 893"/>
                <a:gd name="T16" fmla="*/ 2147483647 w 948"/>
                <a:gd name="T17" fmla="*/ 2147483647 h 893"/>
                <a:gd name="T18" fmla="*/ 2147483647 w 948"/>
                <a:gd name="T19" fmla="*/ 2147483647 h 893"/>
                <a:gd name="T20" fmla="*/ 2147483647 w 948"/>
                <a:gd name="T21" fmla="*/ 2147483647 h 893"/>
                <a:gd name="T22" fmla="*/ 2147483647 w 948"/>
                <a:gd name="T23" fmla="*/ 2147483647 h 893"/>
                <a:gd name="T24" fmla="*/ 2147483647 w 948"/>
                <a:gd name="T25" fmla="*/ 2147483647 h 893"/>
                <a:gd name="T26" fmla="*/ 2147483647 w 948"/>
                <a:gd name="T27" fmla="*/ 2147483647 h 893"/>
                <a:gd name="T28" fmla="*/ 2147483647 w 948"/>
                <a:gd name="T29" fmla="*/ 2147483647 h 893"/>
                <a:gd name="T30" fmla="*/ 2147483647 w 948"/>
                <a:gd name="T31" fmla="*/ 2147483647 h 893"/>
                <a:gd name="T32" fmla="*/ 2147483647 w 948"/>
                <a:gd name="T33" fmla="*/ 2147483647 h 893"/>
                <a:gd name="T34" fmla="*/ 2147483647 w 948"/>
                <a:gd name="T35" fmla="*/ 2147483647 h 893"/>
                <a:gd name="T36" fmla="*/ 2147483647 w 948"/>
                <a:gd name="T37" fmla="*/ 2147483647 h 893"/>
                <a:gd name="T38" fmla="*/ 2147483647 w 948"/>
                <a:gd name="T39" fmla="*/ 2147483647 h 893"/>
                <a:gd name="T40" fmla="*/ 2147483647 w 948"/>
                <a:gd name="T41" fmla="*/ 2147483647 h 893"/>
                <a:gd name="T42" fmla="*/ 2147483647 w 948"/>
                <a:gd name="T43" fmla="*/ 2147483647 h 893"/>
                <a:gd name="T44" fmla="*/ 2147483647 w 948"/>
                <a:gd name="T45" fmla="*/ 2147483647 h 893"/>
                <a:gd name="T46" fmla="*/ 2147483647 w 948"/>
                <a:gd name="T47" fmla="*/ 2147483647 h 893"/>
                <a:gd name="T48" fmla="*/ 2147483647 w 948"/>
                <a:gd name="T49" fmla="*/ 2147483647 h 893"/>
                <a:gd name="T50" fmla="*/ 2147483647 w 948"/>
                <a:gd name="T51" fmla="*/ 2147483647 h 893"/>
                <a:gd name="T52" fmla="*/ 2147483647 w 948"/>
                <a:gd name="T53" fmla="*/ 2147483647 h 893"/>
                <a:gd name="T54" fmla="*/ 2147483647 w 948"/>
                <a:gd name="T55" fmla="*/ 2147483647 h 893"/>
                <a:gd name="T56" fmla="*/ 2147483647 w 948"/>
                <a:gd name="T57" fmla="*/ 2147483647 h 893"/>
                <a:gd name="T58" fmla="*/ 2147483647 w 948"/>
                <a:gd name="T59" fmla="*/ 2147483647 h 893"/>
                <a:gd name="T60" fmla="*/ 2147483647 w 948"/>
                <a:gd name="T61" fmla="*/ 2147483647 h 893"/>
                <a:gd name="T62" fmla="*/ 2147483647 w 948"/>
                <a:gd name="T63" fmla="*/ 2147483647 h 893"/>
                <a:gd name="T64" fmla="*/ 2147483647 w 948"/>
                <a:gd name="T65" fmla="*/ 2147483647 h 893"/>
                <a:gd name="T66" fmla="*/ 2147483647 w 948"/>
                <a:gd name="T67" fmla="*/ 2147483647 h 893"/>
                <a:gd name="T68" fmla="*/ 2147483647 w 948"/>
                <a:gd name="T69" fmla="*/ 2147483647 h 893"/>
                <a:gd name="T70" fmla="*/ 2147483647 w 948"/>
                <a:gd name="T71" fmla="*/ 2147483647 h 893"/>
                <a:gd name="T72" fmla="*/ 2147483647 w 948"/>
                <a:gd name="T73" fmla="*/ 2147483647 h 893"/>
                <a:gd name="T74" fmla="*/ 2147483647 w 948"/>
                <a:gd name="T75" fmla="*/ 2147483647 h 893"/>
                <a:gd name="T76" fmla="*/ 2147483647 w 948"/>
                <a:gd name="T77" fmla="*/ 2147483647 h 893"/>
                <a:gd name="T78" fmla="*/ 2147483647 w 948"/>
                <a:gd name="T79" fmla="*/ 2147483647 h 893"/>
                <a:gd name="T80" fmla="*/ 2147483647 w 948"/>
                <a:gd name="T81" fmla="*/ 2147483647 h 893"/>
                <a:gd name="T82" fmla="*/ 2147483647 w 948"/>
                <a:gd name="T83" fmla="*/ 2147483647 h 893"/>
                <a:gd name="T84" fmla="*/ 2147483647 w 948"/>
                <a:gd name="T85" fmla="*/ 2147483647 h 893"/>
                <a:gd name="T86" fmla="*/ 2147483647 w 948"/>
                <a:gd name="T87" fmla="*/ 2147483647 h 893"/>
                <a:gd name="T88" fmla="*/ 2147483647 w 948"/>
                <a:gd name="T89" fmla="*/ 2147483647 h 893"/>
                <a:gd name="T90" fmla="*/ 2147483647 w 948"/>
                <a:gd name="T91" fmla="*/ 2147483647 h 893"/>
                <a:gd name="T92" fmla="*/ 2147483647 w 948"/>
                <a:gd name="T93" fmla="*/ 2147483647 h 893"/>
                <a:gd name="T94" fmla="*/ 2147483647 w 948"/>
                <a:gd name="T95" fmla="*/ 2147483647 h 893"/>
                <a:gd name="T96" fmla="*/ 2147483647 w 948"/>
                <a:gd name="T97" fmla="*/ 2147483647 h 893"/>
                <a:gd name="T98" fmla="*/ 2147483647 w 948"/>
                <a:gd name="T99" fmla="*/ 2147483647 h 893"/>
                <a:gd name="T100" fmla="*/ 2147483647 w 948"/>
                <a:gd name="T101" fmla="*/ 2147483647 h 893"/>
                <a:gd name="T102" fmla="*/ 2147483647 w 948"/>
                <a:gd name="T103" fmla="*/ 2147483647 h 893"/>
                <a:gd name="T104" fmla="*/ 2147483647 w 948"/>
                <a:gd name="T105" fmla="*/ 2147483647 h 893"/>
                <a:gd name="T106" fmla="*/ 2147483647 w 948"/>
                <a:gd name="T107" fmla="*/ 2147483647 h 893"/>
                <a:gd name="T108" fmla="*/ 2147483647 w 948"/>
                <a:gd name="T109" fmla="*/ 2147483647 h 893"/>
                <a:gd name="T110" fmla="*/ 2147483647 w 948"/>
                <a:gd name="T111" fmla="*/ 2147483647 h 893"/>
                <a:gd name="T112" fmla="*/ 2147483647 w 948"/>
                <a:gd name="T113" fmla="*/ 2147483647 h 893"/>
                <a:gd name="T114" fmla="*/ 2147483647 w 948"/>
                <a:gd name="T115" fmla="*/ 2147483647 h 893"/>
                <a:gd name="T116" fmla="*/ 2147483647 w 948"/>
                <a:gd name="T117" fmla="*/ 2147483647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48"/>
                <a:gd name="T178" fmla="*/ 0 h 893"/>
                <a:gd name="T179" fmla="*/ 948 w 948"/>
                <a:gd name="T180" fmla="*/ 893 h 893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pattFill prst="wdUpDiag">
              <a:fgClr>
                <a:srgbClr val="92D050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3" name="Freeform 251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949354" y="3903083"/>
              <a:ext cx="237215" cy="474995"/>
            </a:xfrm>
            <a:custGeom>
              <a:avLst/>
              <a:gdLst>
                <a:gd name="T0" fmla="*/ 0 w 599"/>
                <a:gd name="T1" fmla="*/ 2147483647 h 993"/>
                <a:gd name="T2" fmla="*/ 2147483647 w 599"/>
                <a:gd name="T3" fmla="*/ 2147483647 h 993"/>
                <a:gd name="T4" fmla="*/ 2147483647 w 599"/>
                <a:gd name="T5" fmla="*/ 2147483647 h 993"/>
                <a:gd name="T6" fmla="*/ 2147483647 w 599"/>
                <a:gd name="T7" fmla="*/ 2147483647 h 993"/>
                <a:gd name="T8" fmla="*/ 2147483647 w 599"/>
                <a:gd name="T9" fmla="*/ 2147483647 h 993"/>
                <a:gd name="T10" fmla="*/ 2147483647 w 599"/>
                <a:gd name="T11" fmla="*/ 2147483647 h 993"/>
                <a:gd name="T12" fmla="*/ 2147483647 w 599"/>
                <a:gd name="T13" fmla="*/ 2147483647 h 993"/>
                <a:gd name="T14" fmla="*/ 2147483647 w 599"/>
                <a:gd name="T15" fmla="*/ 2147483647 h 993"/>
                <a:gd name="T16" fmla="*/ 2147483647 w 599"/>
                <a:gd name="T17" fmla="*/ 2147483647 h 993"/>
                <a:gd name="T18" fmla="*/ 2147483647 w 599"/>
                <a:gd name="T19" fmla="*/ 2147483647 h 993"/>
                <a:gd name="T20" fmla="*/ 2147483647 w 599"/>
                <a:gd name="T21" fmla="*/ 2147483647 h 993"/>
                <a:gd name="T22" fmla="*/ 2147483647 w 599"/>
                <a:gd name="T23" fmla="*/ 2147483647 h 993"/>
                <a:gd name="T24" fmla="*/ 2147483647 w 599"/>
                <a:gd name="T25" fmla="*/ 2147483647 h 993"/>
                <a:gd name="T26" fmla="*/ 2147483647 w 599"/>
                <a:gd name="T27" fmla="*/ 2147483647 h 993"/>
                <a:gd name="T28" fmla="*/ 2147483647 w 599"/>
                <a:gd name="T29" fmla="*/ 2147483647 h 993"/>
                <a:gd name="T30" fmla="*/ 2147483647 w 599"/>
                <a:gd name="T31" fmla="*/ 2147483647 h 993"/>
                <a:gd name="T32" fmla="*/ 2147483647 w 599"/>
                <a:gd name="T33" fmla="*/ 2147483647 h 993"/>
                <a:gd name="T34" fmla="*/ 2147483647 w 599"/>
                <a:gd name="T35" fmla="*/ 2147483647 h 993"/>
                <a:gd name="T36" fmla="*/ 2147483647 w 599"/>
                <a:gd name="T37" fmla="*/ 2147483647 h 993"/>
                <a:gd name="T38" fmla="*/ 2147483647 w 599"/>
                <a:gd name="T39" fmla="*/ 2147483647 h 993"/>
                <a:gd name="T40" fmla="*/ 2147483647 w 599"/>
                <a:gd name="T41" fmla="*/ 2147483647 h 993"/>
                <a:gd name="T42" fmla="*/ 2147483647 w 599"/>
                <a:gd name="T43" fmla="*/ 2147483647 h 993"/>
                <a:gd name="T44" fmla="*/ 2147483647 w 599"/>
                <a:gd name="T45" fmla="*/ 2147483647 h 993"/>
                <a:gd name="T46" fmla="*/ 2147483647 w 599"/>
                <a:gd name="T47" fmla="*/ 2147483647 h 993"/>
                <a:gd name="T48" fmla="*/ 2147483647 w 599"/>
                <a:gd name="T49" fmla="*/ 2147483647 h 993"/>
                <a:gd name="T50" fmla="*/ 2147483647 w 599"/>
                <a:gd name="T51" fmla="*/ 2147483647 h 993"/>
                <a:gd name="T52" fmla="*/ 2147483647 w 599"/>
                <a:gd name="T53" fmla="*/ 2147483647 h 993"/>
                <a:gd name="T54" fmla="*/ 2147483647 w 599"/>
                <a:gd name="T55" fmla="*/ 2147483647 h 993"/>
                <a:gd name="T56" fmla="*/ 2147483647 w 599"/>
                <a:gd name="T57" fmla="*/ 2147483647 h 993"/>
                <a:gd name="T58" fmla="*/ 2147483647 w 599"/>
                <a:gd name="T59" fmla="*/ 2147483647 h 993"/>
                <a:gd name="T60" fmla="*/ 2147483647 w 599"/>
                <a:gd name="T61" fmla="*/ 2147483647 h 993"/>
                <a:gd name="T62" fmla="*/ 2147483647 w 599"/>
                <a:gd name="T63" fmla="*/ 2147483647 h 993"/>
                <a:gd name="T64" fmla="*/ 2147483647 w 599"/>
                <a:gd name="T65" fmla="*/ 2147483647 h 993"/>
                <a:gd name="T66" fmla="*/ 2147483647 w 599"/>
                <a:gd name="T67" fmla="*/ 2147483647 h 993"/>
                <a:gd name="T68" fmla="*/ 2147483647 w 599"/>
                <a:gd name="T69" fmla="*/ 2147483647 h 993"/>
                <a:gd name="T70" fmla="*/ 2147483647 w 599"/>
                <a:gd name="T71" fmla="*/ 2147483647 h 993"/>
                <a:gd name="T72" fmla="*/ 2147483647 w 599"/>
                <a:gd name="T73" fmla="*/ 2147483647 h 993"/>
                <a:gd name="T74" fmla="*/ 2147483647 w 599"/>
                <a:gd name="T75" fmla="*/ 2147483647 h 993"/>
                <a:gd name="T76" fmla="*/ 2147483647 w 599"/>
                <a:gd name="T77" fmla="*/ 2147483647 h 993"/>
                <a:gd name="T78" fmla="*/ 2147483647 w 599"/>
                <a:gd name="T79" fmla="*/ 2147483647 h 993"/>
                <a:gd name="T80" fmla="*/ 2147483647 w 599"/>
                <a:gd name="T81" fmla="*/ 2147483647 h 993"/>
                <a:gd name="T82" fmla="*/ 2147483647 w 599"/>
                <a:gd name="T83" fmla="*/ 2147483647 h 993"/>
                <a:gd name="T84" fmla="*/ 2147483647 w 599"/>
                <a:gd name="T85" fmla="*/ 2147483647 h 993"/>
                <a:gd name="T86" fmla="*/ 2147483647 w 599"/>
                <a:gd name="T87" fmla="*/ 2147483647 h 993"/>
                <a:gd name="T88" fmla="*/ 2147483647 w 599"/>
                <a:gd name="T89" fmla="*/ 2147483647 h 993"/>
                <a:gd name="T90" fmla="*/ 2147483647 w 599"/>
                <a:gd name="T91" fmla="*/ 2147483647 h 993"/>
                <a:gd name="T92" fmla="*/ 2147483647 w 599"/>
                <a:gd name="T93" fmla="*/ 2147483647 h 993"/>
                <a:gd name="T94" fmla="*/ 2147483647 w 599"/>
                <a:gd name="T95" fmla="*/ 2147483647 h 993"/>
                <a:gd name="T96" fmla="*/ 2147483647 w 599"/>
                <a:gd name="T97" fmla="*/ 2147483647 h 993"/>
                <a:gd name="T98" fmla="*/ 2147483647 w 599"/>
                <a:gd name="T99" fmla="*/ 2147483647 h 993"/>
                <a:gd name="T100" fmla="*/ 2147483647 w 599"/>
                <a:gd name="T101" fmla="*/ 2147483647 h 993"/>
                <a:gd name="T102" fmla="*/ 2147483647 w 599"/>
                <a:gd name="T103" fmla="*/ 2147483647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99"/>
                <a:gd name="T157" fmla="*/ 0 h 993"/>
                <a:gd name="T158" fmla="*/ 599 w 599"/>
                <a:gd name="T159" fmla="*/ 993 h 99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C0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4" name="Freeform 257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6228516" y="3042880"/>
              <a:ext cx="225643" cy="208535"/>
            </a:xfrm>
            <a:custGeom>
              <a:avLst/>
              <a:gdLst>
                <a:gd name="T0" fmla="*/ 2147483647 w 571"/>
                <a:gd name="T1" fmla="*/ 2147483647 h 443"/>
                <a:gd name="T2" fmla="*/ 2147483647 w 571"/>
                <a:gd name="T3" fmla="*/ 2147483647 h 443"/>
                <a:gd name="T4" fmla="*/ 2147483647 w 571"/>
                <a:gd name="T5" fmla="*/ 2147483647 h 443"/>
                <a:gd name="T6" fmla="*/ 2147483647 w 571"/>
                <a:gd name="T7" fmla="*/ 2147483647 h 443"/>
                <a:gd name="T8" fmla="*/ 2147483647 w 571"/>
                <a:gd name="T9" fmla="*/ 2147483647 h 443"/>
                <a:gd name="T10" fmla="*/ 2147483647 w 571"/>
                <a:gd name="T11" fmla="*/ 2147483647 h 443"/>
                <a:gd name="T12" fmla="*/ 2147483647 w 571"/>
                <a:gd name="T13" fmla="*/ 2147483647 h 443"/>
                <a:gd name="T14" fmla="*/ 2147483647 w 571"/>
                <a:gd name="T15" fmla="*/ 2147483647 h 443"/>
                <a:gd name="T16" fmla="*/ 2147483647 w 571"/>
                <a:gd name="T17" fmla="*/ 2147483647 h 443"/>
                <a:gd name="T18" fmla="*/ 2147483647 w 571"/>
                <a:gd name="T19" fmla="*/ 2147483647 h 443"/>
                <a:gd name="T20" fmla="*/ 2147483647 w 571"/>
                <a:gd name="T21" fmla="*/ 2147483647 h 443"/>
                <a:gd name="T22" fmla="*/ 2147483647 w 571"/>
                <a:gd name="T23" fmla="*/ 2147483647 h 443"/>
                <a:gd name="T24" fmla="*/ 2147483647 w 571"/>
                <a:gd name="T25" fmla="*/ 2147483647 h 443"/>
                <a:gd name="T26" fmla="*/ 2147483647 w 571"/>
                <a:gd name="T27" fmla="*/ 2147483647 h 443"/>
                <a:gd name="T28" fmla="*/ 2147483647 w 571"/>
                <a:gd name="T29" fmla="*/ 2147483647 h 443"/>
                <a:gd name="T30" fmla="*/ 2147483647 w 571"/>
                <a:gd name="T31" fmla="*/ 2147483647 h 443"/>
                <a:gd name="T32" fmla="*/ 2147483647 w 571"/>
                <a:gd name="T33" fmla="*/ 2147483647 h 443"/>
                <a:gd name="T34" fmla="*/ 2147483647 w 571"/>
                <a:gd name="T35" fmla="*/ 2147483647 h 443"/>
                <a:gd name="T36" fmla="*/ 2147483647 w 571"/>
                <a:gd name="T37" fmla="*/ 2147483647 h 443"/>
                <a:gd name="T38" fmla="*/ 2147483647 w 571"/>
                <a:gd name="T39" fmla="*/ 2147483647 h 443"/>
                <a:gd name="T40" fmla="*/ 2147483647 w 571"/>
                <a:gd name="T41" fmla="*/ 2147483647 h 443"/>
                <a:gd name="T42" fmla="*/ 2147483647 w 571"/>
                <a:gd name="T43" fmla="*/ 2147483647 h 443"/>
                <a:gd name="T44" fmla="*/ 2147483647 w 571"/>
                <a:gd name="T45" fmla="*/ 2147483647 h 443"/>
                <a:gd name="T46" fmla="*/ 2147483647 w 571"/>
                <a:gd name="T47" fmla="*/ 2147483647 h 443"/>
                <a:gd name="T48" fmla="*/ 2147483647 w 571"/>
                <a:gd name="T49" fmla="*/ 2147483647 h 443"/>
                <a:gd name="T50" fmla="*/ 2147483647 w 571"/>
                <a:gd name="T51" fmla="*/ 2147483647 h 443"/>
                <a:gd name="T52" fmla="*/ 2147483647 w 571"/>
                <a:gd name="T53" fmla="*/ 2147483647 h 443"/>
                <a:gd name="T54" fmla="*/ 2147483647 w 571"/>
                <a:gd name="T55" fmla="*/ 2147483647 h 443"/>
                <a:gd name="T56" fmla="*/ 2147483647 w 571"/>
                <a:gd name="T57" fmla="*/ 2147483647 h 443"/>
                <a:gd name="T58" fmla="*/ 2147483647 w 571"/>
                <a:gd name="T59" fmla="*/ 2147483647 h 443"/>
                <a:gd name="T60" fmla="*/ 2147483647 w 571"/>
                <a:gd name="T61" fmla="*/ 2147483647 h 443"/>
                <a:gd name="T62" fmla="*/ 2147483647 w 571"/>
                <a:gd name="T63" fmla="*/ 2147483647 h 443"/>
                <a:gd name="T64" fmla="*/ 2147483647 w 571"/>
                <a:gd name="T65" fmla="*/ 2147483647 h 443"/>
                <a:gd name="T66" fmla="*/ 2147483647 w 571"/>
                <a:gd name="T67" fmla="*/ 2147483647 h 443"/>
                <a:gd name="T68" fmla="*/ 2147483647 w 571"/>
                <a:gd name="T69" fmla="*/ 2147483647 h 443"/>
                <a:gd name="T70" fmla="*/ 2147483647 w 571"/>
                <a:gd name="T71" fmla="*/ 2147483647 h 443"/>
                <a:gd name="T72" fmla="*/ 2147483647 w 571"/>
                <a:gd name="T73" fmla="*/ 2147483647 h 443"/>
                <a:gd name="T74" fmla="*/ 2147483647 w 571"/>
                <a:gd name="T75" fmla="*/ 2147483647 h 443"/>
                <a:gd name="T76" fmla="*/ 2147483647 w 571"/>
                <a:gd name="T77" fmla="*/ 2147483647 h 443"/>
                <a:gd name="T78" fmla="*/ 2147483647 w 571"/>
                <a:gd name="T79" fmla="*/ 2147483647 h 443"/>
                <a:gd name="T80" fmla="*/ 2147483647 w 571"/>
                <a:gd name="T81" fmla="*/ 2147483647 h 443"/>
                <a:gd name="T82" fmla="*/ 0 w 571"/>
                <a:gd name="T83" fmla="*/ 2147483647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71"/>
                <a:gd name="T127" fmla="*/ 0 h 443"/>
                <a:gd name="T128" fmla="*/ 571 w 571"/>
                <a:gd name="T129" fmla="*/ 443 h 44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0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5" name="Freeform 265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003389" y="3360026"/>
              <a:ext cx="95465" cy="120197"/>
            </a:xfrm>
            <a:custGeom>
              <a:avLst/>
              <a:gdLst>
                <a:gd name="T0" fmla="*/ 2147483647 w 233"/>
                <a:gd name="T1" fmla="*/ 0 h 252"/>
                <a:gd name="T2" fmla="*/ 2147483647 w 233"/>
                <a:gd name="T3" fmla="*/ 2147483647 h 252"/>
                <a:gd name="T4" fmla="*/ 2147483647 w 233"/>
                <a:gd name="T5" fmla="*/ 2147483647 h 252"/>
                <a:gd name="T6" fmla="*/ 2147483647 w 233"/>
                <a:gd name="T7" fmla="*/ 2147483647 h 252"/>
                <a:gd name="T8" fmla="*/ 2147483647 w 233"/>
                <a:gd name="T9" fmla="*/ 2147483647 h 252"/>
                <a:gd name="T10" fmla="*/ 2147483647 w 233"/>
                <a:gd name="T11" fmla="*/ 2147483647 h 252"/>
                <a:gd name="T12" fmla="*/ 2147483647 w 233"/>
                <a:gd name="T13" fmla="*/ 0 h 252"/>
                <a:gd name="T14" fmla="*/ 2147483647 w 233"/>
                <a:gd name="T15" fmla="*/ 2147483647 h 252"/>
                <a:gd name="T16" fmla="*/ 2147483647 w 233"/>
                <a:gd name="T17" fmla="*/ 2147483647 h 252"/>
                <a:gd name="T18" fmla="*/ 2147483647 w 233"/>
                <a:gd name="T19" fmla="*/ 2147483647 h 252"/>
                <a:gd name="T20" fmla="*/ 2147483647 w 233"/>
                <a:gd name="T21" fmla="*/ 2147483647 h 252"/>
                <a:gd name="T22" fmla="*/ 2147483647 w 233"/>
                <a:gd name="T23" fmla="*/ 2147483647 h 252"/>
                <a:gd name="T24" fmla="*/ 2147483647 w 233"/>
                <a:gd name="T25" fmla="*/ 2147483647 h 252"/>
                <a:gd name="T26" fmla="*/ 2147483647 w 233"/>
                <a:gd name="T27" fmla="*/ 2147483647 h 252"/>
                <a:gd name="T28" fmla="*/ 2147483647 w 233"/>
                <a:gd name="T29" fmla="*/ 2147483647 h 252"/>
                <a:gd name="T30" fmla="*/ 2147483647 w 233"/>
                <a:gd name="T31" fmla="*/ 2147483647 h 252"/>
                <a:gd name="T32" fmla="*/ 2147483647 w 233"/>
                <a:gd name="T33" fmla="*/ 2147483647 h 252"/>
                <a:gd name="T34" fmla="*/ 2147483647 w 233"/>
                <a:gd name="T35" fmla="*/ 2147483647 h 252"/>
                <a:gd name="T36" fmla="*/ 2147483647 w 233"/>
                <a:gd name="T37" fmla="*/ 2147483647 h 252"/>
                <a:gd name="T38" fmla="*/ 2147483647 w 233"/>
                <a:gd name="T39" fmla="*/ 2147483647 h 252"/>
                <a:gd name="T40" fmla="*/ 2147483647 w 233"/>
                <a:gd name="T41" fmla="*/ 2147483647 h 252"/>
                <a:gd name="T42" fmla="*/ 2147483647 w 233"/>
                <a:gd name="T43" fmla="*/ 2147483647 h 252"/>
                <a:gd name="T44" fmla="*/ 2147483647 w 233"/>
                <a:gd name="T45" fmla="*/ 2147483647 h 252"/>
                <a:gd name="T46" fmla="*/ 2147483647 w 233"/>
                <a:gd name="T47" fmla="*/ 2147483647 h 252"/>
                <a:gd name="T48" fmla="*/ 2147483647 w 233"/>
                <a:gd name="T49" fmla="*/ 2147483647 h 252"/>
                <a:gd name="T50" fmla="*/ 2147483647 w 233"/>
                <a:gd name="T51" fmla="*/ 2147483647 h 252"/>
                <a:gd name="T52" fmla="*/ 2147483647 w 233"/>
                <a:gd name="T53" fmla="*/ 2147483647 h 252"/>
                <a:gd name="T54" fmla="*/ 2147483647 w 233"/>
                <a:gd name="T55" fmla="*/ 2147483647 h 252"/>
                <a:gd name="T56" fmla="*/ 2147483647 w 233"/>
                <a:gd name="T57" fmla="*/ 2147483647 h 252"/>
                <a:gd name="T58" fmla="*/ 2147483647 w 233"/>
                <a:gd name="T59" fmla="*/ 2147483647 h 252"/>
                <a:gd name="T60" fmla="*/ 2147483647 w 233"/>
                <a:gd name="T61" fmla="*/ 2147483647 h 252"/>
                <a:gd name="T62" fmla="*/ 2147483647 w 233"/>
                <a:gd name="T63" fmla="*/ 2147483647 h 252"/>
                <a:gd name="T64" fmla="*/ 2147483647 w 233"/>
                <a:gd name="T65" fmla="*/ 2147483647 h 252"/>
                <a:gd name="T66" fmla="*/ 2147483647 w 233"/>
                <a:gd name="T67" fmla="*/ 2147483647 h 252"/>
                <a:gd name="T68" fmla="*/ 2147483647 w 233"/>
                <a:gd name="T69" fmla="*/ 2147483647 h 252"/>
                <a:gd name="T70" fmla="*/ 2147483647 w 233"/>
                <a:gd name="T71" fmla="*/ 2147483647 h 252"/>
                <a:gd name="T72" fmla="*/ 2147483647 w 233"/>
                <a:gd name="T73" fmla="*/ 2147483647 h 252"/>
                <a:gd name="T74" fmla="*/ 2147483647 w 233"/>
                <a:gd name="T75" fmla="*/ 2147483647 h 252"/>
                <a:gd name="T76" fmla="*/ 2147483647 w 233"/>
                <a:gd name="T77" fmla="*/ 2147483647 h 252"/>
                <a:gd name="T78" fmla="*/ 2147483647 w 233"/>
                <a:gd name="T79" fmla="*/ 2147483647 h 252"/>
                <a:gd name="T80" fmla="*/ 2147483647 w 233"/>
                <a:gd name="T81" fmla="*/ 2147483647 h 252"/>
                <a:gd name="T82" fmla="*/ 2147483647 w 233"/>
                <a:gd name="T83" fmla="*/ 2147483647 h 252"/>
                <a:gd name="T84" fmla="*/ 2147483647 w 233"/>
                <a:gd name="T85" fmla="*/ 2147483647 h 252"/>
                <a:gd name="T86" fmla="*/ 2147483647 w 233"/>
                <a:gd name="T87" fmla="*/ 2147483647 h 252"/>
                <a:gd name="T88" fmla="*/ 2147483647 w 233"/>
                <a:gd name="T89" fmla="*/ 2147483647 h 252"/>
                <a:gd name="T90" fmla="*/ 2147483647 w 233"/>
                <a:gd name="T91" fmla="*/ 2147483647 h 252"/>
                <a:gd name="T92" fmla="*/ 2147483647 w 233"/>
                <a:gd name="T93" fmla="*/ 2147483647 h 252"/>
                <a:gd name="T94" fmla="*/ 0 w 233"/>
                <a:gd name="T95" fmla="*/ 2147483647 h 252"/>
                <a:gd name="T96" fmla="*/ 2147483647 w 233"/>
                <a:gd name="T97" fmla="*/ 2147483647 h 252"/>
                <a:gd name="T98" fmla="*/ 2147483647 w 233"/>
                <a:gd name="T99" fmla="*/ 2147483647 h 252"/>
                <a:gd name="T100" fmla="*/ 2147483647 w 233"/>
                <a:gd name="T101" fmla="*/ 2147483647 h 252"/>
                <a:gd name="T102" fmla="*/ 2147483647 w 233"/>
                <a:gd name="T103" fmla="*/ 2147483647 h 252"/>
                <a:gd name="T104" fmla="*/ 2147483647 w 233"/>
                <a:gd name="T105" fmla="*/ 2147483647 h 252"/>
                <a:gd name="T106" fmla="*/ 2147483647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33"/>
                <a:gd name="T163" fmla="*/ 0 h 252"/>
                <a:gd name="T164" fmla="*/ 233 w 233"/>
                <a:gd name="T165" fmla="*/ 252 h 25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pattFill prst="wdUpDiag">
              <a:fgClr>
                <a:srgbClr val="CC0000"/>
              </a:fgClr>
              <a:bgClr>
                <a:srgbClr val="AAC25E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6" name="Freeform 266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5198658" y="3286170"/>
              <a:ext cx="95465" cy="183915"/>
            </a:xfrm>
            <a:custGeom>
              <a:avLst/>
              <a:gdLst>
                <a:gd name="T0" fmla="*/ 2147483647 w 246"/>
                <a:gd name="T1" fmla="*/ 2147483647 h 380"/>
                <a:gd name="T2" fmla="*/ 2147483647 w 246"/>
                <a:gd name="T3" fmla="*/ 2147483647 h 380"/>
                <a:gd name="T4" fmla="*/ 2147483647 w 246"/>
                <a:gd name="T5" fmla="*/ 2147483647 h 380"/>
                <a:gd name="T6" fmla="*/ 2147483647 w 246"/>
                <a:gd name="T7" fmla="*/ 2147483647 h 380"/>
                <a:gd name="T8" fmla="*/ 2147483647 w 246"/>
                <a:gd name="T9" fmla="*/ 2147483647 h 380"/>
                <a:gd name="T10" fmla="*/ 2147483647 w 246"/>
                <a:gd name="T11" fmla="*/ 2147483647 h 380"/>
                <a:gd name="T12" fmla="*/ 2147483647 w 246"/>
                <a:gd name="T13" fmla="*/ 2147483647 h 380"/>
                <a:gd name="T14" fmla="*/ 2147483647 w 246"/>
                <a:gd name="T15" fmla="*/ 2147483647 h 380"/>
                <a:gd name="T16" fmla="*/ 2147483647 w 246"/>
                <a:gd name="T17" fmla="*/ 2147483647 h 380"/>
                <a:gd name="T18" fmla="*/ 2147483647 w 246"/>
                <a:gd name="T19" fmla="*/ 2147483647 h 380"/>
                <a:gd name="T20" fmla="*/ 2147483647 w 246"/>
                <a:gd name="T21" fmla="*/ 2147483647 h 380"/>
                <a:gd name="T22" fmla="*/ 2147483647 w 246"/>
                <a:gd name="T23" fmla="*/ 2147483647 h 380"/>
                <a:gd name="T24" fmla="*/ 2147483647 w 246"/>
                <a:gd name="T25" fmla="*/ 2147483647 h 380"/>
                <a:gd name="T26" fmla="*/ 2147483647 w 246"/>
                <a:gd name="T27" fmla="*/ 2147483647 h 380"/>
                <a:gd name="T28" fmla="*/ 0 w 246"/>
                <a:gd name="T29" fmla="*/ 2147483647 h 380"/>
                <a:gd name="T30" fmla="*/ 2147483647 w 246"/>
                <a:gd name="T31" fmla="*/ 2147483647 h 380"/>
                <a:gd name="T32" fmla="*/ 2147483647 w 246"/>
                <a:gd name="T33" fmla="*/ 2147483647 h 380"/>
                <a:gd name="T34" fmla="*/ 2147483647 w 246"/>
                <a:gd name="T35" fmla="*/ 2147483647 h 380"/>
                <a:gd name="T36" fmla="*/ 2147483647 w 246"/>
                <a:gd name="T37" fmla="*/ 2147483647 h 380"/>
                <a:gd name="T38" fmla="*/ 2147483647 w 246"/>
                <a:gd name="T39" fmla="*/ 2147483647 h 380"/>
                <a:gd name="T40" fmla="*/ 2147483647 w 246"/>
                <a:gd name="T41" fmla="*/ 2147483647 h 380"/>
                <a:gd name="T42" fmla="*/ 2147483647 w 246"/>
                <a:gd name="T43" fmla="*/ 2147483647 h 380"/>
                <a:gd name="T44" fmla="*/ 2147483647 w 246"/>
                <a:gd name="T45" fmla="*/ 2147483647 h 380"/>
                <a:gd name="T46" fmla="*/ 2147483647 w 246"/>
                <a:gd name="T47" fmla="*/ 2147483647 h 380"/>
                <a:gd name="T48" fmla="*/ 2147483647 w 246"/>
                <a:gd name="T49" fmla="*/ 2147483647 h 380"/>
                <a:gd name="T50" fmla="*/ 2147483647 w 246"/>
                <a:gd name="T51" fmla="*/ 2147483647 h 380"/>
                <a:gd name="T52" fmla="*/ 2147483647 w 246"/>
                <a:gd name="T53" fmla="*/ 2147483647 h 380"/>
                <a:gd name="T54" fmla="*/ 2147483647 w 246"/>
                <a:gd name="T55" fmla="*/ 2147483647 h 380"/>
                <a:gd name="T56" fmla="*/ 2147483647 w 246"/>
                <a:gd name="T57" fmla="*/ 2147483647 h 380"/>
                <a:gd name="T58" fmla="*/ 2147483647 w 246"/>
                <a:gd name="T59" fmla="*/ 2147483647 h 380"/>
                <a:gd name="T60" fmla="*/ 2147483647 w 246"/>
                <a:gd name="T61" fmla="*/ 2147483647 h 380"/>
                <a:gd name="T62" fmla="*/ 2147483647 w 246"/>
                <a:gd name="T63" fmla="*/ 0 h 380"/>
                <a:gd name="T64" fmla="*/ 2147483647 w 246"/>
                <a:gd name="T65" fmla="*/ 0 h 380"/>
                <a:gd name="T66" fmla="*/ 2147483647 w 246"/>
                <a:gd name="T67" fmla="*/ 2147483647 h 380"/>
                <a:gd name="T68" fmla="*/ 2147483647 w 246"/>
                <a:gd name="T69" fmla="*/ 2147483647 h 380"/>
                <a:gd name="T70" fmla="*/ 2147483647 w 246"/>
                <a:gd name="T71" fmla="*/ 2147483647 h 380"/>
                <a:gd name="T72" fmla="*/ 2147483647 w 246"/>
                <a:gd name="T73" fmla="*/ 2147483647 h 380"/>
                <a:gd name="T74" fmla="*/ 2147483647 w 246"/>
                <a:gd name="T75" fmla="*/ 2147483647 h 380"/>
                <a:gd name="T76" fmla="*/ 2147483647 w 246"/>
                <a:gd name="T77" fmla="*/ 2147483647 h 380"/>
                <a:gd name="T78" fmla="*/ 2147483647 w 246"/>
                <a:gd name="T79" fmla="*/ 2147483647 h 380"/>
                <a:gd name="T80" fmla="*/ 2147483647 w 246"/>
                <a:gd name="T81" fmla="*/ 2147483647 h 380"/>
                <a:gd name="T82" fmla="*/ 2147483647 w 246"/>
                <a:gd name="T83" fmla="*/ 2147483647 h 380"/>
                <a:gd name="T84" fmla="*/ 2147483647 w 246"/>
                <a:gd name="T85" fmla="*/ 2147483647 h 380"/>
                <a:gd name="T86" fmla="*/ 2147483647 w 246"/>
                <a:gd name="T87" fmla="*/ 2147483647 h 380"/>
                <a:gd name="T88" fmla="*/ 2147483647 w 246"/>
                <a:gd name="T89" fmla="*/ 2147483647 h 380"/>
                <a:gd name="T90" fmla="*/ 2147483647 w 246"/>
                <a:gd name="T91" fmla="*/ 2147483647 h 380"/>
                <a:gd name="T92" fmla="*/ 2147483647 w 246"/>
                <a:gd name="T93" fmla="*/ 2147483647 h 380"/>
                <a:gd name="T94" fmla="*/ 2147483647 w 246"/>
                <a:gd name="T95" fmla="*/ 2147483647 h 380"/>
                <a:gd name="T96" fmla="*/ 2147483647 w 246"/>
                <a:gd name="T97" fmla="*/ 2147483647 h 380"/>
                <a:gd name="T98" fmla="*/ 2147483647 w 246"/>
                <a:gd name="T99" fmla="*/ 2147483647 h 380"/>
                <a:gd name="T100" fmla="*/ 2147483647 w 246"/>
                <a:gd name="T101" fmla="*/ 2147483647 h 380"/>
                <a:gd name="T102" fmla="*/ 2147483647 w 246"/>
                <a:gd name="T103" fmla="*/ 2147483647 h 380"/>
                <a:gd name="T104" fmla="*/ 2147483647 w 246"/>
                <a:gd name="T105" fmla="*/ 2147483647 h 380"/>
                <a:gd name="T106" fmla="*/ 2147483647 w 246"/>
                <a:gd name="T107" fmla="*/ 2147483647 h 380"/>
                <a:gd name="T108" fmla="*/ 2147483647 w 246"/>
                <a:gd name="T109" fmla="*/ 2147483647 h 380"/>
                <a:gd name="T110" fmla="*/ 2147483647 w 246"/>
                <a:gd name="T111" fmla="*/ 2147483647 h 380"/>
                <a:gd name="T112" fmla="*/ 2147483647 w 246"/>
                <a:gd name="T113" fmla="*/ 2147483647 h 380"/>
                <a:gd name="T114" fmla="*/ 2147483647 w 246"/>
                <a:gd name="T115" fmla="*/ 2147483647 h 380"/>
                <a:gd name="T116" fmla="*/ 2147483647 w 246"/>
                <a:gd name="T117" fmla="*/ 2147483647 h 380"/>
                <a:gd name="T118" fmla="*/ 2147483647 w 246"/>
                <a:gd name="T119" fmla="*/ 2147483647 h 380"/>
                <a:gd name="T120" fmla="*/ 2147483647 w 246"/>
                <a:gd name="T121" fmla="*/ 2147483647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46"/>
                <a:gd name="T184" fmla="*/ 0 h 380"/>
                <a:gd name="T185" fmla="*/ 246 w 246"/>
                <a:gd name="T186" fmla="*/ 380 h 38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0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7" name="Freeform 273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7035622" y="2725734"/>
              <a:ext cx="188036" cy="112956"/>
            </a:xfrm>
            <a:custGeom>
              <a:avLst/>
              <a:gdLst>
                <a:gd name="T0" fmla="*/ 2147483647 w 471"/>
                <a:gd name="T1" fmla="*/ 0 h 237"/>
                <a:gd name="T2" fmla="*/ 2147483647 w 471"/>
                <a:gd name="T3" fmla="*/ 2147483647 h 237"/>
                <a:gd name="T4" fmla="*/ 2147483647 w 471"/>
                <a:gd name="T5" fmla="*/ 2147483647 h 237"/>
                <a:gd name="T6" fmla="*/ 2147483647 w 471"/>
                <a:gd name="T7" fmla="*/ 2147483647 h 237"/>
                <a:gd name="T8" fmla="*/ 2147483647 w 471"/>
                <a:gd name="T9" fmla="*/ 2147483647 h 237"/>
                <a:gd name="T10" fmla="*/ 2147483647 w 471"/>
                <a:gd name="T11" fmla="*/ 2147483647 h 237"/>
                <a:gd name="T12" fmla="*/ 2147483647 w 471"/>
                <a:gd name="T13" fmla="*/ 2147483647 h 237"/>
                <a:gd name="T14" fmla="*/ 2147483647 w 471"/>
                <a:gd name="T15" fmla="*/ 2147483647 h 237"/>
                <a:gd name="T16" fmla="*/ 2147483647 w 471"/>
                <a:gd name="T17" fmla="*/ 2147483647 h 237"/>
                <a:gd name="T18" fmla="*/ 2147483647 w 471"/>
                <a:gd name="T19" fmla="*/ 2147483647 h 237"/>
                <a:gd name="T20" fmla="*/ 2147483647 w 471"/>
                <a:gd name="T21" fmla="*/ 2147483647 h 237"/>
                <a:gd name="T22" fmla="*/ 2147483647 w 471"/>
                <a:gd name="T23" fmla="*/ 2147483647 h 237"/>
                <a:gd name="T24" fmla="*/ 2147483647 w 471"/>
                <a:gd name="T25" fmla="*/ 2147483647 h 237"/>
                <a:gd name="T26" fmla="*/ 2147483647 w 471"/>
                <a:gd name="T27" fmla="*/ 2147483647 h 237"/>
                <a:gd name="T28" fmla="*/ 2147483647 w 471"/>
                <a:gd name="T29" fmla="*/ 2147483647 h 237"/>
                <a:gd name="T30" fmla="*/ 2147483647 w 471"/>
                <a:gd name="T31" fmla="*/ 2147483647 h 237"/>
                <a:gd name="T32" fmla="*/ 2147483647 w 471"/>
                <a:gd name="T33" fmla="*/ 2147483647 h 237"/>
                <a:gd name="T34" fmla="*/ 2147483647 w 471"/>
                <a:gd name="T35" fmla="*/ 2147483647 h 237"/>
                <a:gd name="T36" fmla="*/ 2147483647 w 471"/>
                <a:gd name="T37" fmla="*/ 2147483647 h 237"/>
                <a:gd name="T38" fmla="*/ 2147483647 w 471"/>
                <a:gd name="T39" fmla="*/ 2147483647 h 237"/>
                <a:gd name="T40" fmla="*/ 2147483647 w 471"/>
                <a:gd name="T41" fmla="*/ 2147483647 h 237"/>
                <a:gd name="T42" fmla="*/ 2147483647 w 471"/>
                <a:gd name="T43" fmla="*/ 2147483647 h 237"/>
                <a:gd name="T44" fmla="*/ 2147483647 w 471"/>
                <a:gd name="T45" fmla="*/ 2147483647 h 237"/>
                <a:gd name="T46" fmla="*/ 2147483647 w 471"/>
                <a:gd name="T47" fmla="*/ 2147483647 h 237"/>
                <a:gd name="T48" fmla="*/ 2147483647 w 471"/>
                <a:gd name="T49" fmla="*/ 2147483647 h 237"/>
                <a:gd name="T50" fmla="*/ 2147483647 w 471"/>
                <a:gd name="T51" fmla="*/ 2147483647 h 237"/>
                <a:gd name="T52" fmla="*/ 2147483647 w 471"/>
                <a:gd name="T53" fmla="*/ 2147483647 h 237"/>
                <a:gd name="T54" fmla="*/ 2147483647 w 471"/>
                <a:gd name="T55" fmla="*/ 2147483647 h 237"/>
                <a:gd name="T56" fmla="*/ 2147483647 w 471"/>
                <a:gd name="T57" fmla="*/ 2147483647 h 237"/>
                <a:gd name="T58" fmla="*/ 2147483647 w 471"/>
                <a:gd name="T59" fmla="*/ 2147483647 h 237"/>
                <a:gd name="T60" fmla="*/ 2147483647 w 471"/>
                <a:gd name="T61" fmla="*/ 2147483647 h 237"/>
                <a:gd name="T62" fmla="*/ 2147483647 w 471"/>
                <a:gd name="T63" fmla="*/ 2147483647 h 237"/>
                <a:gd name="T64" fmla="*/ 2147483647 w 471"/>
                <a:gd name="T65" fmla="*/ 2147483647 h 237"/>
                <a:gd name="T66" fmla="*/ 2147483647 w 471"/>
                <a:gd name="T67" fmla="*/ 2147483647 h 237"/>
                <a:gd name="T68" fmla="*/ 2147483647 w 471"/>
                <a:gd name="T69" fmla="*/ 2147483647 h 237"/>
                <a:gd name="T70" fmla="*/ 2147483647 w 471"/>
                <a:gd name="T71" fmla="*/ 2147483647 h 237"/>
                <a:gd name="T72" fmla="*/ 2147483647 w 471"/>
                <a:gd name="T73" fmla="*/ 2147483647 h 237"/>
                <a:gd name="T74" fmla="*/ 214748364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71"/>
                <a:gd name="T115" fmla="*/ 0 h 237"/>
                <a:gd name="T116" fmla="*/ 471 w 471"/>
                <a:gd name="T117" fmla="*/ 237 h 23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pattFill prst="wdDnDiag">
              <a:fgClr>
                <a:srgbClr val="AAC25E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8" name="Freeform 275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7223658" y="2841586"/>
              <a:ext cx="121500" cy="152057"/>
            </a:xfrm>
            <a:custGeom>
              <a:avLst/>
              <a:gdLst>
                <a:gd name="T0" fmla="*/ 2147483647 w 306"/>
                <a:gd name="T1" fmla="*/ 2147483647 h 321"/>
                <a:gd name="T2" fmla="*/ 2147483647 w 306"/>
                <a:gd name="T3" fmla="*/ 2147483647 h 321"/>
                <a:gd name="T4" fmla="*/ 2147483647 w 306"/>
                <a:gd name="T5" fmla="*/ 2147483647 h 321"/>
                <a:gd name="T6" fmla="*/ 2147483647 w 306"/>
                <a:gd name="T7" fmla="*/ 2147483647 h 321"/>
                <a:gd name="T8" fmla="*/ 2147483647 w 306"/>
                <a:gd name="T9" fmla="*/ 2147483647 h 321"/>
                <a:gd name="T10" fmla="*/ 2147483647 w 306"/>
                <a:gd name="T11" fmla="*/ 2147483647 h 321"/>
                <a:gd name="T12" fmla="*/ 2147483647 w 306"/>
                <a:gd name="T13" fmla="*/ 2147483647 h 321"/>
                <a:gd name="T14" fmla="*/ 2147483647 w 306"/>
                <a:gd name="T15" fmla="*/ 2147483647 h 321"/>
                <a:gd name="T16" fmla="*/ 2147483647 w 306"/>
                <a:gd name="T17" fmla="*/ 2147483647 h 321"/>
                <a:gd name="T18" fmla="*/ 2147483647 w 306"/>
                <a:gd name="T19" fmla="*/ 2147483647 h 321"/>
                <a:gd name="T20" fmla="*/ 2147483647 w 306"/>
                <a:gd name="T21" fmla="*/ 2147483647 h 321"/>
                <a:gd name="T22" fmla="*/ 2147483647 w 306"/>
                <a:gd name="T23" fmla="*/ 2147483647 h 321"/>
                <a:gd name="T24" fmla="*/ 2147483647 w 306"/>
                <a:gd name="T25" fmla="*/ 2147483647 h 321"/>
                <a:gd name="T26" fmla="*/ 2147483647 w 306"/>
                <a:gd name="T27" fmla="*/ 2147483647 h 321"/>
                <a:gd name="T28" fmla="*/ 2147483647 w 306"/>
                <a:gd name="T29" fmla="*/ 2147483647 h 321"/>
                <a:gd name="T30" fmla="*/ 2147483647 w 306"/>
                <a:gd name="T31" fmla="*/ 2147483647 h 321"/>
                <a:gd name="T32" fmla="*/ 2147483647 w 306"/>
                <a:gd name="T33" fmla="*/ 2147483647 h 321"/>
                <a:gd name="T34" fmla="*/ 2147483647 w 306"/>
                <a:gd name="T35" fmla="*/ 2147483647 h 321"/>
                <a:gd name="T36" fmla="*/ 2147483647 w 306"/>
                <a:gd name="T37" fmla="*/ 2147483647 h 321"/>
                <a:gd name="T38" fmla="*/ 2147483647 w 306"/>
                <a:gd name="T39" fmla="*/ 2147483647 h 321"/>
                <a:gd name="T40" fmla="*/ 2147483647 w 306"/>
                <a:gd name="T41" fmla="*/ 2147483647 h 321"/>
                <a:gd name="T42" fmla="*/ 2147483647 w 306"/>
                <a:gd name="T43" fmla="*/ 2147483647 h 321"/>
                <a:gd name="T44" fmla="*/ 2147483647 w 306"/>
                <a:gd name="T45" fmla="*/ 0 h 321"/>
                <a:gd name="T46" fmla="*/ 2147483647 w 306"/>
                <a:gd name="T47" fmla="*/ 0 h 321"/>
                <a:gd name="T48" fmla="*/ 2147483647 w 306"/>
                <a:gd name="T49" fmla="*/ 2147483647 h 321"/>
                <a:gd name="T50" fmla="*/ 2147483647 w 306"/>
                <a:gd name="T51" fmla="*/ 2147483647 h 321"/>
                <a:gd name="T52" fmla="*/ 2147483647 w 306"/>
                <a:gd name="T53" fmla="*/ 2147483647 h 321"/>
                <a:gd name="T54" fmla="*/ 2147483647 w 306"/>
                <a:gd name="T55" fmla="*/ 2147483647 h 321"/>
                <a:gd name="T56" fmla="*/ 2147483647 w 306"/>
                <a:gd name="T57" fmla="*/ 2147483647 h 321"/>
                <a:gd name="T58" fmla="*/ 2147483647 w 306"/>
                <a:gd name="T59" fmla="*/ 2147483647 h 321"/>
                <a:gd name="T60" fmla="*/ 2147483647 w 306"/>
                <a:gd name="T61" fmla="*/ 2147483647 h 321"/>
                <a:gd name="T62" fmla="*/ 2147483647 w 306"/>
                <a:gd name="T63" fmla="*/ 2147483647 h 321"/>
                <a:gd name="T64" fmla="*/ 2147483647 w 306"/>
                <a:gd name="T65" fmla="*/ 2147483647 h 321"/>
                <a:gd name="T66" fmla="*/ 2147483647 w 306"/>
                <a:gd name="T67" fmla="*/ 2147483647 h 321"/>
                <a:gd name="T68" fmla="*/ 2147483647 w 306"/>
                <a:gd name="T69" fmla="*/ 2147483647 h 321"/>
                <a:gd name="T70" fmla="*/ 2147483647 w 306"/>
                <a:gd name="T71" fmla="*/ 2147483647 h 321"/>
                <a:gd name="T72" fmla="*/ 2147483647 w 306"/>
                <a:gd name="T73" fmla="*/ 2147483647 h 321"/>
                <a:gd name="T74" fmla="*/ 2147483647 w 306"/>
                <a:gd name="T75" fmla="*/ 2147483647 h 321"/>
                <a:gd name="T76" fmla="*/ 2147483647 w 306"/>
                <a:gd name="T77" fmla="*/ 2147483647 h 321"/>
                <a:gd name="T78" fmla="*/ 2147483647 w 306"/>
                <a:gd name="T79" fmla="*/ 2147483647 h 321"/>
                <a:gd name="T80" fmla="*/ 2147483647 w 306"/>
                <a:gd name="T81" fmla="*/ 2147483647 h 321"/>
                <a:gd name="T82" fmla="*/ 2147483647 w 306"/>
                <a:gd name="T83" fmla="*/ 2147483647 h 321"/>
                <a:gd name="T84" fmla="*/ 2147483647 w 306"/>
                <a:gd name="T85" fmla="*/ 2147483647 h 321"/>
                <a:gd name="T86" fmla="*/ 2147483647 w 306"/>
                <a:gd name="T87" fmla="*/ 2147483647 h 321"/>
                <a:gd name="T88" fmla="*/ 2147483647 w 306"/>
                <a:gd name="T89" fmla="*/ 2147483647 h 321"/>
                <a:gd name="T90" fmla="*/ 2147483647 w 306"/>
                <a:gd name="T91" fmla="*/ 2147483647 h 321"/>
                <a:gd name="T92" fmla="*/ 2147483647 w 306"/>
                <a:gd name="T93" fmla="*/ 2147483647 h 321"/>
                <a:gd name="T94" fmla="*/ 2147483647 w 306"/>
                <a:gd name="T95" fmla="*/ 2147483647 h 321"/>
                <a:gd name="T96" fmla="*/ 2147483647 w 306"/>
                <a:gd name="T97" fmla="*/ 2147483647 h 321"/>
                <a:gd name="T98" fmla="*/ 2147483647 w 306"/>
                <a:gd name="T99" fmla="*/ 2147483647 h 321"/>
                <a:gd name="T100" fmla="*/ 2147483647 w 306"/>
                <a:gd name="T101" fmla="*/ 2147483647 h 321"/>
                <a:gd name="T102" fmla="*/ 2147483647 w 306"/>
                <a:gd name="T103" fmla="*/ 2147483647 h 321"/>
                <a:gd name="T104" fmla="*/ 2147483647 w 306"/>
                <a:gd name="T105" fmla="*/ 2147483647 h 321"/>
                <a:gd name="T106" fmla="*/ 2147483647 w 306"/>
                <a:gd name="T107" fmla="*/ 2147483647 h 321"/>
                <a:gd name="T108" fmla="*/ 2147483647 w 306"/>
                <a:gd name="T109" fmla="*/ 2147483647 h 321"/>
                <a:gd name="T110" fmla="*/ 2147483647 w 306"/>
                <a:gd name="T111" fmla="*/ 2147483647 h 321"/>
                <a:gd name="T112" fmla="*/ 2147483647 w 306"/>
                <a:gd name="T113" fmla="*/ 2147483647 h 321"/>
                <a:gd name="T114" fmla="*/ 2147483647 w 306"/>
                <a:gd name="T115" fmla="*/ 2147483647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6"/>
                <a:gd name="T175" fmla="*/ 0 h 321"/>
                <a:gd name="T176" fmla="*/ 306 w 306"/>
                <a:gd name="T177" fmla="*/ 321 h 32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0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9" name="Freeform 281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7076124" y="3313685"/>
              <a:ext cx="57857" cy="108612"/>
            </a:xfrm>
            <a:custGeom>
              <a:avLst/>
              <a:gdLst>
                <a:gd name="T0" fmla="*/ 2147483647 w 141"/>
                <a:gd name="T1" fmla="*/ 2147483647 h 228"/>
                <a:gd name="T2" fmla="*/ 2147483647 w 141"/>
                <a:gd name="T3" fmla="*/ 2147483647 h 228"/>
                <a:gd name="T4" fmla="*/ 2147483647 w 141"/>
                <a:gd name="T5" fmla="*/ 2147483647 h 228"/>
                <a:gd name="T6" fmla="*/ 2147483647 w 141"/>
                <a:gd name="T7" fmla="*/ 2147483647 h 228"/>
                <a:gd name="T8" fmla="*/ 2147483647 w 141"/>
                <a:gd name="T9" fmla="*/ 2147483647 h 228"/>
                <a:gd name="T10" fmla="*/ 2147483647 w 141"/>
                <a:gd name="T11" fmla="*/ 2147483647 h 228"/>
                <a:gd name="T12" fmla="*/ 2147483647 w 141"/>
                <a:gd name="T13" fmla="*/ 2147483647 h 228"/>
                <a:gd name="T14" fmla="*/ 2147483647 w 141"/>
                <a:gd name="T15" fmla="*/ 2147483647 h 228"/>
                <a:gd name="T16" fmla="*/ 0 w 141"/>
                <a:gd name="T17" fmla="*/ 2147483647 h 228"/>
                <a:gd name="T18" fmla="*/ 2147483647 w 141"/>
                <a:gd name="T19" fmla="*/ 2147483647 h 228"/>
                <a:gd name="T20" fmla="*/ 2147483647 w 141"/>
                <a:gd name="T21" fmla="*/ 2147483647 h 228"/>
                <a:gd name="T22" fmla="*/ 2147483647 w 141"/>
                <a:gd name="T23" fmla="*/ 2147483647 h 228"/>
                <a:gd name="T24" fmla="*/ 2147483647 w 141"/>
                <a:gd name="T25" fmla="*/ 2147483647 h 228"/>
                <a:gd name="T26" fmla="*/ 2147483647 w 141"/>
                <a:gd name="T27" fmla="*/ 2147483647 h 228"/>
                <a:gd name="T28" fmla="*/ 2147483647 w 141"/>
                <a:gd name="T29" fmla="*/ 0 h 228"/>
                <a:gd name="T30" fmla="*/ 2147483647 w 141"/>
                <a:gd name="T31" fmla="*/ 2147483647 h 228"/>
                <a:gd name="T32" fmla="*/ 2147483647 w 141"/>
                <a:gd name="T33" fmla="*/ 2147483647 h 228"/>
                <a:gd name="T34" fmla="*/ 2147483647 w 141"/>
                <a:gd name="T35" fmla="*/ 2147483647 h 228"/>
                <a:gd name="T36" fmla="*/ 2147483647 w 141"/>
                <a:gd name="T37" fmla="*/ 2147483647 h 228"/>
                <a:gd name="T38" fmla="*/ 2147483647 w 141"/>
                <a:gd name="T39" fmla="*/ 2147483647 h 228"/>
                <a:gd name="T40" fmla="*/ 2147483647 w 141"/>
                <a:gd name="T41" fmla="*/ 2147483647 h 228"/>
                <a:gd name="T42" fmla="*/ 2147483647 w 141"/>
                <a:gd name="T43" fmla="*/ 2147483647 h 228"/>
                <a:gd name="T44" fmla="*/ 2147483647 w 141"/>
                <a:gd name="T45" fmla="*/ 2147483647 h 228"/>
                <a:gd name="T46" fmla="*/ 2147483647 w 141"/>
                <a:gd name="T47" fmla="*/ 2147483647 h 228"/>
                <a:gd name="T48" fmla="*/ 2147483647 w 141"/>
                <a:gd name="T49" fmla="*/ 2147483647 h 228"/>
                <a:gd name="T50" fmla="*/ 2147483647 w 141"/>
                <a:gd name="T51" fmla="*/ 2147483647 h 228"/>
                <a:gd name="T52" fmla="*/ 2147483647 w 141"/>
                <a:gd name="T53" fmla="*/ 2147483647 h 228"/>
                <a:gd name="T54" fmla="*/ 2147483647 w 141"/>
                <a:gd name="T55" fmla="*/ 2147483647 h 228"/>
                <a:gd name="T56" fmla="*/ 2147483647 w 141"/>
                <a:gd name="T57" fmla="*/ 2147483647 h 228"/>
                <a:gd name="T58" fmla="*/ 2147483647 w 141"/>
                <a:gd name="T59" fmla="*/ 2147483647 h 228"/>
                <a:gd name="T60" fmla="*/ 2147483647 w 141"/>
                <a:gd name="T61" fmla="*/ 2147483647 h 228"/>
                <a:gd name="T62" fmla="*/ 2147483647 w 141"/>
                <a:gd name="T63" fmla="*/ 2147483647 h 228"/>
                <a:gd name="T64" fmla="*/ 2147483647 w 141"/>
                <a:gd name="T65" fmla="*/ 2147483647 h 228"/>
                <a:gd name="T66" fmla="*/ 2147483647 w 141"/>
                <a:gd name="T67" fmla="*/ 2147483647 h 228"/>
                <a:gd name="T68" fmla="*/ 2147483647 w 141"/>
                <a:gd name="T69" fmla="*/ 2147483647 h 228"/>
                <a:gd name="T70" fmla="*/ 2147483647 w 141"/>
                <a:gd name="T71" fmla="*/ 2147483647 h 228"/>
                <a:gd name="T72" fmla="*/ 2147483647 w 141"/>
                <a:gd name="T73" fmla="*/ 2147483647 h 228"/>
                <a:gd name="T74" fmla="*/ 2147483647 w 141"/>
                <a:gd name="T75" fmla="*/ 2147483647 h 228"/>
                <a:gd name="T76" fmla="*/ 2147483647 w 141"/>
                <a:gd name="T77" fmla="*/ 2147483647 h 228"/>
                <a:gd name="T78" fmla="*/ 2147483647 w 141"/>
                <a:gd name="T79" fmla="*/ 2147483647 h 228"/>
                <a:gd name="T80" fmla="*/ 2147483647 w 141"/>
                <a:gd name="T81" fmla="*/ 2147483647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41"/>
                <a:gd name="T124" fmla="*/ 0 h 228"/>
                <a:gd name="T125" fmla="*/ 141 w 141"/>
                <a:gd name="T126" fmla="*/ 228 h 22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C0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0" name="Freeform 283"/>
            <p:cNvSpPr>
              <a:spLocks/>
            </p:cNvSpPr>
            <p:nvPr/>
          </p:nvSpPr>
          <p:spPr bwMode="auto">
            <a:xfrm>
              <a:off x="8042924" y="3271537"/>
              <a:ext cx="22824" cy="53198"/>
            </a:xfrm>
            <a:custGeom>
              <a:avLst/>
              <a:gdLst>
                <a:gd name="T0" fmla="*/ 12 w 60"/>
                <a:gd name="T1" fmla="*/ 37 h 110"/>
                <a:gd name="T2" fmla="*/ 13 w 60"/>
                <a:gd name="T3" fmla="*/ 37 h 110"/>
                <a:gd name="T4" fmla="*/ 15 w 60"/>
                <a:gd name="T5" fmla="*/ 36 h 110"/>
                <a:gd name="T6" fmla="*/ 16 w 60"/>
                <a:gd name="T7" fmla="*/ 34 h 110"/>
                <a:gd name="T8" fmla="*/ 16 w 60"/>
                <a:gd name="T9" fmla="*/ 32 h 110"/>
                <a:gd name="T10" fmla="*/ 17 w 60"/>
                <a:gd name="T11" fmla="*/ 30 h 110"/>
                <a:gd name="T12" fmla="*/ 18 w 60"/>
                <a:gd name="T13" fmla="*/ 28 h 110"/>
                <a:gd name="T14" fmla="*/ 19 w 60"/>
                <a:gd name="T15" fmla="*/ 26 h 110"/>
                <a:gd name="T16" fmla="*/ 19 w 60"/>
                <a:gd name="T17" fmla="*/ 25 h 110"/>
                <a:gd name="T18" fmla="*/ 19 w 60"/>
                <a:gd name="T19" fmla="*/ 20 h 110"/>
                <a:gd name="T20" fmla="*/ 18 w 60"/>
                <a:gd name="T21" fmla="*/ 16 h 110"/>
                <a:gd name="T22" fmla="*/ 18 w 60"/>
                <a:gd name="T23" fmla="*/ 13 h 110"/>
                <a:gd name="T24" fmla="*/ 17 w 60"/>
                <a:gd name="T25" fmla="*/ 10 h 110"/>
                <a:gd name="T26" fmla="*/ 16 w 60"/>
                <a:gd name="T27" fmla="*/ 7 h 110"/>
                <a:gd name="T28" fmla="*/ 15 w 60"/>
                <a:gd name="T29" fmla="*/ 4 h 110"/>
                <a:gd name="T30" fmla="*/ 14 w 60"/>
                <a:gd name="T31" fmla="*/ 2 h 110"/>
                <a:gd name="T32" fmla="*/ 12 w 60"/>
                <a:gd name="T33" fmla="*/ 0 h 110"/>
                <a:gd name="T34" fmla="*/ 11 w 60"/>
                <a:gd name="T35" fmla="*/ 1 h 110"/>
                <a:gd name="T36" fmla="*/ 10 w 60"/>
                <a:gd name="T37" fmla="*/ 3 h 110"/>
                <a:gd name="T38" fmla="*/ 9 w 60"/>
                <a:gd name="T39" fmla="*/ 4 h 110"/>
                <a:gd name="T40" fmla="*/ 8 w 60"/>
                <a:gd name="T41" fmla="*/ 6 h 110"/>
                <a:gd name="T42" fmla="*/ 6 w 60"/>
                <a:gd name="T43" fmla="*/ 10 h 110"/>
                <a:gd name="T44" fmla="*/ 5 w 60"/>
                <a:gd name="T45" fmla="*/ 13 h 110"/>
                <a:gd name="T46" fmla="*/ 3 w 60"/>
                <a:gd name="T47" fmla="*/ 17 h 110"/>
                <a:gd name="T48" fmla="*/ 2 w 60"/>
                <a:gd name="T49" fmla="*/ 21 h 110"/>
                <a:gd name="T50" fmla="*/ 2 w 60"/>
                <a:gd name="T51" fmla="*/ 22 h 110"/>
                <a:gd name="T52" fmla="*/ 1 w 60"/>
                <a:gd name="T53" fmla="*/ 23 h 110"/>
                <a:gd name="T54" fmla="*/ 1 w 60"/>
                <a:gd name="T55" fmla="*/ 24 h 110"/>
                <a:gd name="T56" fmla="*/ 0 w 60"/>
                <a:gd name="T57" fmla="*/ 25 h 110"/>
                <a:gd name="T58" fmla="*/ 0 w 60"/>
                <a:gd name="T59" fmla="*/ 26 h 110"/>
                <a:gd name="T60" fmla="*/ 1 w 60"/>
                <a:gd name="T61" fmla="*/ 28 h 110"/>
                <a:gd name="T62" fmla="*/ 2 w 60"/>
                <a:gd name="T63" fmla="*/ 30 h 110"/>
                <a:gd name="T64" fmla="*/ 4 w 60"/>
                <a:gd name="T65" fmla="*/ 32 h 110"/>
                <a:gd name="T66" fmla="*/ 6 w 60"/>
                <a:gd name="T67" fmla="*/ 34 h 110"/>
                <a:gd name="T68" fmla="*/ 8 w 60"/>
                <a:gd name="T69" fmla="*/ 36 h 110"/>
                <a:gd name="T70" fmla="*/ 10 w 60"/>
                <a:gd name="T71" fmla="*/ 37 h 110"/>
                <a:gd name="T72" fmla="*/ 12 w 60"/>
                <a:gd name="T73" fmla="*/ 37 h 11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0"/>
                <a:gd name="T112" fmla="*/ 0 h 110"/>
                <a:gd name="T113" fmla="*/ 60 w 60"/>
                <a:gd name="T114" fmla="*/ 110 h 11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pattFill prst="wdUpDiag">
              <a:fgClr>
                <a:srgbClr val="AAC25E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1" name="Freeform 284"/>
            <p:cNvSpPr>
              <a:spLocks/>
            </p:cNvSpPr>
            <p:nvPr/>
          </p:nvSpPr>
          <p:spPr bwMode="auto">
            <a:xfrm>
              <a:off x="8084970" y="3232717"/>
              <a:ext cx="28831" cy="35945"/>
            </a:xfrm>
            <a:custGeom>
              <a:avLst/>
              <a:gdLst>
                <a:gd name="T0" fmla="*/ 0 w 72"/>
                <a:gd name="T1" fmla="*/ 4 h 75"/>
                <a:gd name="T2" fmla="*/ 3 w 72"/>
                <a:gd name="T3" fmla="*/ 6 h 75"/>
                <a:gd name="T4" fmla="*/ 5 w 72"/>
                <a:gd name="T5" fmla="*/ 8 h 75"/>
                <a:gd name="T6" fmla="*/ 8 w 72"/>
                <a:gd name="T7" fmla="*/ 11 h 75"/>
                <a:gd name="T8" fmla="*/ 10 w 72"/>
                <a:gd name="T9" fmla="*/ 13 h 75"/>
                <a:gd name="T10" fmla="*/ 12 w 72"/>
                <a:gd name="T11" fmla="*/ 16 h 75"/>
                <a:gd name="T12" fmla="*/ 14 w 72"/>
                <a:gd name="T13" fmla="*/ 19 h 75"/>
                <a:gd name="T14" fmla="*/ 15 w 72"/>
                <a:gd name="T15" fmla="*/ 22 h 75"/>
                <a:gd name="T16" fmla="*/ 15 w 72"/>
                <a:gd name="T17" fmla="*/ 25 h 75"/>
                <a:gd name="T18" fmla="*/ 24 w 72"/>
                <a:gd name="T19" fmla="*/ 25 h 75"/>
                <a:gd name="T20" fmla="*/ 22 w 72"/>
                <a:gd name="T21" fmla="*/ 17 h 75"/>
                <a:gd name="T22" fmla="*/ 20 w 72"/>
                <a:gd name="T23" fmla="*/ 11 h 75"/>
                <a:gd name="T24" fmla="*/ 20 w 72"/>
                <a:gd name="T25" fmla="*/ 9 h 75"/>
                <a:gd name="T26" fmla="*/ 21 w 72"/>
                <a:gd name="T27" fmla="*/ 6 h 75"/>
                <a:gd name="T28" fmla="*/ 22 w 72"/>
                <a:gd name="T29" fmla="*/ 4 h 75"/>
                <a:gd name="T30" fmla="*/ 24 w 72"/>
                <a:gd name="T31" fmla="*/ 0 h 75"/>
                <a:gd name="T32" fmla="*/ 17 w 72"/>
                <a:gd name="T33" fmla="*/ 0 h 75"/>
                <a:gd name="T34" fmla="*/ 11 w 72"/>
                <a:gd name="T35" fmla="*/ 0 h 75"/>
                <a:gd name="T36" fmla="*/ 7 w 72"/>
                <a:gd name="T37" fmla="*/ 0 h 75"/>
                <a:gd name="T38" fmla="*/ 4 w 72"/>
                <a:gd name="T39" fmla="*/ 1 h 75"/>
                <a:gd name="T40" fmla="*/ 3 w 72"/>
                <a:gd name="T41" fmla="*/ 2 h 75"/>
                <a:gd name="T42" fmla="*/ 2 w 72"/>
                <a:gd name="T43" fmla="*/ 2 h 75"/>
                <a:gd name="T44" fmla="*/ 1 w 72"/>
                <a:gd name="T45" fmla="*/ 3 h 75"/>
                <a:gd name="T46" fmla="*/ 0 w 72"/>
                <a:gd name="T47" fmla="*/ 4 h 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72"/>
                <a:gd name="T73" fmla="*/ 0 h 75"/>
                <a:gd name="T74" fmla="*/ 72 w 72"/>
                <a:gd name="T75" fmla="*/ 75 h 7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pattFill prst="wdUpDiag">
              <a:fgClr>
                <a:srgbClr val="AAC25E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2" name="Freeform 290"/>
            <p:cNvSpPr>
              <a:spLocks/>
            </p:cNvSpPr>
            <p:nvPr/>
          </p:nvSpPr>
          <p:spPr bwMode="auto">
            <a:xfrm>
              <a:off x="7932409" y="3268663"/>
              <a:ext cx="50453" cy="79078"/>
            </a:xfrm>
            <a:custGeom>
              <a:avLst/>
              <a:gdLst>
                <a:gd name="T0" fmla="*/ 38 w 126"/>
                <a:gd name="T1" fmla="*/ 0 h 166"/>
                <a:gd name="T2" fmla="*/ 39 w 126"/>
                <a:gd name="T3" fmla="*/ 2 h 166"/>
                <a:gd name="T4" fmla="*/ 40 w 126"/>
                <a:gd name="T5" fmla="*/ 3 h 166"/>
                <a:gd name="T6" fmla="*/ 41 w 126"/>
                <a:gd name="T7" fmla="*/ 4 h 166"/>
                <a:gd name="T8" fmla="*/ 42 w 126"/>
                <a:gd name="T9" fmla="*/ 6 h 166"/>
                <a:gd name="T10" fmla="*/ 42 w 126"/>
                <a:gd name="T11" fmla="*/ 7 h 166"/>
                <a:gd name="T12" fmla="*/ 42 w 126"/>
                <a:gd name="T13" fmla="*/ 8 h 166"/>
                <a:gd name="T14" fmla="*/ 41 w 126"/>
                <a:gd name="T15" fmla="*/ 11 h 166"/>
                <a:gd name="T16" fmla="*/ 39 w 126"/>
                <a:gd name="T17" fmla="*/ 14 h 166"/>
                <a:gd name="T18" fmla="*/ 38 w 126"/>
                <a:gd name="T19" fmla="*/ 17 h 166"/>
                <a:gd name="T20" fmla="*/ 35 w 126"/>
                <a:gd name="T21" fmla="*/ 20 h 166"/>
                <a:gd name="T22" fmla="*/ 30 w 126"/>
                <a:gd name="T23" fmla="*/ 28 h 166"/>
                <a:gd name="T24" fmla="*/ 24 w 126"/>
                <a:gd name="T25" fmla="*/ 34 h 166"/>
                <a:gd name="T26" fmla="*/ 18 w 126"/>
                <a:gd name="T27" fmla="*/ 42 h 166"/>
                <a:gd name="T28" fmla="*/ 11 w 126"/>
                <a:gd name="T29" fmla="*/ 48 h 166"/>
                <a:gd name="T30" fmla="*/ 8 w 126"/>
                <a:gd name="T31" fmla="*/ 50 h 166"/>
                <a:gd name="T32" fmla="*/ 5 w 126"/>
                <a:gd name="T33" fmla="*/ 52 h 166"/>
                <a:gd name="T34" fmla="*/ 2 w 126"/>
                <a:gd name="T35" fmla="*/ 54 h 166"/>
                <a:gd name="T36" fmla="*/ 0 w 126"/>
                <a:gd name="T37" fmla="*/ 55 h 166"/>
                <a:gd name="T38" fmla="*/ 0 w 126"/>
                <a:gd name="T39" fmla="*/ 53 h 166"/>
                <a:gd name="T40" fmla="*/ 0 w 126"/>
                <a:gd name="T41" fmla="*/ 51 h 166"/>
                <a:gd name="T42" fmla="*/ 0 w 126"/>
                <a:gd name="T43" fmla="*/ 48 h 166"/>
                <a:gd name="T44" fmla="*/ 0 w 126"/>
                <a:gd name="T45" fmla="*/ 45 h 166"/>
                <a:gd name="T46" fmla="*/ 1 w 126"/>
                <a:gd name="T47" fmla="*/ 43 h 166"/>
                <a:gd name="T48" fmla="*/ 2 w 126"/>
                <a:gd name="T49" fmla="*/ 42 h 166"/>
                <a:gd name="T50" fmla="*/ 4 w 126"/>
                <a:gd name="T51" fmla="*/ 41 h 166"/>
                <a:gd name="T52" fmla="*/ 5 w 126"/>
                <a:gd name="T53" fmla="*/ 40 h 166"/>
                <a:gd name="T54" fmla="*/ 9 w 126"/>
                <a:gd name="T55" fmla="*/ 38 h 166"/>
                <a:gd name="T56" fmla="*/ 11 w 126"/>
                <a:gd name="T57" fmla="*/ 36 h 166"/>
                <a:gd name="T58" fmla="*/ 13 w 126"/>
                <a:gd name="T59" fmla="*/ 34 h 166"/>
                <a:gd name="T60" fmla="*/ 16 w 126"/>
                <a:gd name="T61" fmla="*/ 32 h 166"/>
                <a:gd name="T62" fmla="*/ 18 w 126"/>
                <a:gd name="T63" fmla="*/ 29 h 166"/>
                <a:gd name="T64" fmla="*/ 19 w 126"/>
                <a:gd name="T65" fmla="*/ 27 h 166"/>
                <a:gd name="T66" fmla="*/ 22 w 126"/>
                <a:gd name="T67" fmla="*/ 22 h 166"/>
                <a:gd name="T68" fmla="*/ 24 w 126"/>
                <a:gd name="T69" fmla="*/ 17 h 166"/>
                <a:gd name="T70" fmla="*/ 26 w 126"/>
                <a:gd name="T71" fmla="*/ 12 h 166"/>
                <a:gd name="T72" fmla="*/ 29 w 126"/>
                <a:gd name="T73" fmla="*/ 8 h 166"/>
                <a:gd name="T74" fmla="*/ 31 w 126"/>
                <a:gd name="T75" fmla="*/ 5 h 166"/>
                <a:gd name="T76" fmla="*/ 32 w 126"/>
                <a:gd name="T77" fmla="*/ 4 h 166"/>
                <a:gd name="T78" fmla="*/ 35 w 126"/>
                <a:gd name="T79" fmla="*/ 2 h 166"/>
                <a:gd name="T80" fmla="*/ 38 w 126"/>
                <a:gd name="T81" fmla="*/ 0 h 1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26"/>
                <a:gd name="T124" fmla="*/ 0 h 166"/>
                <a:gd name="T125" fmla="*/ 126 w 126"/>
                <a:gd name="T126" fmla="*/ 166 h 16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pattFill prst="wdUpDiag">
              <a:fgClr>
                <a:srgbClr val="AAC25E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3" name="Freeform 291"/>
            <p:cNvSpPr>
              <a:spLocks/>
            </p:cNvSpPr>
            <p:nvPr/>
          </p:nvSpPr>
          <p:spPr bwMode="auto">
            <a:xfrm>
              <a:off x="8042924" y="3294543"/>
              <a:ext cx="102108" cy="123649"/>
            </a:xfrm>
            <a:custGeom>
              <a:avLst/>
              <a:gdLst>
                <a:gd name="T0" fmla="*/ 3 w 259"/>
                <a:gd name="T1" fmla="*/ 60 h 259"/>
                <a:gd name="T2" fmla="*/ 0 w 259"/>
                <a:gd name="T3" fmla="*/ 54 h 259"/>
                <a:gd name="T4" fmla="*/ 0 w 259"/>
                <a:gd name="T5" fmla="*/ 47 h 259"/>
                <a:gd name="T6" fmla="*/ 2 w 259"/>
                <a:gd name="T7" fmla="*/ 43 h 259"/>
                <a:gd name="T8" fmla="*/ 6 w 259"/>
                <a:gd name="T9" fmla="*/ 42 h 259"/>
                <a:gd name="T10" fmla="*/ 11 w 259"/>
                <a:gd name="T11" fmla="*/ 39 h 259"/>
                <a:gd name="T12" fmla="*/ 16 w 259"/>
                <a:gd name="T13" fmla="*/ 33 h 259"/>
                <a:gd name="T14" fmla="*/ 20 w 259"/>
                <a:gd name="T15" fmla="*/ 30 h 259"/>
                <a:gd name="T16" fmla="*/ 22 w 259"/>
                <a:gd name="T17" fmla="*/ 29 h 259"/>
                <a:gd name="T18" fmla="*/ 27 w 259"/>
                <a:gd name="T19" fmla="*/ 29 h 259"/>
                <a:gd name="T20" fmla="*/ 31 w 259"/>
                <a:gd name="T21" fmla="*/ 31 h 259"/>
                <a:gd name="T22" fmla="*/ 33 w 259"/>
                <a:gd name="T23" fmla="*/ 35 h 259"/>
                <a:gd name="T24" fmla="*/ 35 w 259"/>
                <a:gd name="T25" fmla="*/ 37 h 259"/>
                <a:gd name="T26" fmla="*/ 39 w 259"/>
                <a:gd name="T27" fmla="*/ 37 h 259"/>
                <a:gd name="T28" fmla="*/ 44 w 259"/>
                <a:gd name="T29" fmla="*/ 35 h 259"/>
                <a:gd name="T30" fmla="*/ 49 w 259"/>
                <a:gd name="T31" fmla="*/ 31 h 259"/>
                <a:gd name="T32" fmla="*/ 53 w 259"/>
                <a:gd name="T33" fmla="*/ 26 h 259"/>
                <a:gd name="T34" fmla="*/ 57 w 259"/>
                <a:gd name="T35" fmla="*/ 17 h 259"/>
                <a:gd name="T36" fmla="*/ 62 w 259"/>
                <a:gd name="T37" fmla="*/ 5 h 259"/>
                <a:gd name="T38" fmla="*/ 64 w 259"/>
                <a:gd name="T39" fmla="*/ 1 h 259"/>
                <a:gd name="T40" fmla="*/ 66 w 259"/>
                <a:gd name="T41" fmla="*/ 4 h 259"/>
                <a:gd name="T42" fmla="*/ 70 w 259"/>
                <a:gd name="T43" fmla="*/ 6 h 259"/>
                <a:gd name="T44" fmla="*/ 72 w 259"/>
                <a:gd name="T45" fmla="*/ 11 h 259"/>
                <a:gd name="T46" fmla="*/ 72 w 259"/>
                <a:gd name="T47" fmla="*/ 17 h 259"/>
                <a:gd name="T48" fmla="*/ 74 w 259"/>
                <a:gd name="T49" fmla="*/ 20 h 259"/>
                <a:gd name="T50" fmla="*/ 77 w 259"/>
                <a:gd name="T51" fmla="*/ 23 h 259"/>
                <a:gd name="T52" fmla="*/ 77 w 259"/>
                <a:gd name="T53" fmla="*/ 29 h 259"/>
                <a:gd name="T54" fmla="*/ 77 w 259"/>
                <a:gd name="T55" fmla="*/ 35 h 259"/>
                <a:gd name="T56" fmla="*/ 78 w 259"/>
                <a:gd name="T57" fmla="*/ 37 h 259"/>
                <a:gd name="T58" fmla="*/ 80 w 259"/>
                <a:gd name="T59" fmla="*/ 40 h 259"/>
                <a:gd name="T60" fmla="*/ 82 w 259"/>
                <a:gd name="T61" fmla="*/ 45 h 259"/>
                <a:gd name="T62" fmla="*/ 83 w 259"/>
                <a:gd name="T63" fmla="*/ 53 h 259"/>
                <a:gd name="T64" fmla="*/ 80 w 259"/>
                <a:gd name="T65" fmla="*/ 78 h 259"/>
                <a:gd name="T66" fmla="*/ 78 w 259"/>
                <a:gd name="T67" fmla="*/ 74 h 259"/>
                <a:gd name="T68" fmla="*/ 78 w 259"/>
                <a:gd name="T69" fmla="*/ 69 h 259"/>
                <a:gd name="T70" fmla="*/ 78 w 259"/>
                <a:gd name="T71" fmla="*/ 64 h 259"/>
                <a:gd name="T72" fmla="*/ 73 w 259"/>
                <a:gd name="T73" fmla="*/ 62 h 259"/>
                <a:gd name="T74" fmla="*/ 68 w 259"/>
                <a:gd name="T75" fmla="*/ 59 h 259"/>
                <a:gd name="T76" fmla="*/ 64 w 259"/>
                <a:gd name="T77" fmla="*/ 66 h 259"/>
                <a:gd name="T78" fmla="*/ 62 w 259"/>
                <a:gd name="T79" fmla="*/ 73 h 259"/>
                <a:gd name="T80" fmla="*/ 61 w 259"/>
                <a:gd name="T81" fmla="*/ 86 h 259"/>
                <a:gd name="T82" fmla="*/ 41 w 259"/>
                <a:gd name="T83" fmla="*/ 80 h 259"/>
                <a:gd name="T84" fmla="*/ 36 w 259"/>
                <a:gd name="T85" fmla="*/ 73 h 259"/>
                <a:gd name="T86" fmla="*/ 32 w 259"/>
                <a:gd name="T87" fmla="*/ 69 h 259"/>
                <a:gd name="T88" fmla="*/ 32 w 259"/>
                <a:gd name="T89" fmla="*/ 65 h 259"/>
                <a:gd name="T90" fmla="*/ 34 w 259"/>
                <a:gd name="T91" fmla="*/ 62 h 259"/>
                <a:gd name="T92" fmla="*/ 37 w 259"/>
                <a:gd name="T93" fmla="*/ 60 h 259"/>
                <a:gd name="T94" fmla="*/ 38 w 259"/>
                <a:gd name="T95" fmla="*/ 57 h 259"/>
                <a:gd name="T96" fmla="*/ 31 w 259"/>
                <a:gd name="T97" fmla="*/ 51 h 259"/>
                <a:gd name="T98" fmla="*/ 9 w 259"/>
                <a:gd name="T99" fmla="*/ 51 h 259"/>
                <a:gd name="T100" fmla="*/ 7 w 259"/>
                <a:gd name="T101" fmla="*/ 54 h 259"/>
                <a:gd name="T102" fmla="*/ 5 w 259"/>
                <a:gd name="T103" fmla="*/ 58 h 259"/>
                <a:gd name="T104" fmla="*/ 4 w 259"/>
                <a:gd name="T105" fmla="*/ 62 h 25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59"/>
                <a:gd name="T160" fmla="*/ 0 h 259"/>
                <a:gd name="T161" fmla="*/ 259 w 259"/>
                <a:gd name="T162" fmla="*/ 259 h 25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pattFill prst="wdUpDiag">
              <a:fgClr>
                <a:srgbClr val="AAC25E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4" name="Freeform 292"/>
            <p:cNvSpPr>
              <a:spLocks/>
            </p:cNvSpPr>
            <p:nvPr/>
          </p:nvSpPr>
          <p:spPr bwMode="auto">
            <a:xfrm>
              <a:off x="7982863" y="3193898"/>
              <a:ext cx="27629" cy="44571"/>
            </a:xfrm>
            <a:custGeom>
              <a:avLst/>
              <a:gdLst>
                <a:gd name="T0" fmla="*/ 23 w 72"/>
                <a:gd name="T1" fmla="*/ 14 h 92"/>
                <a:gd name="T2" fmla="*/ 23 w 72"/>
                <a:gd name="T3" fmla="*/ 31 h 92"/>
                <a:gd name="T4" fmla="*/ 21 w 72"/>
                <a:gd name="T5" fmla="*/ 29 h 92"/>
                <a:gd name="T6" fmla="*/ 19 w 72"/>
                <a:gd name="T7" fmla="*/ 27 h 92"/>
                <a:gd name="T8" fmla="*/ 16 w 72"/>
                <a:gd name="T9" fmla="*/ 25 h 92"/>
                <a:gd name="T10" fmla="*/ 15 w 72"/>
                <a:gd name="T11" fmla="*/ 23 h 92"/>
                <a:gd name="T12" fmla="*/ 12 w 72"/>
                <a:gd name="T13" fmla="*/ 20 h 92"/>
                <a:gd name="T14" fmla="*/ 10 w 72"/>
                <a:gd name="T15" fmla="*/ 16 h 92"/>
                <a:gd name="T16" fmla="*/ 8 w 72"/>
                <a:gd name="T17" fmla="*/ 11 h 92"/>
                <a:gd name="T18" fmla="*/ 6 w 72"/>
                <a:gd name="T19" fmla="*/ 8 h 92"/>
                <a:gd name="T20" fmla="*/ 4 w 72"/>
                <a:gd name="T21" fmla="*/ 4 h 92"/>
                <a:gd name="T22" fmla="*/ 0 w 72"/>
                <a:gd name="T23" fmla="*/ 0 h 92"/>
                <a:gd name="T24" fmla="*/ 8 w 72"/>
                <a:gd name="T25" fmla="*/ 4 h 92"/>
                <a:gd name="T26" fmla="*/ 14 w 72"/>
                <a:gd name="T27" fmla="*/ 7 h 92"/>
                <a:gd name="T28" fmla="*/ 16 w 72"/>
                <a:gd name="T29" fmla="*/ 9 h 92"/>
                <a:gd name="T30" fmla="*/ 19 w 72"/>
                <a:gd name="T31" fmla="*/ 10 h 92"/>
                <a:gd name="T32" fmla="*/ 21 w 72"/>
                <a:gd name="T33" fmla="*/ 12 h 92"/>
                <a:gd name="T34" fmla="*/ 23 w 72"/>
                <a:gd name="T35" fmla="*/ 14 h 9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2"/>
                <a:gd name="T55" fmla="*/ 0 h 92"/>
                <a:gd name="T56" fmla="*/ 72 w 72"/>
                <a:gd name="T57" fmla="*/ 92 h 9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pattFill prst="wdUpDiag">
              <a:fgClr>
                <a:srgbClr val="AAC25E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5" name="Freeform 294"/>
            <p:cNvSpPr>
              <a:spLocks/>
            </p:cNvSpPr>
            <p:nvPr/>
          </p:nvSpPr>
          <p:spPr bwMode="auto">
            <a:xfrm>
              <a:off x="7964843" y="3050121"/>
              <a:ext cx="60063" cy="140902"/>
            </a:xfrm>
            <a:custGeom>
              <a:avLst/>
              <a:gdLst>
                <a:gd name="T0" fmla="*/ 19 w 152"/>
                <a:gd name="T1" fmla="*/ 0 h 296"/>
                <a:gd name="T2" fmla="*/ 22 w 152"/>
                <a:gd name="T3" fmla="*/ 3 h 296"/>
                <a:gd name="T4" fmla="*/ 25 w 152"/>
                <a:gd name="T5" fmla="*/ 6 h 296"/>
                <a:gd name="T6" fmla="*/ 29 w 152"/>
                <a:gd name="T7" fmla="*/ 8 h 296"/>
                <a:gd name="T8" fmla="*/ 33 w 152"/>
                <a:gd name="T9" fmla="*/ 8 h 296"/>
                <a:gd name="T10" fmla="*/ 36 w 152"/>
                <a:gd name="T11" fmla="*/ 7 h 296"/>
                <a:gd name="T12" fmla="*/ 39 w 152"/>
                <a:gd name="T13" fmla="*/ 4 h 296"/>
                <a:gd name="T14" fmla="*/ 40 w 152"/>
                <a:gd name="T15" fmla="*/ 12 h 296"/>
                <a:gd name="T16" fmla="*/ 43 w 152"/>
                <a:gd name="T17" fmla="*/ 21 h 296"/>
                <a:gd name="T18" fmla="*/ 46 w 152"/>
                <a:gd name="T19" fmla="*/ 28 h 296"/>
                <a:gd name="T20" fmla="*/ 48 w 152"/>
                <a:gd name="T21" fmla="*/ 31 h 296"/>
                <a:gd name="T22" fmla="*/ 50 w 152"/>
                <a:gd name="T23" fmla="*/ 33 h 296"/>
                <a:gd name="T24" fmla="*/ 47 w 152"/>
                <a:gd name="T25" fmla="*/ 40 h 296"/>
                <a:gd name="T26" fmla="*/ 42 w 152"/>
                <a:gd name="T27" fmla="*/ 46 h 296"/>
                <a:gd name="T28" fmla="*/ 38 w 152"/>
                <a:gd name="T29" fmla="*/ 52 h 296"/>
                <a:gd name="T30" fmla="*/ 37 w 152"/>
                <a:gd name="T31" fmla="*/ 57 h 296"/>
                <a:gd name="T32" fmla="*/ 38 w 152"/>
                <a:gd name="T33" fmla="*/ 65 h 296"/>
                <a:gd name="T34" fmla="*/ 38 w 152"/>
                <a:gd name="T35" fmla="*/ 68 h 296"/>
                <a:gd name="T36" fmla="*/ 37 w 152"/>
                <a:gd name="T37" fmla="*/ 72 h 296"/>
                <a:gd name="T38" fmla="*/ 41 w 152"/>
                <a:gd name="T39" fmla="*/ 72 h 296"/>
                <a:gd name="T40" fmla="*/ 48 w 152"/>
                <a:gd name="T41" fmla="*/ 72 h 296"/>
                <a:gd name="T42" fmla="*/ 45 w 152"/>
                <a:gd name="T43" fmla="*/ 83 h 296"/>
                <a:gd name="T44" fmla="*/ 45 w 152"/>
                <a:gd name="T45" fmla="*/ 88 h 296"/>
                <a:gd name="T46" fmla="*/ 48 w 152"/>
                <a:gd name="T47" fmla="*/ 94 h 296"/>
                <a:gd name="T48" fmla="*/ 41 w 152"/>
                <a:gd name="T49" fmla="*/ 96 h 296"/>
                <a:gd name="T50" fmla="*/ 35 w 152"/>
                <a:gd name="T51" fmla="*/ 98 h 296"/>
                <a:gd name="T52" fmla="*/ 28 w 152"/>
                <a:gd name="T53" fmla="*/ 97 h 296"/>
                <a:gd name="T54" fmla="*/ 24 w 152"/>
                <a:gd name="T55" fmla="*/ 95 h 296"/>
                <a:gd name="T56" fmla="*/ 22 w 152"/>
                <a:gd name="T57" fmla="*/ 93 h 296"/>
                <a:gd name="T58" fmla="*/ 22 w 152"/>
                <a:gd name="T59" fmla="*/ 90 h 296"/>
                <a:gd name="T60" fmla="*/ 28 w 152"/>
                <a:gd name="T61" fmla="*/ 84 h 296"/>
                <a:gd name="T62" fmla="*/ 23 w 152"/>
                <a:gd name="T63" fmla="*/ 82 h 296"/>
                <a:gd name="T64" fmla="*/ 17 w 152"/>
                <a:gd name="T65" fmla="*/ 80 h 296"/>
                <a:gd name="T66" fmla="*/ 13 w 152"/>
                <a:gd name="T67" fmla="*/ 76 h 296"/>
                <a:gd name="T68" fmla="*/ 8 w 152"/>
                <a:gd name="T69" fmla="*/ 73 h 296"/>
                <a:gd name="T70" fmla="*/ 5 w 152"/>
                <a:gd name="T71" fmla="*/ 68 h 296"/>
                <a:gd name="T72" fmla="*/ 2 w 152"/>
                <a:gd name="T73" fmla="*/ 63 h 296"/>
                <a:gd name="T74" fmla="*/ 0 w 152"/>
                <a:gd name="T75" fmla="*/ 57 h 296"/>
                <a:gd name="T76" fmla="*/ 0 w 152"/>
                <a:gd name="T77" fmla="*/ 51 h 296"/>
                <a:gd name="T78" fmla="*/ 0 w 152"/>
                <a:gd name="T79" fmla="*/ 43 h 296"/>
                <a:gd name="T80" fmla="*/ 9 w 152"/>
                <a:gd name="T81" fmla="*/ 35 h 296"/>
                <a:gd name="T82" fmla="*/ 11 w 152"/>
                <a:gd name="T83" fmla="*/ 15 h 296"/>
                <a:gd name="T84" fmla="*/ 10 w 152"/>
                <a:gd name="T85" fmla="*/ 6 h 296"/>
                <a:gd name="T86" fmla="*/ 9 w 152"/>
                <a:gd name="T87" fmla="*/ 1 h 29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52"/>
                <a:gd name="T133" fmla="*/ 0 h 296"/>
                <a:gd name="T134" fmla="*/ 152 w 152"/>
                <a:gd name="T135" fmla="*/ 296 h 29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pattFill prst="wdUpDiag">
              <a:fgClr>
                <a:srgbClr val="AAC25E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6" name="Line 306"/>
            <p:cNvSpPr>
              <a:spLocks noChangeShapeType="1"/>
            </p:cNvSpPr>
            <p:nvPr/>
          </p:nvSpPr>
          <p:spPr bwMode="auto">
            <a:xfrm flipV="1">
              <a:off x="8087371" y="3367868"/>
              <a:ext cx="7208" cy="2876"/>
            </a:xfrm>
            <a:prstGeom prst="line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7" name="Freeform 308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8315711" y="3742339"/>
              <a:ext cx="20250" cy="53582"/>
            </a:xfrm>
            <a:custGeom>
              <a:avLst/>
              <a:gdLst>
                <a:gd name="T0" fmla="*/ 0 w 54"/>
                <a:gd name="T1" fmla="*/ 2147483647 h 92"/>
                <a:gd name="T2" fmla="*/ 2147483647 w 54"/>
                <a:gd name="T3" fmla="*/ 2147483647 h 92"/>
                <a:gd name="T4" fmla="*/ 2147483647 w 54"/>
                <a:gd name="T5" fmla="*/ 2147483647 h 92"/>
                <a:gd name="T6" fmla="*/ 2147483647 w 54"/>
                <a:gd name="T7" fmla="*/ 2147483647 h 92"/>
                <a:gd name="T8" fmla="*/ 2147483647 w 54"/>
                <a:gd name="T9" fmla="*/ 2147483647 h 92"/>
                <a:gd name="T10" fmla="*/ 2147483647 w 54"/>
                <a:gd name="T11" fmla="*/ 2147483647 h 92"/>
                <a:gd name="T12" fmla="*/ 2147483647 w 54"/>
                <a:gd name="T13" fmla="*/ 2147483647 h 92"/>
                <a:gd name="T14" fmla="*/ 2147483647 w 54"/>
                <a:gd name="T15" fmla="*/ 2147483647 h 92"/>
                <a:gd name="T16" fmla="*/ 2147483647 w 54"/>
                <a:gd name="T17" fmla="*/ 0 h 92"/>
                <a:gd name="T18" fmla="*/ 2147483647 w 54"/>
                <a:gd name="T19" fmla="*/ 2147483647 h 92"/>
                <a:gd name="T20" fmla="*/ 2147483647 w 54"/>
                <a:gd name="T21" fmla="*/ 2147483647 h 92"/>
                <a:gd name="T22" fmla="*/ 2147483647 w 54"/>
                <a:gd name="T23" fmla="*/ 2147483647 h 92"/>
                <a:gd name="T24" fmla="*/ 2147483647 w 54"/>
                <a:gd name="T25" fmla="*/ 2147483647 h 92"/>
                <a:gd name="T26" fmla="*/ 2147483647 w 54"/>
                <a:gd name="T27" fmla="*/ 2147483647 h 92"/>
                <a:gd name="T28" fmla="*/ 2147483647 w 54"/>
                <a:gd name="T29" fmla="*/ 2147483647 h 92"/>
                <a:gd name="T30" fmla="*/ 2147483647 w 54"/>
                <a:gd name="T31" fmla="*/ 2147483647 h 92"/>
                <a:gd name="T32" fmla="*/ 2147483647 w 54"/>
                <a:gd name="T33" fmla="*/ 2147483647 h 92"/>
                <a:gd name="T34" fmla="*/ 2147483647 w 54"/>
                <a:gd name="T35" fmla="*/ 2147483647 h 92"/>
                <a:gd name="T36" fmla="*/ 2147483647 w 54"/>
                <a:gd name="T37" fmla="*/ 2147483647 h 92"/>
                <a:gd name="T38" fmla="*/ 2147483647 w 54"/>
                <a:gd name="T39" fmla="*/ 2147483647 h 92"/>
                <a:gd name="T40" fmla="*/ 2147483647 w 54"/>
                <a:gd name="T41" fmla="*/ 2147483647 h 92"/>
                <a:gd name="T42" fmla="*/ 2147483647 w 54"/>
                <a:gd name="T43" fmla="*/ 2147483647 h 92"/>
                <a:gd name="T44" fmla="*/ 2147483647 w 54"/>
                <a:gd name="T45" fmla="*/ 2147483647 h 92"/>
                <a:gd name="T46" fmla="*/ 2147483647 w 54"/>
                <a:gd name="T47" fmla="*/ 2147483647 h 92"/>
                <a:gd name="T48" fmla="*/ 2147483647 w 54"/>
                <a:gd name="T49" fmla="*/ 2147483647 h 92"/>
                <a:gd name="T50" fmla="*/ 0 w 54"/>
                <a:gd name="T51" fmla="*/ 2147483647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4"/>
                <a:gd name="T79" fmla="*/ 0 h 92"/>
                <a:gd name="T80" fmla="*/ 54 w 54"/>
                <a:gd name="T81" fmla="*/ 92 h 9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pattFill prst="wdUpDiag">
              <a:fgClr>
                <a:srgbClr val="7030A0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8" name="Freeform 310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8344641" y="3604765"/>
              <a:ext cx="23143" cy="52133"/>
            </a:xfrm>
            <a:custGeom>
              <a:avLst/>
              <a:gdLst>
                <a:gd name="T0" fmla="*/ 0 w 66"/>
                <a:gd name="T1" fmla="*/ 2147483647 h 18"/>
                <a:gd name="T2" fmla="*/ 2147483647 w 66"/>
                <a:gd name="T3" fmla="*/ 2147483647 h 18"/>
                <a:gd name="T4" fmla="*/ 2147483647 w 66"/>
                <a:gd name="T5" fmla="*/ 2147483647 h 18"/>
                <a:gd name="T6" fmla="*/ 2147483647 w 66"/>
                <a:gd name="T7" fmla="*/ 2147483647 h 18"/>
                <a:gd name="T8" fmla="*/ 2147483647 w 66"/>
                <a:gd name="T9" fmla="*/ 2147483647 h 18"/>
                <a:gd name="T10" fmla="*/ 2147483647 w 66"/>
                <a:gd name="T11" fmla="*/ 2147483647 h 18"/>
                <a:gd name="T12" fmla="*/ 2147483647 w 66"/>
                <a:gd name="T13" fmla="*/ 2147483647 h 18"/>
                <a:gd name="T14" fmla="*/ 2147483647 w 66"/>
                <a:gd name="T15" fmla="*/ 0 h 18"/>
                <a:gd name="T16" fmla="*/ 0 w 66"/>
                <a:gd name="T17" fmla="*/ 2147483647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6"/>
                <a:gd name="T28" fmla="*/ 0 h 18"/>
                <a:gd name="T29" fmla="*/ 66 w 66"/>
                <a:gd name="T30" fmla="*/ 18 h 1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pattFill prst="wdUpDiag">
              <a:fgClr>
                <a:srgbClr val="7030A0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9" name="Freeform 312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8118998" y="3633727"/>
              <a:ext cx="27482" cy="53582"/>
            </a:xfrm>
            <a:custGeom>
              <a:avLst/>
              <a:gdLst>
                <a:gd name="T0" fmla="*/ 2147483647 w 72"/>
                <a:gd name="T1" fmla="*/ 2147483647 h 29"/>
                <a:gd name="T2" fmla="*/ 2147483647 w 72"/>
                <a:gd name="T3" fmla="*/ 2147483647 h 29"/>
                <a:gd name="T4" fmla="*/ 2147483647 w 72"/>
                <a:gd name="T5" fmla="*/ 2147483647 h 29"/>
                <a:gd name="T6" fmla="*/ 2147483647 w 72"/>
                <a:gd name="T7" fmla="*/ 2147483647 h 29"/>
                <a:gd name="T8" fmla="*/ 2147483647 w 72"/>
                <a:gd name="T9" fmla="*/ 2147483647 h 29"/>
                <a:gd name="T10" fmla="*/ 2147483647 w 72"/>
                <a:gd name="T11" fmla="*/ 2147483647 h 29"/>
                <a:gd name="T12" fmla="*/ 2147483647 w 72"/>
                <a:gd name="T13" fmla="*/ 2147483647 h 29"/>
                <a:gd name="T14" fmla="*/ 2147483647 w 72"/>
                <a:gd name="T15" fmla="*/ 2147483647 h 29"/>
                <a:gd name="T16" fmla="*/ 2147483647 w 72"/>
                <a:gd name="T17" fmla="*/ 2147483647 h 29"/>
                <a:gd name="T18" fmla="*/ 2147483647 w 72"/>
                <a:gd name="T19" fmla="*/ 0 h 29"/>
                <a:gd name="T20" fmla="*/ 2147483647 w 72"/>
                <a:gd name="T21" fmla="*/ 0 h 29"/>
                <a:gd name="T22" fmla="*/ 2147483647 w 72"/>
                <a:gd name="T23" fmla="*/ 2147483647 h 29"/>
                <a:gd name="T24" fmla="*/ 2147483647 w 72"/>
                <a:gd name="T25" fmla="*/ 2147483647 h 29"/>
                <a:gd name="T26" fmla="*/ 2147483647 w 72"/>
                <a:gd name="T27" fmla="*/ 2147483647 h 29"/>
                <a:gd name="T28" fmla="*/ 2147483647 w 72"/>
                <a:gd name="T29" fmla="*/ 2147483647 h 29"/>
                <a:gd name="T30" fmla="*/ 0 w 72"/>
                <a:gd name="T31" fmla="*/ 2147483647 h 29"/>
                <a:gd name="T32" fmla="*/ 2147483647 w 72"/>
                <a:gd name="T33" fmla="*/ 2147483647 h 29"/>
                <a:gd name="T34" fmla="*/ 2147483647 w 72"/>
                <a:gd name="T35" fmla="*/ 2147483647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2"/>
                <a:gd name="T55" fmla="*/ 0 h 29"/>
                <a:gd name="T56" fmla="*/ 72 w 72"/>
                <a:gd name="T57" fmla="*/ 29 h 2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pattFill prst="wdUpDiag">
              <a:fgClr>
                <a:srgbClr val="7030A0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0" name="Freeform 316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8142141" y="3677173"/>
              <a:ext cx="27482" cy="52133"/>
            </a:xfrm>
            <a:custGeom>
              <a:avLst/>
              <a:gdLst>
                <a:gd name="T0" fmla="*/ 2147483647 w 71"/>
                <a:gd name="T1" fmla="*/ 2147483647 h 49"/>
                <a:gd name="T2" fmla="*/ 2147483647 w 71"/>
                <a:gd name="T3" fmla="*/ 2147483647 h 49"/>
                <a:gd name="T4" fmla="*/ 2147483647 w 71"/>
                <a:gd name="T5" fmla="*/ 2147483647 h 49"/>
                <a:gd name="T6" fmla="*/ 2147483647 w 71"/>
                <a:gd name="T7" fmla="*/ 2147483647 h 49"/>
                <a:gd name="T8" fmla="*/ 2147483647 w 71"/>
                <a:gd name="T9" fmla="*/ 2147483647 h 49"/>
                <a:gd name="T10" fmla="*/ 2147483647 w 71"/>
                <a:gd name="T11" fmla="*/ 2147483647 h 49"/>
                <a:gd name="T12" fmla="*/ 2147483647 w 71"/>
                <a:gd name="T13" fmla="*/ 2147483647 h 49"/>
                <a:gd name="T14" fmla="*/ 2147483647 w 71"/>
                <a:gd name="T15" fmla="*/ 2147483647 h 49"/>
                <a:gd name="T16" fmla="*/ 2147483647 w 71"/>
                <a:gd name="T17" fmla="*/ 2147483647 h 49"/>
                <a:gd name="T18" fmla="*/ 2147483647 w 71"/>
                <a:gd name="T19" fmla="*/ 2147483647 h 49"/>
                <a:gd name="T20" fmla="*/ 2147483647 w 71"/>
                <a:gd name="T21" fmla="*/ 2147483647 h 49"/>
                <a:gd name="T22" fmla="*/ 2147483647 w 71"/>
                <a:gd name="T23" fmla="*/ 2147483647 h 49"/>
                <a:gd name="T24" fmla="*/ 2147483647 w 71"/>
                <a:gd name="T25" fmla="*/ 2147483647 h 49"/>
                <a:gd name="T26" fmla="*/ 2147483647 w 71"/>
                <a:gd name="T27" fmla="*/ 2147483647 h 49"/>
                <a:gd name="T28" fmla="*/ 2147483647 w 71"/>
                <a:gd name="T29" fmla="*/ 2147483647 h 49"/>
                <a:gd name="T30" fmla="*/ 2147483647 w 71"/>
                <a:gd name="T31" fmla="*/ 2147483647 h 49"/>
                <a:gd name="T32" fmla="*/ 2147483647 w 71"/>
                <a:gd name="T33" fmla="*/ 2147483647 h 49"/>
                <a:gd name="T34" fmla="*/ 2147483647 w 71"/>
                <a:gd name="T35" fmla="*/ 2147483647 h 49"/>
                <a:gd name="T36" fmla="*/ 2147483647 w 71"/>
                <a:gd name="T37" fmla="*/ 2147483647 h 49"/>
                <a:gd name="T38" fmla="*/ 2147483647 w 71"/>
                <a:gd name="T39" fmla="*/ 2147483647 h 49"/>
                <a:gd name="T40" fmla="*/ 2147483647 w 71"/>
                <a:gd name="T41" fmla="*/ 2147483647 h 49"/>
                <a:gd name="T42" fmla="*/ 2147483647 w 71"/>
                <a:gd name="T43" fmla="*/ 2147483647 h 49"/>
                <a:gd name="T44" fmla="*/ 2147483647 w 71"/>
                <a:gd name="T45" fmla="*/ 0 h 49"/>
                <a:gd name="T46" fmla="*/ 2147483647 w 71"/>
                <a:gd name="T47" fmla="*/ 2147483647 h 49"/>
                <a:gd name="T48" fmla="*/ 2147483647 w 71"/>
                <a:gd name="T49" fmla="*/ 2147483647 h 49"/>
                <a:gd name="T50" fmla="*/ 0 w 71"/>
                <a:gd name="T51" fmla="*/ 2147483647 h 49"/>
                <a:gd name="T52" fmla="*/ 0 w 71"/>
                <a:gd name="T53" fmla="*/ 2147483647 h 49"/>
                <a:gd name="T54" fmla="*/ 2147483647 w 71"/>
                <a:gd name="T55" fmla="*/ 2147483647 h 49"/>
                <a:gd name="T56" fmla="*/ 2147483647 w 71"/>
                <a:gd name="T57" fmla="*/ 2147483647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71"/>
                <a:gd name="T88" fmla="*/ 0 h 49"/>
                <a:gd name="T89" fmla="*/ 71 w 71"/>
                <a:gd name="T90" fmla="*/ 49 h 4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pattFill prst="wdUpDiag">
              <a:fgClr>
                <a:srgbClr val="7030A0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1" name="Freeform 317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7961337" y="3862535"/>
              <a:ext cx="41946" cy="53582"/>
            </a:xfrm>
            <a:custGeom>
              <a:avLst/>
              <a:gdLst>
                <a:gd name="T0" fmla="*/ 2147483647 w 112"/>
                <a:gd name="T1" fmla="*/ 2147483647 h 26"/>
                <a:gd name="T2" fmla="*/ 2147483647 w 112"/>
                <a:gd name="T3" fmla="*/ 2147483647 h 26"/>
                <a:gd name="T4" fmla="*/ 2147483647 w 112"/>
                <a:gd name="T5" fmla="*/ 2147483647 h 26"/>
                <a:gd name="T6" fmla="*/ 2147483647 w 112"/>
                <a:gd name="T7" fmla="*/ 2147483647 h 26"/>
                <a:gd name="T8" fmla="*/ 2147483647 w 112"/>
                <a:gd name="T9" fmla="*/ 2147483647 h 26"/>
                <a:gd name="T10" fmla="*/ 2147483647 w 112"/>
                <a:gd name="T11" fmla="*/ 2147483647 h 26"/>
                <a:gd name="T12" fmla="*/ 2147483647 w 112"/>
                <a:gd name="T13" fmla="*/ 2147483647 h 26"/>
                <a:gd name="T14" fmla="*/ 2147483647 w 112"/>
                <a:gd name="T15" fmla="*/ 2147483647 h 26"/>
                <a:gd name="T16" fmla="*/ 2147483647 w 112"/>
                <a:gd name="T17" fmla="*/ 2147483647 h 26"/>
                <a:gd name="T18" fmla="*/ 2147483647 w 112"/>
                <a:gd name="T19" fmla="*/ 2147483647 h 26"/>
                <a:gd name="T20" fmla="*/ 2147483647 w 112"/>
                <a:gd name="T21" fmla="*/ 2147483647 h 26"/>
                <a:gd name="T22" fmla="*/ 2147483647 w 112"/>
                <a:gd name="T23" fmla="*/ 2147483647 h 26"/>
                <a:gd name="T24" fmla="*/ 2147483647 w 112"/>
                <a:gd name="T25" fmla="*/ 2147483647 h 26"/>
                <a:gd name="T26" fmla="*/ 2147483647 w 112"/>
                <a:gd name="T27" fmla="*/ 2147483647 h 26"/>
                <a:gd name="T28" fmla="*/ 2147483647 w 112"/>
                <a:gd name="T29" fmla="*/ 2147483647 h 26"/>
                <a:gd name="T30" fmla="*/ 2147483647 w 112"/>
                <a:gd name="T31" fmla="*/ 2147483647 h 26"/>
                <a:gd name="T32" fmla="*/ 2147483647 w 112"/>
                <a:gd name="T33" fmla="*/ 2147483647 h 26"/>
                <a:gd name="T34" fmla="*/ 2147483647 w 112"/>
                <a:gd name="T35" fmla="*/ 2147483647 h 26"/>
                <a:gd name="T36" fmla="*/ 0 w 112"/>
                <a:gd name="T37" fmla="*/ 2147483647 h 26"/>
                <a:gd name="T38" fmla="*/ 2147483647 w 112"/>
                <a:gd name="T39" fmla="*/ 2147483647 h 26"/>
                <a:gd name="T40" fmla="*/ 2147483647 w 112"/>
                <a:gd name="T41" fmla="*/ 2147483647 h 26"/>
                <a:gd name="T42" fmla="*/ 2147483647 w 112"/>
                <a:gd name="T43" fmla="*/ 2147483647 h 26"/>
                <a:gd name="T44" fmla="*/ 2147483647 w 112"/>
                <a:gd name="T45" fmla="*/ 0 h 26"/>
                <a:gd name="T46" fmla="*/ 2147483647 w 112"/>
                <a:gd name="T47" fmla="*/ 2147483647 h 26"/>
                <a:gd name="T48" fmla="*/ 2147483647 w 112"/>
                <a:gd name="T49" fmla="*/ 2147483647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12"/>
                <a:gd name="T76" fmla="*/ 0 h 26"/>
                <a:gd name="T77" fmla="*/ 112 w 112"/>
                <a:gd name="T78" fmla="*/ 26 h 2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pattFill prst="wdUpDiag">
              <a:fgClr>
                <a:srgbClr val="7030A0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2" name="Freeform 318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8051016" y="3897290"/>
              <a:ext cx="13018" cy="53582"/>
            </a:xfrm>
            <a:custGeom>
              <a:avLst/>
              <a:gdLst>
                <a:gd name="T0" fmla="*/ 0 w 41"/>
                <a:gd name="T1" fmla="*/ 0 h 25"/>
                <a:gd name="T2" fmla="*/ 2147483647 w 41"/>
                <a:gd name="T3" fmla="*/ 0 h 25"/>
                <a:gd name="T4" fmla="*/ 2147483647 w 41"/>
                <a:gd name="T5" fmla="*/ 2147483647 h 25"/>
                <a:gd name="T6" fmla="*/ 2147483647 w 41"/>
                <a:gd name="T7" fmla="*/ 2147483647 h 25"/>
                <a:gd name="T8" fmla="*/ 2147483647 w 41"/>
                <a:gd name="T9" fmla="*/ 2147483647 h 25"/>
                <a:gd name="T10" fmla="*/ 0 w 41"/>
                <a:gd name="T11" fmla="*/ 2147483647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1"/>
                <a:gd name="T22" fmla="*/ 0 h 25"/>
                <a:gd name="T23" fmla="*/ 41 w 41"/>
                <a:gd name="T24" fmla="*/ 25 h 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007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3" name="Freeform 319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7899139" y="3835020"/>
              <a:ext cx="33269" cy="50686"/>
            </a:xfrm>
            <a:custGeom>
              <a:avLst/>
              <a:gdLst>
                <a:gd name="T0" fmla="*/ 0 w 81"/>
                <a:gd name="T1" fmla="*/ 2147483647 h 31"/>
                <a:gd name="T2" fmla="*/ 0 w 81"/>
                <a:gd name="T3" fmla="*/ 2147483647 h 31"/>
                <a:gd name="T4" fmla="*/ 0 w 81"/>
                <a:gd name="T5" fmla="*/ 2147483647 h 31"/>
                <a:gd name="T6" fmla="*/ 0 w 81"/>
                <a:gd name="T7" fmla="*/ 2147483647 h 31"/>
                <a:gd name="T8" fmla="*/ 2147483647 w 81"/>
                <a:gd name="T9" fmla="*/ 2147483647 h 31"/>
                <a:gd name="T10" fmla="*/ 2147483647 w 81"/>
                <a:gd name="T11" fmla="*/ 2147483647 h 31"/>
                <a:gd name="T12" fmla="*/ 2147483647 w 81"/>
                <a:gd name="T13" fmla="*/ 2147483647 h 31"/>
                <a:gd name="T14" fmla="*/ 2147483647 w 81"/>
                <a:gd name="T15" fmla="*/ 2147483647 h 31"/>
                <a:gd name="T16" fmla="*/ 2147483647 w 81"/>
                <a:gd name="T17" fmla="*/ 0 h 31"/>
                <a:gd name="T18" fmla="*/ 2147483647 w 81"/>
                <a:gd name="T19" fmla="*/ 2147483647 h 31"/>
                <a:gd name="T20" fmla="*/ 2147483647 w 81"/>
                <a:gd name="T21" fmla="*/ 2147483647 h 31"/>
                <a:gd name="T22" fmla="*/ 2147483647 w 81"/>
                <a:gd name="T23" fmla="*/ 2147483647 h 31"/>
                <a:gd name="T24" fmla="*/ 2147483647 w 81"/>
                <a:gd name="T25" fmla="*/ 2147483647 h 31"/>
                <a:gd name="T26" fmla="*/ 2147483647 w 81"/>
                <a:gd name="T27" fmla="*/ 2147483647 h 31"/>
                <a:gd name="T28" fmla="*/ 2147483647 w 81"/>
                <a:gd name="T29" fmla="*/ 2147483647 h 31"/>
                <a:gd name="T30" fmla="*/ 2147483647 w 81"/>
                <a:gd name="T31" fmla="*/ 2147483647 h 31"/>
                <a:gd name="T32" fmla="*/ 2147483647 w 81"/>
                <a:gd name="T33" fmla="*/ 2147483647 h 31"/>
                <a:gd name="T34" fmla="*/ 2147483647 w 81"/>
                <a:gd name="T35" fmla="*/ 2147483647 h 31"/>
                <a:gd name="T36" fmla="*/ 2147483647 w 81"/>
                <a:gd name="T37" fmla="*/ 2147483647 h 31"/>
                <a:gd name="T38" fmla="*/ 2147483647 w 81"/>
                <a:gd name="T39" fmla="*/ 2147483647 h 31"/>
                <a:gd name="T40" fmla="*/ 2147483647 w 81"/>
                <a:gd name="T41" fmla="*/ 2147483647 h 31"/>
                <a:gd name="T42" fmla="*/ 2147483647 w 81"/>
                <a:gd name="T43" fmla="*/ 2147483647 h 31"/>
                <a:gd name="T44" fmla="*/ 2147483647 w 81"/>
                <a:gd name="T45" fmla="*/ 2147483647 h 31"/>
                <a:gd name="T46" fmla="*/ 0 w 81"/>
                <a:gd name="T47" fmla="*/ 2147483647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81"/>
                <a:gd name="T73" fmla="*/ 0 h 31"/>
                <a:gd name="T74" fmla="*/ 81 w 81"/>
                <a:gd name="T75" fmla="*/ 31 h 3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pattFill prst="wdUpDiag">
              <a:fgClr>
                <a:srgbClr val="7030A0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4" name="Freeform 320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7939641" y="3821987"/>
              <a:ext cx="36161" cy="50685"/>
            </a:xfrm>
            <a:custGeom>
              <a:avLst/>
              <a:gdLst>
                <a:gd name="T0" fmla="*/ 2147483647 w 89"/>
                <a:gd name="T1" fmla="*/ 2147483647 h 49"/>
                <a:gd name="T2" fmla="*/ 2147483647 w 89"/>
                <a:gd name="T3" fmla="*/ 2147483647 h 49"/>
                <a:gd name="T4" fmla="*/ 2147483647 w 89"/>
                <a:gd name="T5" fmla="*/ 2147483647 h 49"/>
                <a:gd name="T6" fmla="*/ 2147483647 w 89"/>
                <a:gd name="T7" fmla="*/ 2147483647 h 49"/>
                <a:gd name="T8" fmla="*/ 2147483647 w 89"/>
                <a:gd name="T9" fmla="*/ 2147483647 h 49"/>
                <a:gd name="T10" fmla="*/ 2147483647 w 89"/>
                <a:gd name="T11" fmla="*/ 2147483647 h 49"/>
                <a:gd name="T12" fmla="*/ 2147483647 w 89"/>
                <a:gd name="T13" fmla="*/ 2147483647 h 49"/>
                <a:gd name="T14" fmla="*/ 2147483647 w 89"/>
                <a:gd name="T15" fmla="*/ 2147483647 h 49"/>
                <a:gd name="T16" fmla="*/ 2147483647 w 89"/>
                <a:gd name="T17" fmla="*/ 2147483647 h 49"/>
                <a:gd name="T18" fmla="*/ 2147483647 w 89"/>
                <a:gd name="T19" fmla="*/ 0 h 49"/>
                <a:gd name="T20" fmla="*/ 2147483647 w 89"/>
                <a:gd name="T21" fmla="*/ 2147483647 h 49"/>
                <a:gd name="T22" fmla="*/ 2147483647 w 89"/>
                <a:gd name="T23" fmla="*/ 2147483647 h 49"/>
                <a:gd name="T24" fmla="*/ 0 w 89"/>
                <a:gd name="T25" fmla="*/ 2147483647 h 49"/>
                <a:gd name="T26" fmla="*/ 0 w 89"/>
                <a:gd name="T27" fmla="*/ 2147483647 h 49"/>
                <a:gd name="T28" fmla="*/ 0 w 89"/>
                <a:gd name="T29" fmla="*/ 2147483647 h 49"/>
                <a:gd name="T30" fmla="*/ 2147483647 w 89"/>
                <a:gd name="T31" fmla="*/ 2147483647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9"/>
                <a:gd name="T49" fmla="*/ 0 h 49"/>
                <a:gd name="T50" fmla="*/ 89 w 89"/>
                <a:gd name="T51" fmla="*/ 49 h 4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pattFill prst="wdUpDiag">
              <a:fgClr>
                <a:srgbClr val="7030A0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5" name="Freeform 322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8035105" y="3835020"/>
              <a:ext cx="23143" cy="50686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2147483647 h 18"/>
                <a:gd name="T4" fmla="*/ 2147483647 w 59"/>
                <a:gd name="T5" fmla="*/ 2147483647 h 18"/>
                <a:gd name="T6" fmla="*/ 2147483647 w 59"/>
                <a:gd name="T7" fmla="*/ 2147483647 h 18"/>
                <a:gd name="T8" fmla="*/ 2147483647 w 59"/>
                <a:gd name="T9" fmla="*/ 2147483647 h 18"/>
                <a:gd name="T10" fmla="*/ 2147483647 w 59"/>
                <a:gd name="T11" fmla="*/ 2147483647 h 18"/>
                <a:gd name="T12" fmla="*/ 2147483647 w 59"/>
                <a:gd name="T13" fmla="*/ 2147483647 h 18"/>
                <a:gd name="T14" fmla="*/ 2147483647 w 59"/>
                <a:gd name="T15" fmla="*/ 2147483647 h 18"/>
                <a:gd name="T16" fmla="*/ 2147483647 w 59"/>
                <a:gd name="T17" fmla="*/ 2147483647 h 18"/>
                <a:gd name="T18" fmla="*/ 2147483647 w 59"/>
                <a:gd name="T19" fmla="*/ 2147483647 h 18"/>
                <a:gd name="T20" fmla="*/ 2147483647 w 59"/>
                <a:gd name="T21" fmla="*/ 2147483647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9"/>
                <a:gd name="T37" fmla="*/ 0 h 18"/>
                <a:gd name="T38" fmla="*/ 59 w 59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pattFill prst="wdUpDiag">
              <a:fgClr>
                <a:srgbClr val="7030A0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6" name="Freeform 331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8396711" y="3803161"/>
              <a:ext cx="26036" cy="50686"/>
            </a:xfrm>
            <a:custGeom>
              <a:avLst/>
              <a:gdLst>
                <a:gd name="T0" fmla="*/ 2147483647 w 65"/>
                <a:gd name="T1" fmla="*/ 2147483647 h 68"/>
                <a:gd name="T2" fmla="*/ 2147483647 w 65"/>
                <a:gd name="T3" fmla="*/ 2147483647 h 68"/>
                <a:gd name="T4" fmla="*/ 2147483647 w 65"/>
                <a:gd name="T5" fmla="*/ 2147483647 h 68"/>
                <a:gd name="T6" fmla="*/ 2147483647 w 65"/>
                <a:gd name="T7" fmla="*/ 2147483647 h 68"/>
                <a:gd name="T8" fmla="*/ 2147483647 w 65"/>
                <a:gd name="T9" fmla="*/ 2147483647 h 68"/>
                <a:gd name="T10" fmla="*/ 2147483647 w 65"/>
                <a:gd name="T11" fmla="*/ 2147483647 h 68"/>
                <a:gd name="T12" fmla="*/ 2147483647 w 65"/>
                <a:gd name="T13" fmla="*/ 2147483647 h 68"/>
                <a:gd name="T14" fmla="*/ 0 w 65"/>
                <a:gd name="T15" fmla="*/ 2147483647 h 68"/>
                <a:gd name="T16" fmla="*/ 0 w 65"/>
                <a:gd name="T17" fmla="*/ 2147483647 h 68"/>
                <a:gd name="T18" fmla="*/ 0 w 65"/>
                <a:gd name="T19" fmla="*/ 2147483647 h 68"/>
                <a:gd name="T20" fmla="*/ 2147483647 w 65"/>
                <a:gd name="T21" fmla="*/ 2147483647 h 68"/>
                <a:gd name="T22" fmla="*/ 2147483647 w 65"/>
                <a:gd name="T23" fmla="*/ 2147483647 h 68"/>
                <a:gd name="T24" fmla="*/ 2147483647 w 65"/>
                <a:gd name="T25" fmla="*/ 2147483647 h 68"/>
                <a:gd name="T26" fmla="*/ 2147483647 w 65"/>
                <a:gd name="T27" fmla="*/ 2147483647 h 68"/>
                <a:gd name="T28" fmla="*/ 2147483647 w 65"/>
                <a:gd name="T29" fmla="*/ 2147483647 h 68"/>
                <a:gd name="T30" fmla="*/ 2147483647 w 65"/>
                <a:gd name="T31" fmla="*/ 2147483647 h 68"/>
                <a:gd name="T32" fmla="*/ 2147483647 w 65"/>
                <a:gd name="T33" fmla="*/ 0 h 68"/>
                <a:gd name="T34" fmla="*/ 2147483647 w 65"/>
                <a:gd name="T35" fmla="*/ 0 h 68"/>
                <a:gd name="T36" fmla="*/ 2147483647 w 65"/>
                <a:gd name="T37" fmla="*/ 0 h 68"/>
                <a:gd name="T38" fmla="*/ 2147483647 w 65"/>
                <a:gd name="T39" fmla="*/ 2147483647 h 68"/>
                <a:gd name="T40" fmla="*/ 2147483647 w 65"/>
                <a:gd name="T41" fmla="*/ 2147483647 h 68"/>
                <a:gd name="T42" fmla="*/ 2147483647 w 65"/>
                <a:gd name="T43" fmla="*/ 2147483647 h 68"/>
                <a:gd name="T44" fmla="*/ 2147483647 w 65"/>
                <a:gd name="T45" fmla="*/ 2147483647 h 68"/>
                <a:gd name="T46" fmla="*/ 2147483647 w 65"/>
                <a:gd name="T47" fmla="*/ 2147483647 h 68"/>
                <a:gd name="T48" fmla="*/ 2147483647 w 65"/>
                <a:gd name="T49" fmla="*/ 2147483647 h 68"/>
                <a:gd name="T50" fmla="*/ 2147483647 w 65"/>
                <a:gd name="T51" fmla="*/ 2147483647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5"/>
                <a:gd name="T79" fmla="*/ 0 h 68"/>
                <a:gd name="T80" fmla="*/ 65 w 65"/>
                <a:gd name="T81" fmla="*/ 68 h 6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pattFill prst="wdUpDiag">
              <a:fgClr>
                <a:srgbClr val="7030A0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7" name="Freeform 332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7429051" y="3422296"/>
              <a:ext cx="250232" cy="335972"/>
            </a:xfrm>
            <a:custGeom>
              <a:avLst/>
              <a:gdLst>
                <a:gd name="T0" fmla="*/ 2147483647 w 625"/>
                <a:gd name="T1" fmla="*/ 2147483647 h 694"/>
                <a:gd name="T2" fmla="*/ 2147483647 w 625"/>
                <a:gd name="T3" fmla="*/ 2147483647 h 694"/>
                <a:gd name="T4" fmla="*/ 2147483647 w 625"/>
                <a:gd name="T5" fmla="*/ 2147483647 h 694"/>
                <a:gd name="T6" fmla="*/ 2147483647 w 625"/>
                <a:gd name="T7" fmla="*/ 2147483647 h 694"/>
                <a:gd name="T8" fmla="*/ 2147483647 w 625"/>
                <a:gd name="T9" fmla="*/ 2147483647 h 694"/>
                <a:gd name="T10" fmla="*/ 2147483647 w 625"/>
                <a:gd name="T11" fmla="*/ 2147483647 h 694"/>
                <a:gd name="T12" fmla="*/ 2147483647 w 625"/>
                <a:gd name="T13" fmla="*/ 2147483647 h 694"/>
                <a:gd name="T14" fmla="*/ 2147483647 w 625"/>
                <a:gd name="T15" fmla="*/ 2147483647 h 694"/>
                <a:gd name="T16" fmla="*/ 2147483647 w 625"/>
                <a:gd name="T17" fmla="*/ 2147483647 h 694"/>
                <a:gd name="T18" fmla="*/ 2147483647 w 625"/>
                <a:gd name="T19" fmla="*/ 2147483647 h 694"/>
                <a:gd name="T20" fmla="*/ 2147483647 w 625"/>
                <a:gd name="T21" fmla="*/ 2147483647 h 694"/>
                <a:gd name="T22" fmla="*/ 2147483647 w 625"/>
                <a:gd name="T23" fmla="*/ 2147483647 h 694"/>
                <a:gd name="T24" fmla="*/ 2147483647 w 625"/>
                <a:gd name="T25" fmla="*/ 2147483647 h 694"/>
                <a:gd name="T26" fmla="*/ 2147483647 w 625"/>
                <a:gd name="T27" fmla="*/ 2147483647 h 694"/>
                <a:gd name="T28" fmla="*/ 2147483647 w 625"/>
                <a:gd name="T29" fmla="*/ 2147483647 h 694"/>
                <a:gd name="T30" fmla="*/ 2147483647 w 625"/>
                <a:gd name="T31" fmla="*/ 2147483647 h 694"/>
                <a:gd name="T32" fmla="*/ 2147483647 w 625"/>
                <a:gd name="T33" fmla="*/ 2147483647 h 694"/>
                <a:gd name="T34" fmla="*/ 2147483647 w 625"/>
                <a:gd name="T35" fmla="*/ 2147483647 h 694"/>
                <a:gd name="T36" fmla="*/ 2147483647 w 625"/>
                <a:gd name="T37" fmla="*/ 2147483647 h 694"/>
                <a:gd name="T38" fmla="*/ 2147483647 w 625"/>
                <a:gd name="T39" fmla="*/ 2147483647 h 694"/>
                <a:gd name="T40" fmla="*/ 2147483647 w 625"/>
                <a:gd name="T41" fmla="*/ 2147483647 h 694"/>
                <a:gd name="T42" fmla="*/ 2147483647 w 625"/>
                <a:gd name="T43" fmla="*/ 2147483647 h 694"/>
                <a:gd name="T44" fmla="*/ 2147483647 w 625"/>
                <a:gd name="T45" fmla="*/ 2147483647 h 694"/>
                <a:gd name="T46" fmla="*/ 2147483647 w 625"/>
                <a:gd name="T47" fmla="*/ 2147483647 h 694"/>
                <a:gd name="T48" fmla="*/ 2147483647 w 625"/>
                <a:gd name="T49" fmla="*/ 2147483647 h 694"/>
                <a:gd name="T50" fmla="*/ 2147483647 w 625"/>
                <a:gd name="T51" fmla="*/ 2147483647 h 694"/>
                <a:gd name="T52" fmla="*/ 2147483647 w 625"/>
                <a:gd name="T53" fmla="*/ 2147483647 h 694"/>
                <a:gd name="T54" fmla="*/ 2147483647 w 625"/>
                <a:gd name="T55" fmla="*/ 2147483647 h 694"/>
                <a:gd name="T56" fmla="*/ 2147483647 w 625"/>
                <a:gd name="T57" fmla="*/ 2147483647 h 694"/>
                <a:gd name="T58" fmla="*/ 2147483647 w 625"/>
                <a:gd name="T59" fmla="*/ 2147483647 h 694"/>
                <a:gd name="T60" fmla="*/ 2147483647 w 625"/>
                <a:gd name="T61" fmla="*/ 2147483647 h 694"/>
                <a:gd name="T62" fmla="*/ 2147483647 w 625"/>
                <a:gd name="T63" fmla="*/ 2147483647 h 694"/>
                <a:gd name="T64" fmla="*/ 2147483647 w 625"/>
                <a:gd name="T65" fmla="*/ 2147483647 h 694"/>
                <a:gd name="T66" fmla="*/ 2147483647 w 625"/>
                <a:gd name="T67" fmla="*/ 2147483647 h 694"/>
                <a:gd name="T68" fmla="*/ 2147483647 w 625"/>
                <a:gd name="T69" fmla="*/ 2147483647 h 694"/>
                <a:gd name="T70" fmla="*/ 2147483647 w 625"/>
                <a:gd name="T71" fmla="*/ 2147483647 h 694"/>
                <a:gd name="T72" fmla="*/ 2147483647 w 625"/>
                <a:gd name="T73" fmla="*/ 2147483647 h 694"/>
                <a:gd name="T74" fmla="*/ 2147483647 w 625"/>
                <a:gd name="T75" fmla="*/ 2147483647 h 694"/>
                <a:gd name="T76" fmla="*/ 2147483647 w 625"/>
                <a:gd name="T77" fmla="*/ 2147483647 h 694"/>
                <a:gd name="T78" fmla="*/ 2147483647 w 625"/>
                <a:gd name="T79" fmla="*/ 2147483647 h 694"/>
                <a:gd name="T80" fmla="*/ 2147483647 w 625"/>
                <a:gd name="T81" fmla="*/ 2147483647 h 694"/>
                <a:gd name="T82" fmla="*/ 2147483647 w 625"/>
                <a:gd name="T83" fmla="*/ 2147483647 h 694"/>
                <a:gd name="T84" fmla="*/ 2147483647 w 625"/>
                <a:gd name="T85" fmla="*/ 2147483647 h 694"/>
                <a:gd name="T86" fmla="*/ 2147483647 w 625"/>
                <a:gd name="T87" fmla="*/ 2147483647 h 694"/>
                <a:gd name="T88" fmla="*/ 2147483647 w 625"/>
                <a:gd name="T89" fmla="*/ 2147483647 h 694"/>
                <a:gd name="T90" fmla="*/ 2147483647 w 625"/>
                <a:gd name="T91" fmla="*/ 2147483647 h 694"/>
                <a:gd name="T92" fmla="*/ 2147483647 w 625"/>
                <a:gd name="T93" fmla="*/ 2147483647 h 694"/>
                <a:gd name="T94" fmla="*/ 2147483647 w 625"/>
                <a:gd name="T95" fmla="*/ 2147483647 h 694"/>
                <a:gd name="T96" fmla="*/ 2147483647 w 625"/>
                <a:gd name="T97" fmla="*/ 2147483647 h 694"/>
                <a:gd name="T98" fmla="*/ 2147483647 w 625"/>
                <a:gd name="T99" fmla="*/ 2147483647 h 694"/>
                <a:gd name="T100" fmla="*/ 2147483647 w 625"/>
                <a:gd name="T101" fmla="*/ 2147483647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625"/>
                <a:gd name="T154" fmla="*/ 0 h 694"/>
                <a:gd name="T155" fmla="*/ 625 w 625"/>
                <a:gd name="T156" fmla="*/ 694 h 69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pattFill prst="wdUpDiag">
              <a:fgClr>
                <a:srgbClr val="7030A0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8" name="Freeform 333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7740034" y="3467190"/>
              <a:ext cx="231428" cy="234601"/>
            </a:xfrm>
            <a:custGeom>
              <a:avLst/>
              <a:gdLst>
                <a:gd name="T0" fmla="*/ 2147483647 w 585"/>
                <a:gd name="T1" fmla="*/ 2147483647 h 493"/>
                <a:gd name="T2" fmla="*/ 2147483647 w 585"/>
                <a:gd name="T3" fmla="*/ 2147483647 h 493"/>
                <a:gd name="T4" fmla="*/ 2147483647 w 585"/>
                <a:gd name="T5" fmla="*/ 2147483647 h 493"/>
                <a:gd name="T6" fmla="*/ 2147483647 w 585"/>
                <a:gd name="T7" fmla="*/ 2147483647 h 493"/>
                <a:gd name="T8" fmla="*/ 2147483647 w 585"/>
                <a:gd name="T9" fmla="*/ 2147483647 h 493"/>
                <a:gd name="T10" fmla="*/ 2147483647 w 585"/>
                <a:gd name="T11" fmla="*/ 2147483647 h 493"/>
                <a:gd name="T12" fmla="*/ 2147483647 w 585"/>
                <a:gd name="T13" fmla="*/ 2147483647 h 493"/>
                <a:gd name="T14" fmla="*/ 2147483647 w 585"/>
                <a:gd name="T15" fmla="*/ 2147483647 h 493"/>
                <a:gd name="T16" fmla="*/ 2147483647 w 585"/>
                <a:gd name="T17" fmla="*/ 2147483647 h 493"/>
                <a:gd name="T18" fmla="*/ 2147483647 w 585"/>
                <a:gd name="T19" fmla="*/ 2147483647 h 493"/>
                <a:gd name="T20" fmla="*/ 2147483647 w 585"/>
                <a:gd name="T21" fmla="*/ 2147483647 h 493"/>
                <a:gd name="T22" fmla="*/ 2147483647 w 585"/>
                <a:gd name="T23" fmla="*/ 2147483647 h 493"/>
                <a:gd name="T24" fmla="*/ 2147483647 w 585"/>
                <a:gd name="T25" fmla="*/ 2147483647 h 493"/>
                <a:gd name="T26" fmla="*/ 2147483647 w 585"/>
                <a:gd name="T27" fmla="*/ 2147483647 h 493"/>
                <a:gd name="T28" fmla="*/ 2147483647 w 585"/>
                <a:gd name="T29" fmla="*/ 2147483647 h 493"/>
                <a:gd name="T30" fmla="*/ 2147483647 w 585"/>
                <a:gd name="T31" fmla="*/ 2147483647 h 493"/>
                <a:gd name="T32" fmla="*/ 2147483647 w 585"/>
                <a:gd name="T33" fmla="*/ 2147483647 h 493"/>
                <a:gd name="T34" fmla="*/ 2147483647 w 585"/>
                <a:gd name="T35" fmla="*/ 2147483647 h 493"/>
                <a:gd name="T36" fmla="*/ 2147483647 w 585"/>
                <a:gd name="T37" fmla="*/ 2147483647 h 493"/>
                <a:gd name="T38" fmla="*/ 2147483647 w 585"/>
                <a:gd name="T39" fmla="*/ 2147483647 h 493"/>
                <a:gd name="T40" fmla="*/ 2147483647 w 585"/>
                <a:gd name="T41" fmla="*/ 2147483647 h 493"/>
                <a:gd name="T42" fmla="*/ 2147483647 w 585"/>
                <a:gd name="T43" fmla="*/ 2147483647 h 493"/>
                <a:gd name="T44" fmla="*/ 2147483647 w 585"/>
                <a:gd name="T45" fmla="*/ 2147483647 h 493"/>
                <a:gd name="T46" fmla="*/ 2147483647 w 585"/>
                <a:gd name="T47" fmla="*/ 2147483647 h 493"/>
                <a:gd name="T48" fmla="*/ 2147483647 w 585"/>
                <a:gd name="T49" fmla="*/ 2147483647 h 493"/>
                <a:gd name="T50" fmla="*/ 2147483647 w 585"/>
                <a:gd name="T51" fmla="*/ 2147483647 h 493"/>
                <a:gd name="T52" fmla="*/ 2147483647 w 585"/>
                <a:gd name="T53" fmla="*/ 2147483647 h 493"/>
                <a:gd name="T54" fmla="*/ 2147483647 w 585"/>
                <a:gd name="T55" fmla="*/ 2147483647 h 493"/>
                <a:gd name="T56" fmla="*/ 2147483647 w 585"/>
                <a:gd name="T57" fmla="*/ 2147483647 h 493"/>
                <a:gd name="T58" fmla="*/ 2147483647 w 585"/>
                <a:gd name="T59" fmla="*/ 2147483647 h 493"/>
                <a:gd name="T60" fmla="*/ 2147483647 w 585"/>
                <a:gd name="T61" fmla="*/ 2147483647 h 493"/>
                <a:gd name="T62" fmla="*/ 2147483647 w 585"/>
                <a:gd name="T63" fmla="*/ 2147483647 h 493"/>
                <a:gd name="T64" fmla="*/ 2147483647 w 585"/>
                <a:gd name="T65" fmla="*/ 2147483647 h 493"/>
                <a:gd name="T66" fmla="*/ 2147483647 w 585"/>
                <a:gd name="T67" fmla="*/ 2147483647 h 493"/>
                <a:gd name="T68" fmla="*/ 2147483647 w 585"/>
                <a:gd name="T69" fmla="*/ 2147483647 h 493"/>
                <a:gd name="T70" fmla="*/ 2147483647 w 585"/>
                <a:gd name="T71" fmla="*/ 2147483647 h 493"/>
                <a:gd name="T72" fmla="*/ 2147483647 w 585"/>
                <a:gd name="T73" fmla="*/ 2147483647 h 493"/>
                <a:gd name="T74" fmla="*/ 2147483647 w 585"/>
                <a:gd name="T75" fmla="*/ 2147483647 h 493"/>
                <a:gd name="T76" fmla="*/ 2147483647 w 585"/>
                <a:gd name="T77" fmla="*/ 2147483647 h 493"/>
                <a:gd name="T78" fmla="*/ 2147483647 w 585"/>
                <a:gd name="T79" fmla="*/ 2147483647 h 493"/>
                <a:gd name="T80" fmla="*/ 2147483647 w 585"/>
                <a:gd name="T81" fmla="*/ 2147483647 h 493"/>
                <a:gd name="T82" fmla="*/ 2147483647 w 585"/>
                <a:gd name="T83" fmla="*/ 2147483647 h 493"/>
                <a:gd name="T84" fmla="*/ 2147483647 w 585"/>
                <a:gd name="T85" fmla="*/ 2147483647 h 493"/>
                <a:gd name="T86" fmla="*/ 2147483647 w 585"/>
                <a:gd name="T87" fmla="*/ 2147483647 h 493"/>
                <a:gd name="T88" fmla="*/ 2147483647 w 585"/>
                <a:gd name="T89" fmla="*/ 2147483647 h 493"/>
                <a:gd name="T90" fmla="*/ 2147483647 w 585"/>
                <a:gd name="T91" fmla="*/ 2147483647 h 493"/>
                <a:gd name="T92" fmla="*/ 2147483647 w 585"/>
                <a:gd name="T93" fmla="*/ 2147483647 h 493"/>
                <a:gd name="T94" fmla="*/ 2147483647 w 585"/>
                <a:gd name="T95" fmla="*/ 2147483647 h 493"/>
                <a:gd name="T96" fmla="*/ 2147483647 w 585"/>
                <a:gd name="T97" fmla="*/ 2147483647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85"/>
                <a:gd name="T148" fmla="*/ 0 h 493"/>
                <a:gd name="T149" fmla="*/ 585 w 585"/>
                <a:gd name="T150" fmla="*/ 493 h 49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pattFill prst="wdUpDiag">
              <a:fgClr>
                <a:srgbClr val="7030A0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9" name="Freeform 335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8169624" y="3533805"/>
              <a:ext cx="39053" cy="81097"/>
            </a:xfrm>
            <a:custGeom>
              <a:avLst/>
              <a:gdLst>
                <a:gd name="T0" fmla="*/ 0 w 92"/>
                <a:gd name="T1" fmla="*/ 2147483647 h 166"/>
                <a:gd name="T2" fmla="*/ 0 w 92"/>
                <a:gd name="T3" fmla="*/ 2147483647 h 166"/>
                <a:gd name="T4" fmla="*/ 2147483647 w 92"/>
                <a:gd name="T5" fmla="*/ 2147483647 h 166"/>
                <a:gd name="T6" fmla="*/ 2147483647 w 92"/>
                <a:gd name="T7" fmla="*/ 2147483647 h 166"/>
                <a:gd name="T8" fmla="*/ 2147483647 w 92"/>
                <a:gd name="T9" fmla="*/ 2147483647 h 166"/>
                <a:gd name="T10" fmla="*/ 2147483647 w 92"/>
                <a:gd name="T11" fmla="*/ 2147483647 h 166"/>
                <a:gd name="T12" fmla="*/ 2147483647 w 92"/>
                <a:gd name="T13" fmla="*/ 2147483647 h 166"/>
                <a:gd name="T14" fmla="*/ 2147483647 w 92"/>
                <a:gd name="T15" fmla="*/ 2147483647 h 166"/>
                <a:gd name="T16" fmla="*/ 2147483647 w 92"/>
                <a:gd name="T17" fmla="*/ 2147483647 h 166"/>
                <a:gd name="T18" fmla="*/ 2147483647 w 92"/>
                <a:gd name="T19" fmla="*/ 2147483647 h 166"/>
                <a:gd name="T20" fmla="*/ 2147483647 w 92"/>
                <a:gd name="T21" fmla="*/ 2147483647 h 166"/>
                <a:gd name="T22" fmla="*/ 2147483647 w 92"/>
                <a:gd name="T23" fmla="*/ 2147483647 h 166"/>
                <a:gd name="T24" fmla="*/ 2147483647 w 92"/>
                <a:gd name="T25" fmla="*/ 2147483647 h 166"/>
                <a:gd name="T26" fmla="*/ 2147483647 w 92"/>
                <a:gd name="T27" fmla="*/ 2147483647 h 166"/>
                <a:gd name="T28" fmla="*/ 2147483647 w 92"/>
                <a:gd name="T29" fmla="*/ 2147483647 h 166"/>
                <a:gd name="T30" fmla="*/ 2147483647 w 92"/>
                <a:gd name="T31" fmla="*/ 2147483647 h 166"/>
                <a:gd name="T32" fmla="*/ 2147483647 w 92"/>
                <a:gd name="T33" fmla="*/ 2147483647 h 166"/>
                <a:gd name="T34" fmla="*/ 2147483647 w 92"/>
                <a:gd name="T35" fmla="*/ 2147483647 h 166"/>
                <a:gd name="T36" fmla="*/ 2147483647 w 92"/>
                <a:gd name="T37" fmla="*/ 2147483647 h 166"/>
                <a:gd name="T38" fmla="*/ 2147483647 w 92"/>
                <a:gd name="T39" fmla="*/ 2147483647 h 166"/>
                <a:gd name="T40" fmla="*/ 2147483647 w 92"/>
                <a:gd name="T41" fmla="*/ 2147483647 h 166"/>
                <a:gd name="T42" fmla="*/ 2147483647 w 92"/>
                <a:gd name="T43" fmla="*/ 2147483647 h 166"/>
                <a:gd name="T44" fmla="*/ 2147483647 w 92"/>
                <a:gd name="T45" fmla="*/ 2147483647 h 166"/>
                <a:gd name="T46" fmla="*/ 2147483647 w 92"/>
                <a:gd name="T47" fmla="*/ 2147483647 h 166"/>
                <a:gd name="T48" fmla="*/ 2147483647 w 92"/>
                <a:gd name="T49" fmla="*/ 2147483647 h 166"/>
                <a:gd name="T50" fmla="*/ 2147483647 w 92"/>
                <a:gd name="T51" fmla="*/ 2147483647 h 166"/>
                <a:gd name="T52" fmla="*/ 2147483647 w 92"/>
                <a:gd name="T53" fmla="*/ 2147483647 h 166"/>
                <a:gd name="T54" fmla="*/ 2147483647 w 92"/>
                <a:gd name="T55" fmla="*/ 2147483647 h 166"/>
                <a:gd name="T56" fmla="*/ 2147483647 w 92"/>
                <a:gd name="T57" fmla="*/ 2147483647 h 166"/>
                <a:gd name="T58" fmla="*/ 2147483647 w 92"/>
                <a:gd name="T59" fmla="*/ 2147483647 h 166"/>
                <a:gd name="T60" fmla="*/ 2147483647 w 92"/>
                <a:gd name="T61" fmla="*/ 2147483647 h 166"/>
                <a:gd name="T62" fmla="*/ 2147483647 w 92"/>
                <a:gd name="T63" fmla="*/ 2147483647 h 166"/>
                <a:gd name="T64" fmla="*/ 2147483647 w 92"/>
                <a:gd name="T65" fmla="*/ 2147483647 h 166"/>
                <a:gd name="T66" fmla="*/ 2147483647 w 92"/>
                <a:gd name="T67" fmla="*/ 2147483647 h 166"/>
                <a:gd name="T68" fmla="*/ 2147483647 w 92"/>
                <a:gd name="T69" fmla="*/ 2147483647 h 166"/>
                <a:gd name="T70" fmla="*/ 2147483647 w 92"/>
                <a:gd name="T71" fmla="*/ 2147483647 h 166"/>
                <a:gd name="T72" fmla="*/ 2147483647 w 92"/>
                <a:gd name="T73" fmla="*/ 2147483647 h 166"/>
                <a:gd name="T74" fmla="*/ 2147483647 w 92"/>
                <a:gd name="T75" fmla="*/ 2147483647 h 166"/>
                <a:gd name="T76" fmla="*/ 2147483647 w 92"/>
                <a:gd name="T77" fmla="*/ 2147483647 h 166"/>
                <a:gd name="T78" fmla="*/ 2147483647 w 92"/>
                <a:gd name="T79" fmla="*/ 2147483647 h 166"/>
                <a:gd name="T80" fmla="*/ 2147483647 w 92"/>
                <a:gd name="T81" fmla="*/ 2147483647 h 166"/>
                <a:gd name="T82" fmla="*/ 2147483647 w 92"/>
                <a:gd name="T83" fmla="*/ 2147483647 h 166"/>
                <a:gd name="T84" fmla="*/ 2147483647 w 92"/>
                <a:gd name="T85" fmla="*/ 2147483647 h 166"/>
                <a:gd name="T86" fmla="*/ 2147483647 w 92"/>
                <a:gd name="T87" fmla="*/ 2147483647 h 166"/>
                <a:gd name="T88" fmla="*/ 2147483647 w 92"/>
                <a:gd name="T89" fmla="*/ 2147483647 h 166"/>
                <a:gd name="T90" fmla="*/ 0 w 92"/>
                <a:gd name="T91" fmla="*/ 0 h 166"/>
                <a:gd name="T92" fmla="*/ 0 w 92"/>
                <a:gd name="T93" fmla="*/ 2147483647 h 166"/>
                <a:gd name="T94" fmla="*/ 0 w 92"/>
                <a:gd name="T95" fmla="*/ 2147483647 h 166"/>
                <a:gd name="T96" fmla="*/ 0 w 92"/>
                <a:gd name="T97" fmla="*/ 2147483647 h 166"/>
                <a:gd name="T98" fmla="*/ 0 w 92"/>
                <a:gd name="T99" fmla="*/ 2147483647 h 166"/>
                <a:gd name="T100" fmla="*/ 0 w 92"/>
                <a:gd name="T101" fmla="*/ 2147483647 h 166"/>
                <a:gd name="T102" fmla="*/ 0 w 92"/>
                <a:gd name="T103" fmla="*/ 2147483647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2"/>
                <a:gd name="T157" fmla="*/ 0 h 166"/>
                <a:gd name="T158" fmla="*/ 92 w 92"/>
                <a:gd name="T159" fmla="*/ 166 h 16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pattFill prst="wdUpDiag">
              <a:fgClr>
                <a:srgbClr val="7030A0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0" name="Freeform 336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8181195" y="3665586"/>
              <a:ext cx="65089" cy="50685"/>
            </a:xfrm>
            <a:custGeom>
              <a:avLst/>
              <a:gdLst>
                <a:gd name="T0" fmla="*/ 2147483647 w 166"/>
                <a:gd name="T1" fmla="*/ 0 h 62"/>
                <a:gd name="T2" fmla="*/ 2147483647 w 166"/>
                <a:gd name="T3" fmla="*/ 2147483647 h 62"/>
                <a:gd name="T4" fmla="*/ 2147483647 w 166"/>
                <a:gd name="T5" fmla="*/ 2147483647 h 62"/>
                <a:gd name="T6" fmla="*/ 2147483647 w 166"/>
                <a:gd name="T7" fmla="*/ 2147483647 h 62"/>
                <a:gd name="T8" fmla="*/ 2147483647 w 166"/>
                <a:gd name="T9" fmla="*/ 2147483647 h 62"/>
                <a:gd name="T10" fmla="*/ 2147483647 w 166"/>
                <a:gd name="T11" fmla="*/ 2147483647 h 62"/>
                <a:gd name="T12" fmla="*/ 2147483647 w 166"/>
                <a:gd name="T13" fmla="*/ 2147483647 h 62"/>
                <a:gd name="T14" fmla="*/ 2147483647 w 166"/>
                <a:gd name="T15" fmla="*/ 2147483647 h 62"/>
                <a:gd name="T16" fmla="*/ 2147483647 w 166"/>
                <a:gd name="T17" fmla="*/ 2147483647 h 62"/>
                <a:gd name="T18" fmla="*/ 2147483647 w 166"/>
                <a:gd name="T19" fmla="*/ 2147483647 h 62"/>
                <a:gd name="T20" fmla="*/ 2147483647 w 166"/>
                <a:gd name="T21" fmla="*/ 0 h 62"/>
                <a:gd name="T22" fmla="*/ 2147483647 w 166"/>
                <a:gd name="T23" fmla="*/ 2147483647 h 62"/>
                <a:gd name="T24" fmla="*/ 2147483647 w 166"/>
                <a:gd name="T25" fmla="*/ 2147483647 h 62"/>
                <a:gd name="T26" fmla="*/ 2147483647 w 166"/>
                <a:gd name="T27" fmla="*/ 2147483647 h 62"/>
                <a:gd name="T28" fmla="*/ 2147483647 w 166"/>
                <a:gd name="T29" fmla="*/ 2147483647 h 62"/>
                <a:gd name="T30" fmla="*/ 2147483647 w 166"/>
                <a:gd name="T31" fmla="*/ 2147483647 h 62"/>
                <a:gd name="T32" fmla="*/ 2147483647 w 166"/>
                <a:gd name="T33" fmla="*/ 2147483647 h 62"/>
                <a:gd name="T34" fmla="*/ 2147483647 w 166"/>
                <a:gd name="T35" fmla="*/ 2147483647 h 62"/>
                <a:gd name="T36" fmla="*/ 2147483647 w 166"/>
                <a:gd name="T37" fmla="*/ 2147483647 h 62"/>
                <a:gd name="T38" fmla="*/ 2147483647 w 166"/>
                <a:gd name="T39" fmla="*/ 2147483647 h 62"/>
                <a:gd name="T40" fmla="*/ 2147483647 w 166"/>
                <a:gd name="T41" fmla="*/ 2147483647 h 62"/>
                <a:gd name="T42" fmla="*/ 2147483647 w 166"/>
                <a:gd name="T43" fmla="*/ 2147483647 h 62"/>
                <a:gd name="T44" fmla="*/ 2147483647 w 166"/>
                <a:gd name="T45" fmla="*/ 2147483647 h 62"/>
                <a:gd name="T46" fmla="*/ 2147483647 w 166"/>
                <a:gd name="T47" fmla="*/ 2147483647 h 62"/>
                <a:gd name="T48" fmla="*/ 2147483647 w 166"/>
                <a:gd name="T49" fmla="*/ 2147483647 h 62"/>
                <a:gd name="T50" fmla="*/ 2147483647 w 166"/>
                <a:gd name="T51" fmla="*/ 2147483647 h 62"/>
                <a:gd name="T52" fmla="*/ 2147483647 w 166"/>
                <a:gd name="T53" fmla="*/ 2147483647 h 62"/>
                <a:gd name="T54" fmla="*/ 2147483647 w 166"/>
                <a:gd name="T55" fmla="*/ 2147483647 h 62"/>
                <a:gd name="T56" fmla="*/ 2147483647 w 166"/>
                <a:gd name="T57" fmla="*/ 2147483647 h 62"/>
                <a:gd name="T58" fmla="*/ 2147483647 w 166"/>
                <a:gd name="T59" fmla="*/ 2147483647 h 62"/>
                <a:gd name="T60" fmla="*/ 2147483647 w 166"/>
                <a:gd name="T61" fmla="*/ 2147483647 h 62"/>
                <a:gd name="T62" fmla="*/ 2147483647 w 166"/>
                <a:gd name="T63" fmla="*/ 2147483647 h 62"/>
                <a:gd name="T64" fmla="*/ 2147483647 w 166"/>
                <a:gd name="T65" fmla="*/ 2147483647 h 62"/>
                <a:gd name="T66" fmla="*/ 2147483647 w 166"/>
                <a:gd name="T67" fmla="*/ 2147483647 h 62"/>
                <a:gd name="T68" fmla="*/ 2147483647 w 166"/>
                <a:gd name="T69" fmla="*/ 2147483647 h 62"/>
                <a:gd name="T70" fmla="*/ 2147483647 w 166"/>
                <a:gd name="T71" fmla="*/ 2147483647 h 62"/>
                <a:gd name="T72" fmla="*/ 2147483647 w 166"/>
                <a:gd name="T73" fmla="*/ 2147483647 h 62"/>
                <a:gd name="T74" fmla="*/ 2147483647 w 166"/>
                <a:gd name="T75" fmla="*/ 2147483647 h 62"/>
                <a:gd name="T76" fmla="*/ 2147483647 w 166"/>
                <a:gd name="T77" fmla="*/ 2147483647 h 62"/>
                <a:gd name="T78" fmla="*/ 2147483647 w 166"/>
                <a:gd name="T79" fmla="*/ 2147483647 h 62"/>
                <a:gd name="T80" fmla="*/ 2147483647 w 166"/>
                <a:gd name="T81" fmla="*/ 2147483647 h 62"/>
                <a:gd name="T82" fmla="*/ 2147483647 w 166"/>
                <a:gd name="T83" fmla="*/ 2147483647 h 62"/>
                <a:gd name="T84" fmla="*/ 2147483647 w 166"/>
                <a:gd name="T85" fmla="*/ 2147483647 h 62"/>
                <a:gd name="T86" fmla="*/ 0 w 166"/>
                <a:gd name="T87" fmla="*/ 2147483647 h 62"/>
                <a:gd name="T88" fmla="*/ 2147483647 w 166"/>
                <a:gd name="T89" fmla="*/ 2147483647 h 62"/>
                <a:gd name="T90" fmla="*/ 2147483647 w 166"/>
                <a:gd name="T91" fmla="*/ 2147483647 h 62"/>
                <a:gd name="T92" fmla="*/ 2147483647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66"/>
                <a:gd name="T142" fmla="*/ 0 h 62"/>
                <a:gd name="T143" fmla="*/ 166 w 166"/>
                <a:gd name="T144" fmla="*/ 62 h 6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pattFill prst="wdUpDiag">
              <a:fgClr>
                <a:srgbClr val="7030A0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1" name="Freeform 337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8250624" y="3596076"/>
              <a:ext cx="78107" cy="57926"/>
            </a:xfrm>
            <a:custGeom>
              <a:avLst/>
              <a:gdLst>
                <a:gd name="T0" fmla="*/ 2147483647 w 193"/>
                <a:gd name="T1" fmla="*/ 2147483647 h 121"/>
                <a:gd name="T2" fmla="*/ 2147483647 w 193"/>
                <a:gd name="T3" fmla="*/ 2147483647 h 121"/>
                <a:gd name="T4" fmla="*/ 2147483647 w 193"/>
                <a:gd name="T5" fmla="*/ 2147483647 h 121"/>
                <a:gd name="T6" fmla="*/ 2147483647 w 193"/>
                <a:gd name="T7" fmla="*/ 2147483647 h 121"/>
                <a:gd name="T8" fmla="*/ 2147483647 w 193"/>
                <a:gd name="T9" fmla="*/ 2147483647 h 121"/>
                <a:gd name="T10" fmla="*/ 2147483647 w 193"/>
                <a:gd name="T11" fmla="*/ 2147483647 h 121"/>
                <a:gd name="T12" fmla="*/ 2147483647 w 193"/>
                <a:gd name="T13" fmla="*/ 2147483647 h 121"/>
                <a:gd name="T14" fmla="*/ 2147483647 w 193"/>
                <a:gd name="T15" fmla="*/ 2147483647 h 121"/>
                <a:gd name="T16" fmla="*/ 2147483647 w 193"/>
                <a:gd name="T17" fmla="*/ 2147483647 h 121"/>
                <a:gd name="T18" fmla="*/ 2147483647 w 193"/>
                <a:gd name="T19" fmla="*/ 2147483647 h 121"/>
                <a:gd name="T20" fmla="*/ 2147483647 w 193"/>
                <a:gd name="T21" fmla="*/ 2147483647 h 121"/>
                <a:gd name="T22" fmla="*/ 2147483647 w 193"/>
                <a:gd name="T23" fmla="*/ 2147483647 h 121"/>
                <a:gd name="T24" fmla="*/ 2147483647 w 193"/>
                <a:gd name="T25" fmla="*/ 2147483647 h 121"/>
                <a:gd name="T26" fmla="*/ 2147483647 w 193"/>
                <a:gd name="T27" fmla="*/ 2147483647 h 121"/>
                <a:gd name="T28" fmla="*/ 2147483647 w 193"/>
                <a:gd name="T29" fmla="*/ 2147483647 h 121"/>
                <a:gd name="T30" fmla="*/ 2147483647 w 193"/>
                <a:gd name="T31" fmla="*/ 2147483647 h 121"/>
                <a:gd name="T32" fmla="*/ 2147483647 w 193"/>
                <a:gd name="T33" fmla="*/ 2147483647 h 121"/>
                <a:gd name="T34" fmla="*/ 2147483647 w 193"/>
                <a:gd name="T35" fmla="*/ 2147483647 h 121"/>
                <a:gd name="T36" fmla="*/ 2147483647 w 193"/>
                <a:gd name="T37" fmla="*/ 2147483647 h 121"/>
                <a:gd name="T38" fmla="*/ 2147483647 w 193"/>
                <a:gd name="T39" fmla="*/ 2147483647 h 121"/>
                <a:gd name="T40" fmla="*/ 2147483647 w 193"/>
                <a:gd name="T41" fmla="*/ 2147483647 h 121"/>
                <a:gd name="T42" fmla="*/ 2147483647 w 193"/>
                <a:gd name="T43" fmla="*/ 2147483647 h 121"/>
                <a:gd name="T44" fmla="*/ 2147483647 w 193"/>
                <a:gd name="T45" fmla="*/ 2147483647 h 121"/>
                <a:gd name="T46" fmla="*/ 2147483647 w 193"/>
                <a:gd name="T47" fmla="*/ 2147483647 h 121"/>
                <a:gd name="T48" fmla="*/ 2147483647 w 193"/>
                <a:gd name="T49" fmla="*/ 2147483647 h 121"/>
                <a:gd name="T50" fmla="*/ 2147483647 w 193"/>
                <a:gd name="T51" fmla="*/ 2147483647 h 121"/>
                <a:gd name="T52" fmla="*/ 2147483647 w 193"/>
                <a:gd name="T53" fmla="*/ 2147483647 h 121"/>
                <a:gd name="T54" fmla="*/ 2147483647 w 193"/>
                <a:gd name="T55" fmla="*/ 2147483647 h 121"/>
                <a:gd name="T56" fmla="*/ 2147483647 w 193"/>
                <a:gd name="T57" fmla="*/ 2147483647 h 121"/>
                <a:gd name="T58" fmla="*/ 0 w 193"/>
                <a:gd name="T59" fmla="*/ 2147483647 h 121"/>
                <a:gd name="T60" fmla="*/ 2147483647 w 193"/>
                <a:gd name="T61" fmla="*/ 2147483647 h 121"/>
                <a:gd name="T62" fmla="*/ 2147483647 w 193"/>
                <a:gd name="T63" fmla="*/ 2147483647 h 121"/>
                <a:gd name="T64" fmla="*/ 2147483647 w 193"/>
                <a:gd name="T65" fmla="*/ 2147483647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93"/>
                <a:gd name="T100" fmla="*/ 0 h 121"/>
                <a:gd name="T101" fmla="*/ 193 w 193"/>
                <a:gd name="T102" fmla="*/ 121 h 12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pattFill prst="wdUpDiag">
              <a:fgClr>
                <a:srgbClr val="7030A0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2" name="Freeform 338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7967124" y="3539598"/>
              <a:ext cx="151874" cy="209983"/>
            </a:xfrm>
            <a:custGeom>
              <a:avLst/>
              <a:gdLst>
                <a:gd name="T0" fmla="*/ 2147483647 w 379"/>
                <a:gd name="T1" fmla="*/ 2147483647 h 437"/>
                <a:gd name="T2" fmla="*/ 2147483647 w 379"/>
                <a:gd name="T3" fmla="*/ 2147483647 h 437"/>
                <a:gd name="T4" fmla="*/ 2147483647 w 379"/>
                <a:gd name="T5" fmla="*/ 2147483647 h 437"/>
                <a:gd name="T6" fmla="*/ 2147483647 w 379"/>
                <a:gd name="T7" fmla="*/ 2147483647 h 437"/>
                <a:gd name="T8" fmla="*/ 2147483647 w 379"/>
                <a:gd name="T9" fmla="*/ 2147483647 h 437"/>
                <a:gd name="T10" fmla="*/ 2147483647 w 379"/>
                <a:gd name="T11" fmla="*/ 2147483647 h 437"/>
                <a:gd name="T12" fmla="*/ 2147483647 w 379"/>
                <a:gd name="T13" fmla="*/ 2147483647 h 437"/>
                <a:gd name="T14" fmla="*/ 2147483647 w 379"/>
                <a:gd name="T15" fmla="*/ 2147483647 h 437"/>
                <a:gd name="T16" fmla="*/ 2147483647 w 379"/>
                <a:gd name="T17" fmla="*/ 2147483647 h 437"/>
                <a:gd name="T18" fmla="*/ 2147483647 w 379"/>
                <a:gd name="T19" fmla="*/ 2147483647 h 437"/>
                <a:gd name="T20" fmla="*/ 2147483647 w 379"/>
                <a:gd name="T21" fmla="*/ 2147483647 h 437"/>
                <a:gd name="T22" fmla="*/ 2147483647 w 379"/>
                <a:gd name="T23" fmla="*/ 2147483647 h 437"/>
                <a:gd name="T24" fmla="*/ 2147483647 w 379"/>
                <a:gd name="T25" fmla="*/ 2147483647 h 437"/>
                <a:gd name="T26" fmla="*/ 2147483647 w 379"/>
                <a:gd name="T27" fmla="*/ 2147483647 h 437"/>
                <a:gd name="T28" fmla="*/ 2147483647 w 379"/>
                <a:gd name="T29" fmla="*/ 2147483647 h 437"/>
                <a:gd name="T30" fmla="*/ 2147483647 w 379"/>
                <a:gd name="T31" fmla="*/ 2147483647 h 437"/>
                <a:gd name="T32" fmla="*/ 2147483647 w 379"/>
                <a:gd name="T33" fmla="*/ 2147483647 h 437"/>
                <a:gd name="T34" fmla="*/ 2147483647 w 379"/>
                <a:gd name="T35" fmla="*/ 2147483647 h 437"/>
                <a:gd name="T36" fmla="*/ 2147483647 w 379"/>
                <a:gd name="T37" fmla="*/ 2147483647 h 437"/>
                <a:gd name="T38" fmla="*/ 2147483647 w 379"/>
                <a:gd name="T39" fmla="*/ 2147483647 h 437"/>
                <a:gd name="T40" fmla="*/ 2147483647 w 379"/>
                <a:gd name="T41" fmla="*/ 2147483647 h 437"/>
                <a:gd name="T42" fmla="*/ 2147483647 w 379"/>
                <a:gd name="T43" fmla="*/ 2147483647 h 437"/>
                <a:gd name="T44" fmla="*/ 2147483647 w 379"/>
                <a:gd name="T45" fmla="*/ 2147483647 h 437"/>
                <a:gd name="T46" fmla="*/ 2147483647 w 379"/>
                <a:gd name="T47" fmla="*/ 2147483647 h 437"/>
                <a:gd name="T48" fmla="*/ 2147483647 w 379"/>
                <a:gd name="T49" fmla="*/ 2147483647 h 437"/>
                <a:gd name="T50" fmla="*/ 2147483647 w 379"/>
                <a:gd name="T51" fmla="*/ 2147483647 h 437"/>
                <a:gd name="T52" fmla="*/ 2147483647 w 379"/>
                <a:gd name="T53" fmla="*/ 2147483647 h 437"/>
                <a:gd name="T54" fmla="*/ 2147483647 w 379"/>
                <a:gd name="T55" fmla="*/ 2147483647 h 437"/>
                <a:gd name="T56" fmla="*/ 2147483647 w 379"/>
                <a:gd name="T57" fmla="*/ 2147483647 h 437"/>
                <a:gd name="T58" fmla="*/ 2147483647 w 379"/>
                <a:gd name="T59" fmla="*/ 2147483647 h 437"/>
                <a:gd name="T60" fmla="*/ 2147483647 w 379"/>
                <a:gd name="T61" fmla="*/ 2147483647 h 437"/>
                <a:gd name="T62" fmla="*/ 2147483647 w 379"/>
                <a:gd name="T63" fmla="*/ 2147483647 h 437"/>
                <a:gd name="T64" fmla="*/ 2147483647 w 379"/>
                <a:gd name="T65" fmla="*/ 2147483647 h 437"/>
                <a:gd name="T66" fmla="*/ 2147483647 w 379"/>
                <a:gd name="T67" fmla="*/ 2147483647 h 437"/>
                <a:gd name="T68" fmla="*/ 2147483647 w 379"/>
                <a:gd name="T69" fmla="*/ 2147483647 h 437"/>
                <a:gd name="T70" fmla="*/ 2147483647 w 379"/>
                <a:gd name="T71" fmla="*/ 2147483647 h 437"/>
                <a:gd name="T72" fmla="*/ 2147483647 w 379"/>
                <a:gd name="T73" fmla="*/ 2147483647 h 437"/>
                <a:gd name="T74" fmla="*/ 2147483647 w 379"/>
                <a:gd name="T75" fmla="*/ 2147483647 h 437"/>
                <a:gd name="T76" fmla="*/ 2147483647 w 379"/>
                <a:gd name="T77" fmla="*/ 2147483647 h 437"/>
                <a:gd name="T78" fmla="*/ 2147483647 w 379"/>
                <a:gd name="T79" fmla="*/ 2147483647 h 437"/>
                <a:gd name="T80" fmla="*/ 2147483647 w 379"/>
                <a:gd name="T81" fmla="*/ 2147483647 h 437"/>
                <a:gd name="T82" fmla="*/ 2147483647 w 379"/>
                <a:gd name="T83" fmla="*/ 2147483647 h 437"/>
                <a:gd name="T84" fmla="*/ 2147483647 w 379"/>
                <a:gd name="T85" fmla="*/ 2147483647 h 437"/>
                <a:gd name="T86" fmla="*/ 2147483647 w 379"/>
                <a:gd name="T87" fmla="*/ 2147483647 h 437"/>
                <a:gd name="T88" fmla="*/ 2147483647 w 379"/>
                <a:gd name="T89" fmla="*/ 2147483647 h 437"/>
                <a:gd name="T90" fmla="*/ 2147483647 w 379"/>
                <a:gd name="T91" fmla="*/ 2147483647 h 437"/>
                <a:gd name="T92" fmla="*/ 2147483647 w 379"/>
                <a:gd name="T93" fmla="*/ 2147483647 h 437"/>
                <a:gd name="T94" fmla="*/ 2147483647 w 379"/>
                <a:gd name="T95" fmla="*/ 2147483647 h 437"/>
                <a:gd name="T96" fmla="*/ 2147483647 w 379"/>
                <a:gd name="T97" fmla="*/ 2147483647 h 437"/>
                <a:gd name="T98" fmla="*/ 2147483647 w 379"/>
                <a:gd name="T99" fmla="*/ 2147483647 h 437"/>
                <a:gd name="T100" fmla="*/ 2147483647 w 379"/>
                <a:gd name="T101" fmla="*/ 2147483647 h 437"/>
                <a:gd name="T102" fmla="*/ 2147483647 w 379"/>
                <a:gd name="T103" fmla="*/ 2147483647 h 437"/>
                <a:gd name="T104" fmla="*/ 2147483647 w 379"/>
                <a:gd name="T105" fmla="*/ 2147483647 h 437"/>
                <a:gd name="T106" fmla="*/ 2147483647 w 379"/>
                <a:gd name="T107" fmla="*/ 2147483647 h 437"/>
                <a:gd name="T108" fmla="*/ 2147483647 w 379"/>
                <a:gd name="T109" fmla="*/ 2147483647 h 437"/>
                <a:gd name="T110" fmla="*/ 2147483647 w 379"/>
                <a:gd name="T111" fmla="*/ 2147483647 h 437"/>
                <a:gd name="T112" fmla="*/ 2147483647 w 379"/>
                <a:gd name="T113" fmla="*/ 2147483647 h 437"/>
                <a:gd name="T114" fmla="*/ 2147483647 w 379"/>
                <a:gd name="T115" fmla="*/ 2147483647 h 437"/>
                <a:gd name="T116" fmla="*/ 2147483647 w 379"/>
                <a:gd name="T117" fmla="*/ 2147483647 h 437"/>
                <a:gd name="T118" fmla="*/ 2147483647 w 379"/>
                <a:gd name="T119" fmla="*/ 2147483647 h 437"/>
                <a:gd name="T120" fmla="*/ 2147483647 w 379"/>
                <a:gd name="T121" fmla="*/ 2147483647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79"/>
                <a:gd name="T184" fmla="*/ 0 h 437"/>
                <a:gd name="T185" fmla="*/ 379 w 379"/>
                <a:gd name="T186" fmla="*/ 437 h 43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pattFill prst="wdUpDiag">
              <a:fgClr>
                <a:srgbClr val="7030A0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3" name="Freeform 339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7661926" y="3759716"/>
              <a:ext cx="228536" cy="86889"/>
            </a:xfrm>
            <a:custGeom>
              <a:avLst/>
              <a:gdLst>
                <a:gd name="T0" fmla="*/ 2147483647 w 578"/>
                <a:gd name="T1" fmla="*/ 2147483647 h 184"/>
                <a:gd name="T2" fmla="*/ 2147483647 w 578"/>
                <a:gd name="T3" fmla="*/ 2147483647 h 184"/>
                <a:gd name="T4" fmla="*/ 2147483647 w 578"/>
                <a:gd name="T5" fmla="*/ 2147483647 h 184"/>
                <a:gd name="T6" fmla="*/ 2147483647 w 578"/>
                <a:gd name="T7" fmla="*/ 0 h 184"/>
                <a:gd name="T8" fmla="*/ 2147483647 w 578"/>
                <a:gd name="T9" fmla="*/ 2147483647 h 184"/>
                <a:gd name="T10" fmla="*/ 2147483647 w 578"/>
                <a:gd name="T11" fmla="*/ 2147483647 h 184"/>
                <a:gd name="T12" fmla="*/ 2147483647 w 578"/>
                <a:gd name="T13" fmla="*/ 2147483647 h 184"/>
                <a:gd name="T14" fmla="*/ 2147483647 w 578"/>
                <a:gd name="T15" fmla="*/ 2147483647 h 184"/>
                <a:gd name="T16" fmla="*/ 2147483647 w 578"/>
                <a:gd name="T17" fmla="*/ 2147483647 h 184"/>
                <a:gd name="T18" fmla="*/ 2147483647 w 578"/>
                <a:gd name="T19" fmla="*/ 2147483647 h 184"/>
                <a:gd name="T20" fmla="*/ 2147483647 w 578"/>
                <a:gd name="T21" fmla="*/ 2147483647 h 184"/>
                <a:gd name="T22" fmla="*/ 2147483647 w 578"/>
                <a:gd name="T23" fmla="*/ 2147483647 h 184"/>
                <a:gd name="T24" fmla="*/ 2147483647 w 578"/>
                <a:gd name="T25" fmla="*/ 2147483647 h 184"/>
                <a:gd name="T26" fmla="*/ 2147483647 w 578"/>
                <a:gd name="T27" fmla="*/ 2147483647 h 184"/>
                <a:gd name="T28" fmla="*/ 2147483647 w 578"/>
                <a:gd name="T29" fmla="*/ 2147483647 h 184"/>
                <a:gd name="T30" fmla="*/ 2147483647 w 578"/>
                <a:gd name="T31" fmla="*/ 2147483647 h 184"/>
                <a:gd name="T32" fmla="*/ 2147483647 w 578"/>
                <a:gd name="T33" fmla="*/ 2147483647 h 184"/>
                <a:gd name="T34" fmla="*/ 2147483647 w 578"/>
                <a:gd name="T35" fmla="*/ 2147483647 h 184"/>
                <a:gd name="T36" fmla="*/ 2147483647 w 578"/>
                <a:gd name="T37" fmla="*/ 2147483647 h 184"/>
                <a:gd name="T38" fmla="*/ 2147483647 w 578"/>
                <a:gd name="T39" fmla="*/ 2147483647 h 184"/>
                <a:gd name="T40" fmla="*/ 2147483647 w 578"/>
                <a:gd name="T41" fmla="*/ 2147483647 h 184"/>
                <a:gd name="T42" fmla="*/ 2147483647 w 578"/>
                <a:gd name="T43" fmla="*/ 2147483647 h 184"/>
                <a:gd name="T44" fmla="*/ 2147483647 w 578"/>
                <a:gd name="T45" fmla="*/ 2147483647 h 184"/>
                <a:gd name="T46" fmla="*/ 2147483647 w 578"/>
                <a:gd name="T47" fmla="*/ 2147483647 h 184"/>
                <a:gd name="T48" fmla="*/ 2147483647 w 578"/>
                <a:gd name="T49" fmla="*/ 2147483647 h 184"/>
                <a:gd name="T50" fmla="*/ 2147483647 w 578"/>
                <a:gd name="T51" fmla="*/ 2147483647 h 184"/>
                <a:gd name="T52" fmla="*/ 2147483647 w 578"/>
                <a:gd name="T53" fmla="*/ 2147483647 h 184"/>
                <a:gd name="T54" fmla="*/ 2147483647 w 578"/>
                <a:gd name="T55" fmla="*/ 2147483647 h 184"/>
                <a:gd name="T56" fmla="*/ 2147483647 w 578"/>
                <a:gd name="T57" fmla="*/ 2147483647 h 184"/>
                <a:gd name="T58" fmla="*/ 2147483647 w 578"/>
                <a:gd name="T59" fmla="*/ 2147483647 h 184"/>
                <a:gd name="T60" fmla="*/ 2147483647 w 578"/>
                <a:gd name="T61" fmla="*/ 2147483647 h 184"/>
                <a:gd name="T62" fmla="*/ 2147483647 w 578"/>
                <a:gd name="T63" fmla="*/ 2147483647 h 184"/>
                <a:gd name="T64" fmla="*/ 2147483647 w 578"/>
                <a:gd name="T65" fmla="*/ 2147483647 h 184"/>
                <a:gd name="T66" fmla="*/ 2147483647 w 578"/>
                <a:gd name="T67" fmla="*/ 2147483647 h 184"/>
                <a:gd name="T68" fmla="*/ 2147483647 w 578"/>
                <a:gd name="T69" fmla="*/ 2147483647 h 184"/>
                <a:gd name="T70" fmla="*/ 2147483647 w 578"/>
                <a:gd name="T71" fmla="*/ 2147483647 h 184"/>
                <a:gd name="T72" fmla="*/ 2147483647 w 578"/>
                <a:gd name="T73" fmla="*/ 2147483647 h 184"/>
                <a:gd name="T74" fmla="*/ 2147483647 w 578"/>
                <a:gd name="T75" fmla="*/ 2147483647 h 184"/>
                <a:gd name="T76" fmla="*/ 2147483647 w 578"/>
                <a:gd name="T77" fmla="*/ 2147483647 h 184"/>
                <a:gd name="T78" fmla="*/ 2147483647 w 578"/>
                <a:gd name="T79" fmla="*/ 2147483647 h 184"/>
                <a:gd name="T80" fmla="*/ 2147483647 w 578"/>
                <a:gd name="T81" fmla="*/ 2147483647 h 184"/>
                <a:gd name="T82" fmla="*/ 2147483647 w 578"/>
                <a:gd name="T83" fmla="*/ 2147483647 h 184"/>
                <a:gd name="T84" fmla="*/ 2147483647 w 578"/>
                <a:gd name="T85" fmla="*/ 2147483647 h 184"/>
                <a:gd name="T86" fmla="*/ 2147483647 w 578"/>
                <a:gd name="T87" fmla="*/ 2147483647 h 184"/>
                <a:gd name="T88" fmla="*/ 2147483647 w 578"/>
                <a:gd name="T89" fmla="*/ 2147483647 h 184"/>
                <a:gd name="T90" fmla="*/ 2147483647 w 578"/>
                <a:gd name="T91" fmla="*/ 2147483647 h 184"/>
                <a:gd name="T92" fmla="*/ 2147483647 w 578"/>
                <a:gd name="T93" fmla="*/ 2147483647 h 184"/>
                <a:gd name="T94" fmla="*/ 2147483647 w 578"/>
                <a:gd name="T95" fmla="*/ 2147483647 h 184"/>
                <a:gd name="T96" fmla="*/ 2147483647 w 578"/>
                <a:gd name="T97" fmla="*/ 2147483647 h 184"/>
                <a:gd name="T98" fmla="*/ 2147483647 w 578"/>
                <a:gd name="T99" fmla="*/ 2147483647 h 184"/>
                <a:gd name="T100" fmla="*/ 2147483647 w 578"/>
                <a:gd name="T101" fmla="*/ 2147483647 h 184"/>
                <a:gd name="T102" fmla="*/ 2147483647 w 578"/>
                <a:gd name="T103" fmla="*/ 2147483647 h 184"/>
                <a:gd name="T104" fmla="*/ 2147483647 w 578"/>
                <a:gd name="T105" fmla="*/ 2147483647 h 184"/>
                <a:gd name="T106" fmla="*/ 0 w 578"/>
                <a:gd name="T107" fmla="*/ 2147483647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78"/>
                <a:gd name="T163" fmla="*/ 0 h 184"/>
                <a:gd name="T164" fmla="*/ 578 w 578"/>
                <a:gd name="T165" fmla="*/ 184 h 18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pattFill prst="wdUpDiag">
              <a:fgClr>
                <a:srgbClr val="7030A0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4" name="Freeform 340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8282445" y="3629383"/>
              <a:ext cx="195268" cy="230257"/>
            </a:xfrm>
            <a:custGeom>
              <a:avLst/>
              <a:gdLst>
                <a:gd name="T0" fmla="*/ 2147483647 w 491"/>
                <a:gd name="T1" fmla="*/ 2147483647 h 481"/>
                <a:gd name="T2" fmla="*/ 2147483647 w 491"/>
                <a:gd name="T3" fmla="*/ 2147483647 h 481"/>
                <a:gd name="T4" fmla="*/ 2147483647 w 491"/>
                <a:gd name="T5" fmla="*/ 2147483647 h 481"/>
                <a:gd name="T6" fmla="*/ 2147483647 w 491"/>
                <a:gd name="T7" fmla="*/ 2147483647 h 481"/>
                <a:gd name="T8" fmla="*/ 2147483647 w 491"/>
                <a:gd name="T9" fmla="*/ 2147483647 h 481"/>
                <a:gd name="T10" fmla="*/ 2147483647 w 491"/>
                <a:gd name="T11" fmla="*/ 2147483647 h 481"/>
                <a:gd name="T12" fmla="*/ 2147483647 w 491"/>
                <a:gd name="T13" fmla="*/ 2147483647 h 481"/>
                <a:gd name="T14" fmla="*/ 2147483647 w 491"/>
                <a:gd name="T15" fmla="*/ 2147483647 h 481"/>
                <a:gd name="T16" fmla="*/ 2147483647 w 491"/>
                <a:gd name="T17" fmla="*/ 2147483647 h 481"/>
                <a:gd name="T18" fmla="*/ 2147483647 w 491"/>
                <a:gd name="T19" fmla="*/ 2147483647 h 481"/>
                <a:gd name="T20" fmla="*/ 2147483647 w 491"/>
                <a:gd name="T21" fmla="*/ 2147483647 h 481"/>
                <a:gd name="T22" fmla="*/ 2147483647 w 491"/>
                <a:gd name="T23" fmla="*/ 2147483647 h 481"/>
                <a:gd name="T24" fmla="*/ 2147483647 w 491"/>
                <a:gd name="T25" fmla="*/ 2147483647 h 481"/>
                <a:gd name="T26" fmla="*/ 2147483647 w 491"/>
                <a:gd name="T27" fmla="*/ 2147483647 h 481"/>
                <a:gd name="T28" fmla="*/ 2147483647 w 491"/>
                <a:gd name="T29" fmla="*/ 2147483647 h 481"/>
                <a:gd name="T30" fmla="*/ 2147483647 w 491"/>
                <a:gd name="T31" fmla="*/ 2147483647 h 481"/>
                <a:gd name="T32" fmla="*/ 2147483647 w 491"/>
                <a:gd name="T33" fmla="*/ 2147483647 h 481"/>
                <a:gd name="T34" fmla="*/ 2147483647 w 491"/>
                <a:gd name="T35" fmla="*/ 2147483647 h 481"/>
                <a:gd name="T36" fmla="*/ 2147483647 w 491"/>
                <a:gd name="T37" fmla="*/ 2147483647 h 481"/>
                <a:gd name="T38" fmla="*/ 2147483647 w 491"/>
                <a:gd name="T39" fmla="*/ 2147483647 h 481"/>
                <a:gd name="T40" fmla="*/ 2147483647 w 491"/>
                <a:gd name="T41" fmla="*/ 2147483647 h 481"/>
                <a:gd name="T42" fmla="*/ 2147483647 w 491"/>
                <a:gd name="T43" fmla="*/ 2147483647 h 481"/>
                <a:gd name="T44" fmla="*/ 2147483647 w 491"/>
                <a:gd name="T45" fmla="*/ 2147483647 h 481"/>
                <a:gd name="T46" fmla="*/ 2147483647 w 491"/>
                <a:gd name="T47" fmla="*/ 2147483647 h 481"/>
                <a:gd name="T48" fmla="*/ 2147483647 w 491"/>
                <a:gd name="T49" fmla="*/ 2147483647 h 481"/>
                <a:gd name="T50" fmla="*/ 2147483647 w 491"/>
                <a:gd name="T51" fmla="*/ 2147483647 h 481"/>
                <a:gd name="T52" fmla="*/ 2147483647 w 491"/>
                <a:gd name="T53" fmla="*/ 2147483647 h 481"/>
                <a:gd name="T54" fmla="*/ 2147483647 w 491"/>
                <a:gd name="T55" fmla="*/ 2147483647 h 481"/>
                <a:gd name="T56" fmla="*/ 2147483647 w 491"/>
                <a:gd name="T57" fmla="*/ 2147483647 h 481"/>
                <a:gd name="T58" fmla="*/ 2147483647 w 491"/>
                <a:gd name="T59" fmla="*/ 2147483647 h 481"/>
                <a:gd name="T60" fmla="*/ 2147483647 w 491"/>
                <a:gd name="T61" fmla="*/ 2147483647 h 481"/>
                <a:gd name="T62" fmla="*/ 0 w 491"/>
                <a:gd name="T63" fmla="*/ 2147483647 h 481"/>
                <a:gd name="T64" fmla="*/ 2147483647 w 491"/>
                <a:gd name="T65" fmla="*/ 2147483647 h 481"/>
                <a:gd name="T66" fmla="*/ 2147483647 w 491"/>
                <a:gd name="T67" fmla="*/ 2147483647 h 481"/>
                <a:gd name="T68" fmla="*/ 2147483647 w 491"/>
                <a:gd name="T69" fmla="*/ 2147483647 h 481"/>
                <a:gd name="T70" fmla="*/ 2147483647 w 491"/>
                <a:gd name="T71" fmla="*/ 2147483647 h 481"/>
                <a:gd name="T72" fmla="*/ 2147483647 w 491"/>
                <a:gd name="T73" fmla="*/ 2147483647 h 481"/>
                <a:gd name="T74" fmla="*/ 2147483647 w 491"/>
                <a:gd name="T75" fmla="*/ 2147483647 h 481"/>
                <a:gd name="T76" fmla="*/ 2147483647 w 491"/>
                <a:gd name="T77" fmla="*/ 2147483647 h 481"/>
                <a:gd name="T78" fmla="*/ 2147483647 w 491"/>
                <a:gd name="T79" fmla="*/ 2147483647 h 481"/>
                <a:gd name="T80" fmla="*/ 2147483647 w 491"/>
                <a:gd name="T81" fmla="*/ 2147483647 h 481"/>
                <a:gd name="T82" fmla="*/ 2147483647 w 491"/>
                <a:gd name="T83" fmla="*/ 2147483647 h 481"/>
                <a:gd name="T84" fmla="*/ 2147483647 w 491"/>
                <a:gd name="T85" fmla="*/ 2147483647 h 481"/>
                <a:gd name="T86" fmla="*/ 2147483647 w 491"/>
                <a:gd name="T87" fmla="*/ 2147483647 h 481"/>
                <a:gd name="T88" fmla="*/ 2147483647 w 491"/>
                <a:gd name="T89" fmla="*/ 2147483647 h 481"/>
                <a:gd name="T90" fmla="*/ 2147483647 w 491"/>
                <a:gd name="T91" fmla="*/ 2147483647 h 481"/>
                <a:gd name="T92" fmla="*/ 2147483647 w 491"/>
                <a:gd name="T93" fmla="*/ 2147483647 h 481"/>
                <a:gd name="T94" fmla="*/ 2147483647 w 491"/>
                <a:gd name="T95" fmla="*/ 0 h 481"/>
                <a:gd name="T96" fmla="*/ 2147483647 w 491"/>
                <a:gd name="T97" fmla="*/ 2147483647 h 481"/>
                <a:gd name="T98" fmla="*/ 2147483647 w 491"/>
                <a:gd name="T99" fmla="*/ 2147483647 h 481"/>
                <a:gd name="T100" fmla="*/ 2147483647 w 491"/>
                <a:gd name="T101" fmla="*/ 2147483647 h 481"/>
                <a:gd name="T102" fmla="*/ 2147483647 w 491"/>
                <a:gd name="T103" fmla="*/ 2147483647 h 481"/>
                <a:gd name="T104" fmla="*/ 2147483647 w 491"/>
                <a:gd name="T105" fmla="*/ 2147483647 h 481"/>
                <a:gd name="T106" fmla="*/ 2147483647 w 491"/>
                <a:gd name="T107" fmla="*/ 2147483647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491"/>
                <a:gd name="T163" fmla="*/ 0 h 481"/>
                <a:gd name="T164" fmla="*/ 491 w 491"/>
                <a:gd name="T165" fmla="*/ 481 h 481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pattFill prst="wdUpDiag">
              <a:fgClr>
                <a:srgbClr val="7030A0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5" name="Freeform 358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6030355" y="3152939"/>
              <a:ext cx="331232" cy="343212"/>
            </a:xfrm>
            <a:custGeom>
              <a:avLst/>
              <a:gdLst>
                <a:gd name="T0" fmla="*/ 2147483647 w 845"/>
                <a:gd name="T1" fmla="*/ 2147483647 h 720"/>
                <a:gd name="T2" fmla="*/ 2147483647 w 845"/>
                <a:gd name="T3" fmla="*/ 2147483647 h 720"/>
                <a:gd name="T4" fmla="*/ 2147483647 w 845"/>
                <a:gd name="T5" fmla="*/ 0 h 720"/>
                <a:gd name="T6" fmla="*/ 2147483647 w 845"/>
                <a:gd name="T7" fmla="*/ 2147483647 h 720"/>
                <a:gd name="T8" fmla="*/ 2147483647 w 845"/>
                <a:gd name="T9" fmla="*/ 2147483647 h 720"/>
                <a:gd name="T10" fmla="*/ 2147483647 w 845"/>
                <a:gd name="T11" fmla="*/ 2147483647 h 720"/>
                <a:gd name="T12" fmla="*/ 2147483647 w 845"/>
                <a:gd name="T13" fmla="*/ 2147483647 h 720"/>
                <a:gd name="T14" fmla="*/ 2147483647 w 845"/>
                <a:gd name="T15" fmla="*/ 2147483647 h 720"/>
                <a:gd name="T16" fmla="*/ 2147483647 w 845"/>
                <a:gd name="T17" fmla="*/ 2147483647 h 720"/>
                <a:gd name="T18" fmla="*/ 2147483647 w 845"/>
                <a:gd name="T19" fmla="*/ 2147483647 h 720"/>
                <a:gd name="T20" fmla="*/ 2147483647 w 845"/>
                <a:gd name="T21" fmla="*/ 2147483647 h 720"/>
                <a:gd name="T22" fmla="*/ 2147483647 w 845"/>
                <a:gd name="T23" fmla="*/ 2147483647 h 720"/>
                <a:gd name="T24" fmla="*/ 2147483647 w 845"/>
                <a:gd name="T25" fmla="*/ 2147483647 h 720"/>
                <a:gd name="T26" fmla="*/ 2147483647 w 845"/>
                <a:gd name="T27" fmla="*/ 2147483647 h 720"/>
                <a:gd name="T28" fmla="*/ 2147483647 w 845"/>
                <a:gd name="T29" fmla="*/ 2147483647 h 720"/>
                <a:gd name="T30" fmla="*/ 2147483647 w 845"/>
                <a:gd name="T31" fmla="*/ 2147483647 h 720"/>
                <a:gd name="T32" fmla="*/ 2147483647 w 845"/>
                <a:gd name="T33" fmla="*/ 2147483647 h 720"/>
                <a:gd name="T34" fmla="*/ 2147483647 w 845"/>
                <a:gd name="T35" fmla="*/ 2147483647 h 720"/>
                <a:gd name="T36" fmla="*/ 2147483647 w 845"/>
                <a:gd name="T37" fmla="*/ 2147483647 h 720"/>
                <a:gd name="T38" fmla="*/ 2147483647 w 845"/>
                <a:gd name="T39" fmla="*/ 2147483647 h 720"/>
                <a:gd name="T40" fmla="*/ 2147483647 w 845"/>
                <a:gd name="T41" fmla="*/ 2147483647 h 720"/>
                <a:gd name="T42" fmla="*/ 2147483647 w 845"/>
                <a:gd name="T43" fmla="*/ 2147483647 h 720"/>
                <a:gd name="T44" fmla="*/ 2147483647 w 845"/>
                <a:gd name="T45" fmla="*/ 2147483647 h 720"/>
                <a:gd name="T46" fmla="*/ 2147483647 w 845"/>
                <a:gd name="T47" fmla="*/ 2147483647 h 720"/>
                <a:gd name="T48" fmla="*/ 2147483647 w 845"/>
                <a:gd name="T49" fmla="*/ 2147483647 h 720"/>
                <a:gd name="T50" fmla="*/ 2147483647 w 845"/>
                <a:gd name="T51" fmla="*/ 2147483647 h 720"/>
                <a:gd name="T52" fmla="*/ 2147483647 w 845"/>
                <a:gd name="T53" fmla="*/ 2147483647 h 720"/>
                <a:gd name="T54" fmla="*/ 2147483647 w 845"/>
                <a:gd name="T55" fmla="*/ 2147483647 h 720"/>
                <a:gd name="T56" fmla="*/ 2147483647 w 845"/>
                <a:gd name="T57" fmla="*/ 2147483647 h 720"/>
                <a:gd name="T58" fmla="*/ 2147483647 w 845"/>
                <a:gd name="T59" fmla="*/ 2147483647 h 720"/>
                <a:gd name="T60" fmla="*/ 2147483647 w 845"/>
                <a:gd name="T61" fmla="*/ 2147483647 h 720"/>
                <a:gd name="T62" fmla="*/ 2147483647 w 845"/>
                <a:gd name="T63" fmla="*/ 2147483647 h 720"/>
                <a:gd name="T64" fmla="*/ 2147483647 w 845"/>
                <a:gd name="T65" fmla="*/ 2147483647 h 720"/>
                <a:gd name="T66" fmla="*/ 2147483647 w 845"/>
                <a:gd name="T67" fmla="*/ 2147483647 h 720"/>
                <a:gd name="T68" fmla="*/ 2147483647 w 845"/>
                <a:gd name="T69" fmla="*/ 2147483647 h 720"/>
                <a:gd name="T70" fmla="*/ 2147483647 w 845"/>
                <a:gd name="T71" fmla="*/ 2147483647 h 720"/>
                <a:gd name="T72" fmla="*/ 2147483647 w 845"/>
                <a:gd name="T73" fmla="*/ 2147483647 h 720"/>
                <a:gd name="T74" fmla="*/ 2147483647 w 845"/>
                <a:gd name="T75" fmla="*/ 2147483647 h 720"/>
                <a:gd name="T76" fmla="*/ 2147483647 w 845"/>
                <a:gd name="T77" fmla="*/ 2147483647 h 720"/>
                <a:gd name="T78" fmla="*/ 2147483647 w 845"/>
                <a:gd name="T79" fmla="*/ 2147483647 h 720"/>
                <a:gd name="T80" fmla="*/ 2147483647 w 845"/>
                <a:gd name="T81" fmla="*/ 2147483647 h 720"/>
                <a:gd name="T82" fmla="*/ 2147483647 w 845"/>
                <a:gd name="T83" fmla="*/ 2147483647 h 720"/>
                <a:gd name="T84" fmla="*/ 2147483647 w 845"/>
                <a:gd name="T85" fmla="*/ 2147483647 h 720"/>
                <a:gd name="T86" fmla="*/ 2147483647 w 845"/>
                <a:gd name="T87" fmla="*/ 2147483647 h 720"/>
                <a:gd name="T88" fmla="*/ 2147483647 w 845"/>
                <a:gd name="T89" fmla="*/ 2147483647 h 720"/>
                <a:gd name="T90" fmla="*/ 2147483647 w 845"/>
                <a:gd name="T91" fmla="*/ 2147483647 h 720"/>
                <a:gd name="T92" fmla="*/ 2147483647 w 845"/>
                <a:gd name="T93" fmla="*/ 2147483647 h 720"/>
                <a:gd name="T94" fmla="*/ 2147483647 w 845"/>
                <a:gd name="T95" fmla="*/ 2147483647 h 720"/>
                <a:gd name="T96" fmla="*/ 2147483647 w 845"/>
                <a:gd name="T97" fmla="*/ 2147483647 h 720"/>
                <a:gd name="T98" fmla="*/ 2147483647 w 845"/>
                <a:gd name="T99" fmla="*/ 2147483647 h 720"/>
                <a:gd name="T100" fmla="*/ 2147483647 w 845"/>
                <a:gd name="T101" fmla="*/ 2147483647 h 720"/>
                <a:gd name="T102" fmla="*/ 2147483647 w 845"/>
                <a:gd name="T103" fmla="*/ 2147483647 h 720"/>
                <a:gd name="T104" fmla="*/ 2147483647 w 845"/>
                <a:gd name="T105" fmla="*/ 2147483647 h 720"/>
                <a:gd name="T106" fmla="*/ 2147483647 w 845"/>
                <a:gd name="T107" fmla="*/ 2147483647 h 720"/>
                <a:gd name="T108" fmla="*/ 2147483647 w 845"/>
                <a:gd name="T109" fmla="*/ 2147483647 h 720"/>
                <a:gd name="T110" fmla="*/ 2147483647 w 845"/>
                <a:gd name="T111" fmla="*/ 2147483647 h 720"/>
                <a:gd name="T112" fmla="*/ 2147483647 w 845"/>
                <a:gd name="T113" fmla="*/ 2147483647 h 720"/>
                <a:gd name="T114" fmla="*/ 2147483647 w 845"/>
                <a:gd name="T115" fmla="*/ 2147483647 h 720"/>
                <a:gd name="T116" fmla="*/ 2147483647 w 845"/>
                <a:gd name="T117" fmla="*/ 2147483647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845"/>
                <a:gd name="T178" fmla="*/ 0 h 720"/>
                <a:gd name="T179" fmla="*/ 845 w 845"/>
                <a:gd name="T180" fmla="*/ 720 h 72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pattFill prst="wdUpDiag">
              <a:fgClr>
                <a:srgbClr val="7030A0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6" name="Freeform 434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5947908" y="3488913"/>
              <a:ext cx="115715" cy="144815"/>
            </a:xfrm>
            <a:custGeom>
              <a:avLst/>
              <a:gdLst>
                <a:gd name="T0" fmla="*/ 2147483647 w 292"/>
                <a:gd name="T1" fmla="*/ 2147483647 h 308"/>
                <a:gd name="T2" fmla="*/ 2147483647 w 292"/>
                <a:gd name="T3" fmla="*/ 2147483647 h 308"/>
                <a:gd name="T4" fmla="*/ 2147483647 w 292"/>
                <a:gd name="T5" fmla="*/ 2147483647 h 308"/>
                <a:gd name="T6" fmla="*/ 2147483647 w 292"/>
                <a:gd name="T7" fmla="*/ 2147483647 h 308"/>
                <a:gd name="T8" fmla="*/ 2147483647 w 292"/>
                <a:gd name="T9" fmla="*/ 2147483647 h 308"/>
                <a:gd name="T10" fmla="*/ 2147483647 w 292"/>
                <a:gd name="T11" fmla="*/ 2147483647 h 308"/>
                <a:gd name="T12" fmla="*/ 2147483647 w 292"/>
                <a:gd name="T13" fmla="*/ 2147483647 h 308"/>
                <a:gd name="T14" fmla="*/ 2147483647 w 292"/>
                <a:gd name="T15" fmla="*/ 2147483647 h 308"/>
                <a:gd name="T16" fmla="*/ 2147483647 w 292"/>
                <a:gd name="T17" fmla="*/ 2147483647 h 308"/>
                <a:gd name="T18" fmla="*/ 2147483647 w 292"/>
                <a:gd name="T19" fmla="*/ 2147483647 h 308"/>
                <a:gd name="T20" fmla="*/ 2147483647 w 292"/>
                <a:gd name="T21" fmla="*/ 2147483647 h 308"/>
                <a:gd name="T22" fmla="*/ 2147483647 w 292"/>
                <a:gd name="T23" fmla="*/ 2147483647 h 308"/>
                <a:gd name="T24" fmla="*/ 2147483647 w 292"/>
                <a:gd name="T25" fmla="*/ 2147483647 h 308"/>
                <a:gd name="T26" fmla="*/ 2147483647 w 292"/>
                <a:gd name="T27" fmla="*/ 2147483647 h 308"/>
                <a:gd name="T28" fmla="*/ 2147483647 w 292"/>
                <a:gd name="T29" fmla="*/ 2147483647 h 308"/>
                <a:gd name="T30" fmla="*/ 2147483647 w 292"/>
                <a:gd name="T31" fmla="*/ 2147483647 h 308"/>
                <a:gd name="T32" fmla="*/ 2147483647 w 292"/>
                <a:gd name="T33" fmla="*/ 2147483647 h 308"/>
                <a:gd name="T34" fmla="*/ 0 w 292"/>
                <a:gd name="T35" fmla="*/ 2147483647 h 308"/>
                <a:gd name="T36" fmla="*/ 2147483647 w 292"/>
                <a:gd name="T37" fmla="*/ 2147483647 h 308"/>
                <a:gd name="T38" fmla="*/ 2147483647 w 292"/>
                <a:gd name="T39" fmla="*/ 2147483647 h 308"/>
                <a:gd name="T40" fmla="*/ 2147483647 w 292"/>
                <a:gd name="T41" fmla="*/ 2147483647 h 308"/>
                <a:gd name="T42" fmla="*/ 2147483647 w 292"/>
                <a:gd name="T43" fmla="*/ 2147483647 h 308"/>
                <a:gd name="T44" fmla="*/ 2147483647 w 292"/>
                <a:gd name="T45" fmla="*/ 2147483647 h 308"/>
                <a:gd name="T46" fmla="*/ 2147483647 w 292"/>
                <a:gd name="T47" fmla="*/ 2147483647 h 308"/>
                <a:gd name="T48" fmla="*/ 2147483647 w 292"/>
                <a:gd name="T49" fmla="*/ 2147483647 h 308"/>
                <a:gd name="T50" fmla="*/ 2147483647 w 292"/>
                <a:gd name="T51" fmla="*/ 2147483647 h 308"/>
                <a:gd name="T52" fmla="*/ 2147483647 w 292"/>
                <a:gd name="T53" fmla="*/ 2147483647 h 308"/>
                <a:gd name="T54" fmla="*/ 2147483647 w 292"/>
                <a:gd name="T55" fmla="*/ 2147483647 h 308"/>
                <a:gd name="T56" fmla="*/ 2147483647 w 292"/>
                <a:gd name="T57" fmla="*/ 2147483647 h 308"/>
                <a:gd name="T58" fmla="*/ 2147483647 w 292"/>
                <a:gd name="T59" fmla="*/ 2147483647 h 308"/>
                <a:gd name="T60" fmla="*/ 2147483647 w 292"/>
                <a:gd name="T61" fmla="*/ 2147483647 h 308"/>
                <a:gd name="T62" fmla="*/ 2147483647 w 292"/>
                <a:gd name="T63" fmla="*/ 2147483647 h 308"/>
                <a:gd name="T64" fmla="*/ 2147483647 w 292"/>
                <a:gd name="T65" fmla="*/ 2147483647 h 308"/>
                <a:gd name="T66" fmla="*/ 2147483647 w 292"/>
                <a:gd name="T67" fmla="*/ 2147483647 h 308"/>
                <a:gd name="T68" fmla="*/ 2147483647 w 292"/>
                <a:gd name="T69" fmla="*/ 2147483647 h 308"/>
                <a:gd name="T70" fmla="*/ 2147483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92"/>
                <a:gd name="T109" fmla="*/ 0 h 308"/>
                <a:gd name="T110" fmla="*/ 292 w 292"/>
                <a:gd name="T111" fmla="*/ 308 h 30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0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7" name="Freeform 448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5463354" y="3231140"/>
              <a:ext cx="176465" cy="318594"/>
            </a:xfrm>
            <a:custGeom>
              <a:avLst/>
              <a:gdLst>
                <a:gd name="T0" fmla="*/ 2147483647 w 453"/>
                <a:gd name="T1" fmla="*/ 2147483647 h 661"/>
                <a:gd name="T2" fmla="*/ 2147483647 w 453"/>
                <a:gd name="T3" fmla="*/ 2147483647 h 661"/>
                <a:gd name="T4" fmla="*/ 2147483647 w 453"/>
                <a:gd name="T5" fmla="*/ 2147483647 h 661"/>
                <a:gd name="T6" fmla="*/ 2147483647 w 453"/>
                <a:gd name="T7" fmla="*/ 2147483647 h 661"/>
                <a:gd name="T8" fmla="*/ 2147483647 w 453"/>
                <a:gd name="T9" fmla="*/ 2147483647 h 661"/>
                <a:gd name="T10" fmla="*/ 2147483647 w 453"/>
                <a:gd name="T11" fmla="*/ 2147483647 h 661"/>
                <a:gd name="T12" fmla="*/ 2147483647 w 453"/>
                <a:gd name="T13" fmla="*/ 2147483647 h 661"/>
                <a:gd name="T14" fmla="*/ 2147483647 w 453"/>
                <a:gd name="T15" fmla="*/ 2147483647 h 661"/>
                <a:gd name="T16" fmla="*/ 2147483647 w 453"/>
                <a:gd name="T17" fmla="*/ 2147483647 h 661"/>
                <a:gd name="T18" fmla="*/ 2147483647 w 453"/>
                <a:gd name="T19" fmla="*/ 2147483647 h 661"/>
                <a:gd name="T20" fmla="*/ 2147483647 w 453"/>
                <a:gd name="T21" fmla="*/ 2147483647 h 661"/>
                <a:gd name="T22" fmla="*/ 2147483647 w 453"/>
                <a:gd name="T23" fmla="*/ 2147483647 h 661"/>
                <a:gd name="T24" fmla="*/ 2147483647 w 453"/>
                <a:gd name="T25" fmla="*/ 2147483647 h 661"/>
                <a:gd name="T26" fmla="*/ 2147483647 w 453"/>
                <a:gd name="T27" fmla="*/ 2147483647 h 661"/>
                <a:gd name="T28" fmla="*/ 2147483647 w 453"/>
                <a:gd name="T29" fmla="*/ 2147483647 h 661"/>
                <a:gd name="T30" fmla="*/ 2147483647 w 453"/>
                <a:gd name="T31" fmla="*/ 2147483647 h 661"/>
                <a:gd name="T32" fmla="*/ 2147483647 w 453"/>
                <a:gd name="T33" fmla="*/ 2147483647 h 661"/>
                <a:gd name="T34" fmla="*/ 2147483647 w 453"/>
                <a:gd name="T35" fmla="*/ 2147483647 h 661"/>
                <a:gd name="T36" fmla="*/ 2147483647 w 453"/>
                <a:gd name="T37" fmla="*/ 2147483647 h 661"/>
                <a:gd name="T38" fmla="*/ 2147483647 w 453"/>
                <a:gd name="T39" fmla="*/ 2147483647 h 661"/>
                <a:gd name="T40" fmla="*/ 2147483647 w 453"/>
                <a:gd name="T41" fmla="*/ 2147483647 h 661"/>
                <a:gd name="T42" fmla="*/ 2147483647 w 453"/>
                <a:gd name="T43" fmla="*/ 2147483647 h 661"/>
                <a:gd name="T44" fmla="*/ 2147483647 w 453"/>
                <a:gd name="T45" fmla="*/ 2147483647 h 661"/>
                <a:gd name="T46" fmla="*/ 2147483647 w 453"/>
                <a:gd name="T47" fmla="*/ 2147483647 h 661"/>
                <a:gd name="T48" fmla="*/ 2147483647 w 453"/>
                <a:gd name="T49" fmla="*/ 2147483647 h 661"/>
                <a:gd name="T50" fmla="*/ 2147483647 w 453"/>
                <a:gd name="T51" fmla="*/ 2147483647 h 661"/>
                <a:gd name="T52" fmla="*/ 2147483647 w 453"/>
                <a:gd name="T53" fmla="*/ 2147483647 h 661"/>
                <a:gd name="T54" fmla="*/ 2147483647 w 453"/>
                <a:gd name="T55" fmla="*/ 2147483647 h 661"/>
                <a:gd name="T56" fmla="*/ 2147483647 w 453"/>
                <a:gd name="T57" fmla="*/ 2147483647 h 661"/>
                <a:gd name="T58" fmla="*/ 2147483647 w 453"/>
                <a:gd name="T59" fmla="*/ 2147483647 h 661"/>
                <a:gd name="T60" fmla="*/ 2147483647 w 453"/>
                <a:gd name="T61" fmla="*/ 2147483647 h 661"/>
                <a:gd name="T62" fmla="*/ 2147483647 w 453"/>
                <a:gd name="T63" fmla="*/ 2147483647 h 661"/>
                <a:gd name="T64" fmla="*/ 2147483647 w 453"/>
                <a:gd name="T65" fmla="*/ 2147483647 h 661"/>
                <a:gd name="T66" fmla="*/ 2147483647 w 453"/>
                <a:gd name="T67" fmla="*/ 2147483647 h 661"/>
                <a:gd name="T68" fmla="*/ 2147483647 w 453"/>
                <a:gd name="T69" fmla="*/ 2147483647 h 661"/>
                <a:gd name="T70" fmla="*/ 2147483647 w 453"/>
                <a:gd name="T71" fmla="*/ 2147483647 h 661"/>
                <a:gd name="T72" fmla="*/ 2147483647 w 453"/>
                <a:gd name="T73" fmla="*/ 2147483647 h 661"/>
                <a:gd name="T74" fmla="*/ 2147483647 w 453"/>
                <a:gd name="T75" fmla="*/ 2147483647 h 661"/>
                <a:gd name="T76" fmla="*/ 2147483647 w 453"/>
                <a:gd name="T77" fmla="*/ 2147483647 h 661"/>
                <a:gd name="T78" fmla="*/ 2147483647 w 453"/>
                <a:gd name="T79" fmla="*/ 2147483647 h 661"/>
                <a:gd name="T80" fmla="*/ 2147483647 w 453"/>
                <a:gd name="T81" fmla="*/ 2147483647 h 661"/>
                <a:gd name="T82" fmla="*/ 2147483647 w 453"/>
                <a:gd name="T83" fmla="*/ 2147483647 h 661"/>
                <a:gd name="T84" fmla="*/ 2147483647 w 453"/>
                <a:gd name="T85" fmla="*/ 2147483647 h 661"/>
                <a:gd name="T86" fmla="*/ 2147483647 w 453"/>
                <a:gd name="T87" fmla="*/ 2147483647 h 661"/>
                <a:gd name="T88" fmla="*/ 2147483647 w 453"/>
                <a:gd name="T89" fmla="*/ 2147483647 h 661"/>
                <a:gd name="T90" fmla="*/ 2147483647 w 453"/>
                <a:gd name="T91" fmla="*/ 2147483647 h 661"/>
                <a:gd name="T92" fmla="*/ 2147483647 w 453"/>
                <a:gd name="T93" fmla="*/ 2147483647 h 661"/>
                <a:gd name="T94" fmla="*/ 2147483647 w 453"/>
                <a:gd name="T95" fmla="*/ 2147483647 h 661"/>
                <a:gd name="T96" fmla="*/ 2147483647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53"/>
                <a:gd name="T148" fmla="*/ 0 h 661"/>
                <a:gd name="T149" fmla="*/ 453 w 453"/>
                <a:gd name="T150" fmla="*/ 661 h 66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0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8" name="Freeform 450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3464391" y="3251414"/>
              <a:ext cx="271928" cy="477891"/>
            </a:xfrm>
            <a:custGeom>
              <a:avLst/>
              <a:gdLst>
                <a:gd name="T0" fmla="*/ 2147483647 w 684"/>
                <a:gd name="T1" fmla="*/ 2147483647 h 998"/>
                <a:gd name="T2" fmla="*/ 2147483647 w 684"/>
                <a:gd name="T3" fmla="*/ 2147483647 h 998"/>
                <a:gd name="T4" fmla="*/ 2147483647 w 684"/>
                <a:gd name="T5" fmla="*/ 2147483647 h 998"/>
                <a:gd name="T6" fmla="*/ 2147483647 w 684"/>
                <a:gd name="T7" fmla="*/ 2147483647 h 998"/>
                <a:gd name="T8" fmla="*/ 2147483647 w 684"/>
                <a:gd name="T9" fmla="*/ 2147483647 h 998"/>
                <a:gd name="T10" fmla="*/ 2147483647 w 684"/>
                <a:gd name="T11" fmla="*/ 2147483647 h 998"/>
                <a:gd name="T12" fmla="*/ 2147483647 w 684"/>
                <a:gd name="T13" fmla="*/ 2147483647 h 998"/>
                <a:gd name="T14" fmla="*/ 2147483647 w 684"/>
                <a:gd name="T15" fmla="*/ 2147483647 h 998"/>
                <a:gd name="T16" fmla="*/ 2147483647 w 684"/>
                <a:gd name="T17" fmla="*/ 2147483647 h 998"/>
                <a:gd name="T18" fmla="*/ 2147483647 w 684"/>
                <a:gd name="T19" fmla="*/ 2147483647 h 998"/>
                <a:gd name="T20" fmla="*/ 2147483647 w 684"/>
                <a:gd name="T21" fmla="*/ 2147483647 h 998"/>
                <a:gd name="T22" fmla="*/ 2147483647 w 684"/>
                <a:gd name="T23" fmla="*/ 2147483647 h 998"/>
                <a:gd name="T24" fmla="*/ 2147483647 w 684"/>
                <a:gd name="T25" fmla="*/ 2147483647 h 998"/>
                <a:gd name="T26" fmla="*/ 2147483647 w 684"/>
                <a:gd name="T27" fmla="*/ 2147483647 h 998"/>
                <a:gd name="T28" fmla="*/ 2147483647 w 684"/>
                <a:gd name="T29" fmla="*/ 2147483647 h 998"/>
                <a:gd name="T30" fmla="*/ 2147483647 w 684"/>
                <a:gd name="T31" fmla="*/ 2147483647 h 998"/>
                <a:gd name="T32" fmla="*/ 2147483647 w 684"/>
                <a:gd name="T33" fmla="*/ 2147483647 h 998"/>
                <a:gd name="T34" fmla="*/ 2147483647 w 684"/>
                <a:gd name="T35" fmla="*/ 2147483647 h 998"/>
                <a:gd name="T36" fmla="*/ 2147483647 w 684"/>
                <a:gd name="T37" fmla="*/ 2147483647 h 998"/>
                <a:gd name="T38" fmla="*/ 2147483647 w 684"/>
                <a:gd name="T39" fmla="*/ 2147483647 h 998"/>
                <a:gd name="T40" fmla="*/ 2147483647 w 684"/>
                <a:gd name="T41" fmla="*/ 2147483647 h 998"/>
                <a:gd name="T42" fmla="*/ 2147483647 w 684"/>
                <a:gd name="T43" fmla="*/ 2147483647 h 998"/>
                <a:gd name="T44" fmla="*/ 2147483647 w 684"/>
                <a:gd name="T45" fmla="*/ 2147483647 h 998"/>
                <a:gd name="T46" fmla="*/ 2147483647 w 684"/>
                <a:gd name="T47" fmla="*/ 2147483647 h 998"/>
                <a:gd name="T48" fmla="*/ 2147483647 w 684"/>
                <a:gd name="T49" fmla="*/ 2147483647 h 998"/>
                <a:gd name="T50" fmla="*/ 2147483647 w 684"/>
                <a:gd name="T51" fmla="*/ 2147483647 h 998"/>
                <a:gd name="T52" fmla="*/ 2147483647 w 684"/>
                <a:gd name="T53" fmla="*/ 2147483647 h 998"/>
                <a:gd name="T54" fmla="*/ 2147483647 w 684"/>
                <a:gd name="T55" fmla="*/ 2147483647 h 998"/>
                <a:gd name="T56" fmla="*/ 2147483647 w 684"/>
                <a:gd name="T57" fmla="*/ 2147483647 h 998"/>
                <a:gd name="T58" fmla="*/ 2147483647 w 684"/>
                <a:gd name="T59" fmla="*/ 2147483647 h 998"/>
                <a:gd name="T60" fmla="*/ 2147483647 w 684"/>
                <a:gd name="T61" fmla="*/ 2147483647 h 998"/>
                <a:gd name="T62" fmla="*/ 2147483647 w 684"/>
                <a:gd name="T63" fmla="*/ 2147483647 h 998"/>
                <a:gd name="T64" fmla="*/ 2147483647 w 684"/>
                <a:gd name="T65" fmla="*/ 2147483647 h 998"/>
                <a:gd name="T66" fmla="*/ 2147483647 w 684"/>
                <a:gd name="T67" fmla="*/ 2147483647 h 998"/>
                <a:gd name="T68" fmla="*/ 2147483647 w 684"/>
                <a:gd name="T69" fmla="*/ 2147483647 h 998"/>
                <a:gd name="T70" fmla="*/ 2147483647 w 684"/>
                <a:gd name="T71" fmla="*/ 2147483647 h 998"/>
                <a:gd name="T72" fmla="*/ 2147483647 w 684"/>
                <a:gd name="T73" fmla="*/ 2147483647 h 998"/>
                <a:gd name="T74" fmla="*/ 2147483647 w 684"/>
                <a:gd name="T75" fmla="*/ 2147483647 h 998"/>
                <a:gd name="T76" fmla="*/ 2147483647 w 684"/>
                <a:gd name="T77" fmla="*/ 2147483647 h 998"/>
                <a:gd name="T78" fmla="*/ 2147483647 w 684"/>
                <a:gd name="T79" fmla="*/ 2147483647 h 998"/>
                <a:gd name="T80" fmla="*/ 2147483647 w 684"/>
                <a:gd name="T81" fmla="*/ 2147483647 h 998"/>
                <a:gd name="T82" fmla="*/ 2147483647 w 684"/>
                <a:gd name="T83" fmla="*/ 2147483647 h 998"/>
                <a:gd name="T84" fmla="*/ 2147483647 w 684"/>
                <a:gd name="T85" fmla="*/ 2147483647 h 998"/>
                <a:gd name="T86" fmla="*/ 2147483647 w 684"/>
                <a:gd name="T87" fmla="*/ 2147483647 h 998"/>
                <a:gd name="T88" fmla="*/ 2147483647 w 684"/>
                <a:gd name="T89" fmla="*/ 2147483647 h 998"/>
                <a:gd name="T90" fmla="*/ 2147483647 w 684"/>
                <a:gd name="T91" fmla="*/ 2147483647 h 998"/>
                <a:gd name="T92" fmla="*/ 2147483647 w 684"/>
                <a:gd name="T93" fmla="*/ 2147483647 h 998"/>
                <a:gd name="T94" fmla="*/ 2147483647 w 684"/>
                <a:gd name="T95" fmla="*/ 2147483647 h 998"/>
                <a:gd name="T96" fmla="*/ 2147483647 w 684"/>
                <a:gd name="T97" fmla="*/ 2147483647 h 998"/>
                <a:gd name="T98" fmla="*/ 2147483647 w 684"/>
                <a:gd name="T99" fmla="*/ 2147483647 h 998"/>
                <a:gd name="T100" fmla="*/ 2147483647 w 684"/>
                <a:gd name="T101" fmla="*/ 2147483647 h 998"/>
                <a:gd name="T102" fmla="*/ 2147483647 w 684"/>
                <a:gd name="T103" fmla="*/ 2147483647 h 998"/>
                <a:gd name="T104" fmla="*/ 2147483647 w 684"/>
                <a:gd name="T105" fmla="*/ 2147483647 h 998"/>
                <a:gd name="T106" fmla="*/ 2147483647 w 684"/>
                <a:gd name="T107" fmla="*/ 2147483647 h 998"/>
                <a:gd name="T108" fmla="*/ 2147483647 w 684"/>
                <a:gd name="T109" fmla="*/ 2147483647 h 998"/>
                <a:gd name="T110" fmla="*/ 2147483647 w 684"/>
                <a:gd name="T111" fmla="*/ 2147483647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84"/>
                <a:gd name="T169" fmla="*/ 0 h 998"/>
                <a:gd name="T170" fmla="*/ 684 w 684"/>
                <a:gd name="T171" fmla="*/ 998 h 99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pattFill prst="wdUpDiag">
              <a:fgClr>
                <a:srgbClr val="AAC25E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9" name="Freeform 464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6785391" y="2566438"/>
              <a:ext cx="630643" cy="797933"/>
            </a:xfrm>
            <a:custGeom>
              <a:avLst/>
              <a:gdLst>
                <a:gd name="T0" fmla="*/ 2147483647 w 1594"/>
                <a:gd name="T1" fmla="*/ 2147483647 h 1670"/>
                <a:gd name="T2" fmla="*/ 2147483647 w 1594"/>
                <a:gd name="T3" fmla="*/ 2147483647 h 1670"/>
                <a:gd name="T4" fmla="*/ 2147483647 w 1594"/>
                <a:gd name="T5" fmla="*/ 2147483647 h 1670"/>
                <a:gd name="T6" fmla="*/ 2147483647 w 1594"/>
                <a:gd name="T7" fmla="*/ 2147483647 h 1670"/>
                <a:gd name="T8" fmla="*/ 2147483647 w 1594"/>
                <a:gd name="T9" fmla="*/ 2147483647 h 1670"/>
                <a:gd name="T10" fmla="*/ 2147483647 w 1594"/>
                <a:gd name="T11" fmla="*/ 2147483647 h 1670"/>
                <a:gd name="T12" fmla="*/ 2147483647 w 1594"/>
                <a:gd name="T13" fmla="*/ 2147483647 h 1670"/>
                <a:gd name="T14" fmla="*/ 2147483647 w 1594"/>
                <a:gd name="T15" fmla="*/ 2147483647 h 1670"/>
                <a:gd name="T16" fmla="*/ 2147483647 w 1594"/>
                <a:gd name="T17" fmla="*/ 2147483647 h 1670"/>
                <a:gd name="T18" fmla="*/ 2147483647 w 1594"/>
                <a:gd name="T19" fmla="*/ 2147483647 h 1670"/>
                <a:gd name="T20" fmla="*/ 2147483647 w 1594"/>
                <a:gd name="T21" fmla="*/ 2147483647 h 1670"/>
                <a:gd name="T22" fmla="*/ 2147483647 w 1594"/>
                <a:gd name="T23" fmla="*/ 2147483647 h 1670"/>
                <a:gd name="T24" fmla="*/ 2147483647 w 1594"/>
                <a:gd name="T25" fmla="*/ 2147483647 h 1670"/>
                <a:gd name="T26" fmla="*/ 2147483647 w 1594"/>
                <a:gd name="T27" fmla="*/ 2147483647 h 1670"/>
                <a:gd name="T28" fmla="*/ 2147483647 w 1594"/>
                <a:gd name="T29" fmla="*/ 2147483647 h 1670"/>
                <a:gd name="T30" fmla="*/ 2147483647 w 1594"/>
                <a:gd name="T31" fmla="*/ 2147483647 h 1670"/>
                <a:gd name="T32" fmla="*/ 2147483647 w 1594"/>
                <a:gd name="T33" fmla="*/ 2147483647 h 1670"/>
                <a:gd name="T34" fmla="*/ 2147483647 w 1594"/>
                <a:gd name="T35" fmla="*/ 2147483647 h 1670"/>
                <a:gd name="T36" fmla="*/ 2147483647 w 1594"/>
                <a:gd name="T37" fmla="*/ 2147483647 h 1670"/>
                <a:gd name="T38" fmla="*/ 2147483647 w 1594"/>
                <a:gd name="T39" fmla="*/ 2147483647 h 1670"/>
                <a:gd name="T40" fmla="*/ 2147483647 w 1594"/>
                <a:gd name="T41" fmla="*/ 2147483647 h 1670"/>
                <a:gd name="T42" fmla="*/ 2147483647 w 1594"/>
                <a:gd name="T43" fmla="*/ 2147483647 h 1670"/>
                <a:gd name="T44" fmla="*/ 2147483647 w 1594"/>
                <a:gd name="T45" fmla="*/ 2147483647 h 1670"/>
                <a:gd name="T46" fmla="*/ 2147483647 w 1594"/>
                <a:gd name="T47" fmla="*/ 2147483647 h 1670"/>
                <a:gd name="T48" fmla="*/ 2147483647 w 1594"/>
                <a:gd name="T49" fmla="*/ 2147483647 h 1670"/>
                <a:gd name="T50" fmla="*/ 2147483647 w 1594"/>
                <a:gd name="T51" fmla="*/ 2147483647 h 1670"/>
                <a:gd name="T52" fmla="*/ 2147483647 w 1594"/>
                <a:gd name="T53" fmla="*/ 2147483647 h 1670"/>
                <a:gd name="T54" fmla="*/ 2147483647 w 1594"/>
                <a:gd name="T55" fmla="*/ 2147483647 h 1670"/>
                <a:gd name="T56" fmla="*/ 2147483647 w 1594"/>
                <a:gd name="T57" fmla="*/ 2147483647 h 1670"/>
                <a:gd name="T58" fmla="*/ 2147483647 w 1594"/>
                <a:gd name="T59" fmla="*/ 2147483647 h 1670"/>
                <a:gd name="T60" fmla="*/ 2147483647 w 1594"/>
                <a:gd name="T61" fmla="*/ 2147483647 h 1670"/>
                <a:gd name="T62" fmla="*/ 2147483647 w 1594"/>
                <a:gd name="T63" fmla="*/ 2147483647 h 1670"/>
                <a:gd name="T64" fmla="*/ 2147483647 w 1594"/>
                <a:gd name="T65" fmla="*/ 2147483647 h 1670"/>
                <a:gd name="T66" fmla="*/ 2147483647 w 1594"/>
                <a:gd name="T67" fmla="*/ 2147483647 h 1670"/>
                <a:gd name="T68" fmla="*/ 2147483647 w 1594"/>
                <a:gd name="T69" fmla="*/ 2147483647 h 1670"/>
                <a:gd name="T70" fmla="*/ 2147483647 w 1594"/>
                <a:gd name="T71" fmla="*/ 2147483647 h 1670"/>
                <a:gd name="T72" fmla="*/ 2147483647 w 1594"/>
                <a:gd name="T73" fmla="*/ 2147483647 h 1670"/>
                <a:gd name="T74" fmla="*/ 2147483647 w 1594"/>
                <a:gd name="T75" fmla="*/ 2147483647 h 1670"/>
                <a:gd name="T76" fmla="*/ 2147483647 w 1594"/>
                <a:gd name="T77" fmla="*/ 2147483647 h 1670"/>
                <a:gd name="T78" fmla="*/ 2147483647 w 1594"/>
                <a:gd name="T79" fmla="*/ 2147483647 h 1670"/>
                <a:gd name="T80" fmla="*/ 2147483647 w 1594"/>
                <a:gd name="T81" fmla="*/ 2147483647 h 1670"/>
                <a:gd name="T82" fmla="*/ 2147483647 w 1594"/>
                <a:gd name="T83" fmla="*/ 2147483647 h 1670"/>
                <a:gd name="T84" fmla="*/ 2147483647 w 1594"/>
                <a:gd name="T85" fmla="*/ 2147483647 h 1670"/>
                <a:gd name="T86" fmla="*/ 2147483647 w 1594"/>
                <a:gd name="T87" fmla="*/ 2147483647 h 1670"/>
                <a:gd name="T88" fmla="*/ 2147483647 w 1594"/>
                <a:gd name="T89" fmla="*/ 2147483647 h 1670"/>
                <a:gd name="T90" fmla="*/ 2147483647 w 1594"/>
                <a:gd name="T91" fmla="*/ 2147483647 h 1670"/>
                <a:gd name="T92" fmla="*/ 2147483647 w 1594"/>
                <a:gd name="T93" fmla="*/ 2147483647 h 1670"/>
                <a:gd name="T94" fmla="*/ 2147483647 w 1594"/>
                <a:gd name="T95" fmla="*/ 2147483647 h 1670"/>
                <a:gd name="T96" fmla="*/ 2147483647 w 1594"/>
                <a:gd name="T97" fmla="*/ 2147483647 h 1670"/>
                <a:gd name="T98" fmla="*/ 2147483647 w 1594"/>
                <a:gd name="T99" fmla="*/ 2147483647 h 1670"/>
                <a:gd name="T100" fmla="*/ 2147483647 w 1594"/>
                <a:gd name="T101" fmla="*/ 2147483647 h 1670"/>
                <a:gd name="T102" fmla="*/ 2147483647 w 1594"/>
                <a:gd name="T103" fmla="*/ 2147483647 h 1670"/>
                <a:gd name="T104" fmla="*/ 2147483647 w 1594"/>
                <a:gd name="T105" fmla="*/ 2147483647 h 1670"/>
                <a:gd name="T106" fmla="*/ 2147483647 w 1594"/>
                <a:gd name="T107" fmla="*/ 2147483647 h 1670"/>
                <a:gd name="T108" fmla="*/ 2147483647 w 1594"/>
                <a:gd name="T109" fmla="*/ 2147483647 h 1670"/>
                <a:gd name="T110" fmla="*/ 2147483647 w 1594"/>
                <a:gd name="T111" fmla="*/ 2147483647 h 1670"/>
                <a:gd name="T112" fmla="*/ 2147483647 w 1594"/>
                <a:gd name="T113" fmla="*/ 2147483647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594"/>
                <a:gd name="T172" fmla="*/ 0 h 1670"/>
                <a:gd name="T173" fmla="*/ 1594 w 1594"/>
                <a:gd name="T174" fmla="*/ 1670 h 167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pattFill prst="wdUpDiag">
              <a:fgClr>
                <a:srgbClr val="AAC25E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0" name="Freeform 466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6047711" y="3470085"/>
              <a:ext cx="175019" cy="247635"/>
            </a:xfrm>
            <a:custGeom>
              <a:avLst/>
              <a:gdLst>
                <a:gd name="T0" fmla="*/ 2147483647 w 449"/>
                <a:gd name="T1" fmla="*/ 2147483647 h 523"/>
                <a:gd name="T2" fmla="*/ 2147483647 w 449"/>
                <a:gd name="T3" fmla="*/ 2147483647 h 523"/>
                <a:gd name="T4" fmla="*/ 2147483647 w 449"/>
                <a:gd name="T5" fmla="*/ 2147483647 h 523"/>
                <a:gd name="T6" fmla="*/ 2147483647 w 449"/>
                <a:gd name="T7" fmla="*/ 2147483647 h 523"/>
                <a:gd name="T8" fmla="*/ 2147483647 w 449"/>
                <a:gd name="T9" fmla="*/ 2147483647 h 523"/>
                <a:gd name="T10" fmla="*/ 2147483647 w 449"/>
                <a:gd name="T11" fmla="*/ 2147483647 h 523"/>
                <a:gd name="T12" fmla="*/ 2147483647 w 449"/>
                <a:gd name="T13" fmla="*/ 2147483647 h 523"/>
                <a:gd name="T14" fmla="*/ 2147483647 w 449"/>
                <a:gd name="T15" fmla="*/ 2147483647 h 523"/>
                <a:gd name="T16" fmla="*/ 2147483647 w 449"/>
                <a:gd name="T17" fmla="*/ 2147483647 h 523"/>
                <a:gd name="T18" fmla="*/ 2147483647 w 449"/>
                <a:gd name="T19" fmla="*/ 2147483647 h 523"/>
                <a:gd name="T20" fmla="*/ 2147483647 w 449"/>
                <a:gd name="T21" fmla="*/ 2147483647 h 523"/>
                <a:gd name="T22" fmla="*/ 2147483647 w 449"/>
                <a:gd name="T23" fmla="*/ 2147483647 h 523"/>
                <a:gd name="T24" fmla="*/ 2147483647 w 449"/>
                <a:gd name="T25" fmla="*/ 2147483647 h 523"/>
                <a:gd name="T26" fmla="*/ 2147483647 w 449"/>
                <a:gd name="T27" fmla="*/ 2147483647 h 523"/>
                <a:gd name="T28" fmla="*/ 2147483647 w 449"/>
                <a:gd name="T29" fmla="*/ 2147483647 h 523"/>
                <a:gd name="T30" fmla="*/ 2147483647 w 449"/>
                <a:gd name="T31" fmla="*/ 2147483647 h 523"/>
                <a:gd name="T32" fmla="*/ 2147483647 w 449"/>
                <a:gd name="T33" fmla="*/ 2147483647 h 523"/>
                <a:gd name="T34" fmla="*/ 2147483647 w 449"/>
                <a:gd name="T35" fmla="*/ 2147483647 h 523"/>
                <a:gd name="T36" fmla="*/ 2147483647 w 449"/>
                <a:gd name="T37" fmla="*/ 2147483647 h 523"/>
                <a:gd name="T38" fmla="*/ 2147483647 w 449"/>
                <a:gd name="T39" fmla="*/ 2147483647 h 523"/>
                <a:gd name="T40" fmla="*/ 2147483647 w 449"/>
                <a:gd name="T41" fmla="*/ 2147483647 h 523"/>
                <a:gd name="T42" fmla="*/ 2147483647 w 449"/>
                <a:gd name="T43" fmla="*/ 2147483647 h 523"/>
                <a:gd name="T44" fmla="*/ 2147483647 w 449"/>
                <a:gd name="T45" fmla="*/ 2147483647 h 523"/>
                <a:gd name="T46" fmla="*/ 2147483647 w 449"/>
                <a:gd name="T47" fmla="*/ 2147483647 h 523"/>
                <a:gd name="T48" fmla="*/ 2147483647 w 449"/>
                <a:gd name="T49" fmla="*/ 2147483647 h 523"/>
                <a:gd name="T50" fmla="*/ 2147483647 w 449"/>
                <a:gd name="T51" fmla="*/ 0 h 523"/>
                <a:gd name="T52" fmla="*/ 2147483647 w 449"/>
                <a:gd name="T53" fmla="*/ 0 h 523"/>
                <a:gd name="T54" fmla="*/ 2147483647 w 449"/>
                <a:gd name="T55" fmla="*/ 0 h 523"/>
                <a:gd name="T56" fmla="*/ 2147483647 w 449"/>
                <a:gd name="T57" fmla="*/ 2147483647 h 523"/>
                <a:gd name="T58" fmla="*/ 2147483647 w 449"/>
                <a:gd name="T59" fmla="*/ 2147483647 h 523"/>
                <a:gd name="T60" fmla="*/ 2147483647 w 449"/>
                <a:gd name="T61" fmla="*/ 2147483647 h 523"/>
                <a:gd name="T62" fmla="*/ 2147483647 w 449"/>
                <a:gd name="T63" fmla="*/ 2147483647 h 523"/>
                <a:gd name="T64" fmla="*/ 2147483647 w 449"/>
                <a:gd name="T65" fmla="*/ 2147483647 h 523"/>
                <a:gd name="T66" fmla="*/ 2147483647 w 449"/>
                <a:gd name="T67" fmla="*/ 2147483647 h 523"/>
                <a:gd name="T68" fmla="*/ 2147483647 w 449"/>
                <a:gd name="T69" fmla="*/ 2147483647 h 523"/>
                <a:gd name="T70" fmla="*/ 2147483647 w 449"/>
                <a:gd name="T71" fmla="*/ 2147483647 h 523"/>
                <a:gd name="T72" fmla="*/ 2147483647 w 449"/>
                <a:gd name="T73" fmla="*/ 2147483647 h 523"/>
                <a:gd name="T74" fmla="*/ 2147483647 w 449"/>
                <a:gd name="T75" fmla="*/ 2147483647 h 523"/>
                <a:gd name="T76" fmla="*/ 2147483647 w 449"/>
                <a:gd name="T77" fmla="*/ 2147483647 h 523"/>
                <a:gd name="T78" fmla="*/ 2147483647 w 449"/>
                <a:gd name="T79" fmla="*/ 2147483647 h 523"/>
                <a:gd name="T80" fmla="*/ 2147483647 w 449"/>
                <a:gd name="T81" fmla="*/ 2147483647 h 523"/>
                <a:gd name="T82" fmla="*/ 2147483647 w 449"/>
                <a:gd name="T83" fmla="*/ 2147483647 h 523"/>
                <a:gd name="T84" fmla="*/ 2147483647 w 449"/>
                <a:gd name="T85" fmla="*/ 2147483647 h 523"/>
                <a:gd name="T86" fmla="*/ 2147483647 w 449"/>
                <a:gd name="T87" fmla="*/ 2147483647 h 523"/>
                <a:gd name="T88" fmla="*/ 2147483647 w 449"/>
                <a:gd name="T89" fmla="*/ 2147483647 h 523"/>
                <a:gd name="T90" fmla="*/ 2147483647 w 449"/>
                <a:gd name="T91" fmla="*/ 2147483647 h 523"/>
                <a:gd name="T92" fmla="*/ 2147483647 w 449"/>
                <a:gd name="T93" fmla="*/ 2147483647 h 523"/>
                <a:gd name="T94" fmla="*/ 2147483647 w 449"/>
                <a:gd name="T95" fmla="*/ 2147483647 h 523"/>
                <a:gd name="T96" fmla="*/ 2147483647 w 449"/>
                <a:gd name="T97" fmla="*/ 2147483647 h 523"/>
                <a:gd name="T98" fmla="*/ 2147483647 w 449"/>
                <a:gd name="T99" fmla="*/ 2147483647 h 523"/>
                <a:gd name="T100" fmla="*/ 2147483647 w 449"/>
                <a:gd name="T101" fmla="*/ 2147483647 h 523"/>
                <a:gd name="T102" fmla="*/ 2147483647 w 449"/>
                <a:gd name="T103" fmla="*/ 2147483647 h 523"/>
                <a:gd name="T104" fmla="*/ 2147483647 w 449"/>
                <a:gd name="T105" fmla="*/ 2147483647 h 523"/>
                <a:gd name="T106" fmla="*/ 2147483647 w 449"/>
                <a:gd name="T107" fmla="*/ 2147483647 h 523"/>
                <a:gd name="T108" fmla="*/ 2147483647 w 449"/>
                <a:gd name="T109" fmla="*/ 2147483647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49"/>
                <a:gd name="T166" fmla="*/ 0 h 523"/>
                <a:gd name="T167" fmla="*/ 449 w 449"/>
                <a:gd name="T168" fmla="*/ 523 h 52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C0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1" name="Freeform 471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5861122" y="4433109"/>
              <a:ext cx="56411" cy="52133"/>
            </a:xfrm>
            <a:custGeom>
              <a:avLst/>
              <a:gdLst>
                <a:gd name="T0" fmla="*/ 2147483647 w 135"/>
                <a:gd name="T1" fmla="*/ 2147483647 h 98"/>
                <a:gd name="T2" fmla="*/ 2147483647 w 135"/>
                <a:gd name="T3" fmla="*/ 2147483647 h 98"/>
                <a:gd name="T4" fmla="*/ 2147483647 w 135"/>
                <a:gd name="T5" fmla="*/ 2147483647 h 98"/>
                <a:gd name="T6" fmla="*/ 2147483647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2147483647 h 98"/>
                <a:gd name="T18" fmla="*/ 2147483647 w 135"/>
                <a:gd name="T19" fmla="*/ 2147483647 h 98"/>
                <a:gd name="T20" fmla="*/ 2147483647 w 135"/>
                <a:gd name="T21" fmla="*/ 2147483647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2147483647 h 98"/>
                <a:gd name="T30" fmla="*/ 2147483647 w 135"/>
                <a:gd name="T31" fmla="*/ 2147483647 h 98"/>
                <a:gd name="T32" fmla="*/ 2147483647 w 135"/>
                <a:gd name="T33" fmla="*/ 2147483647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2147483647 w 135"/>
                <a:gd name="T69" fmla="*/ 2147483647 h 98"/>
                <a:gd name="T70" fmla="*/ 2147483647 w 135"/>
                <a:gd name="T71" fmla="*/ 2147483647 h 98"/>
                <a:gd name="T72" fmla="*/ 2147483647 w 135"/>
                <a:gd name="T73" fmla="*/ 2147483647 h 98"/>
                <a:gd name="T74" fmla="*/ 2147483647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2147483647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35"/>
                <a:gd name="T124" fmla="*/ 0 h 98"/>
                <a:gd name="T125" fmla="*/ 135 w 135"/>
                <a:gd name="T126" fmla="*/ 98 h 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0070C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2" name="Freeform 479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4871765" y="3116735"/>
              <a:ext cx="147536" cy="128886"/>
            </a:xfrm>
            <a:custGeom>
              <a:avLst/>
              <a:gdLst>
                <a:gd name="T0" fmla="*/ 2147483647 w 365"/>
                <a:gd name="T1" fmla="*/ 2147483647 h 271"/>
                <a:gd name="T2" fmla="*/ 2147483647 w 365"/>
                <a:gd name="T3" fmla="*/ 2147483647 h 271"/>
                <a:gd name="T4" fmla="*/ 2147483647 w 365"/>
                <a:gd name="T5" fmla="*/ 2147483647 h 271"/>
                <a:gd name="T6" fmla="*/ 2147483647 w 365"/>
                <a:gd name="T7" fmla="*/ 2147483647 h 271"/>
                <a:gd name="T8" fmla="*/ 2147483647 w 365"/>
                <a:gd name="T9" fmla="*/ 2147483647 h 271"/>
                <a:gd name="T10" fmla="*/ 2147483647 w 365"/>
                <a:gd name="T11" fmla="*/ 2147483647 h 271"/>
                <a:gd name="T12" fmla="*/ 2147483647 w 365"/>
                <a:gd name="T13" fmla="*/ 2147483647 h 271"/>
                <a:gd name="T14" fmla="*/ 2147483647 w 365"/>
                <a:gd name="T15" fmla="*/ 2147483647 h 271"/>
                <a:gd name="T16" fmla="*/ 2147483647 w 365"/>
                <a:gd name="T17" fmla="*/ 2147483647 h 271"/>
                <a:gd name="T18" fmla="*/ 2147483647 w 365"/>
                <a:gd name="T19" fmla="*/ 2147483647 h 271"/>
                <a:gd name="T20" fmla="*/ 2147483647 w 365"/>
                <a:gd name="T21" fmla="*/ 2147483647 h 271"/>
                <a:gd name="T22" fmla="*/ 2147483647 w 365"/>
                <a:gd name="T23" fmla="*/ 2147483647 h 271"/>
                <a:gd name="T24" fmla="*/ 2147483647 w 365"/>
                <a:gd name="T25" fmla="*/ 2147483647 h 271"/>
                <a:gd name="T26" fmla="*/ 2147483647 w 365"/>
                <a:gd name="T27" fmla="*/ 2147483647 h 271"/>
                <a:gd name="T28" fmla="*/ 2147483647 w 365"/>
                <a:gd name="T29" fmla="*/ 2147483647 h 271"/>
                <a:gd name="T30" fmla="*/ 2147483647 w 365"/>
                <a:gd name="T31" fmla="*/ 2147483647 h 271"/>
                <a:gd name="T32" fmla="*/ 2147483647 w 365"/>
                <a:gd name="T33" fmla="*/ 2147483647 h 271"/>
                <a:gd name="T34" fmla="*/ 2147483647 w 365"/>
                <a:gd name="T35" fmla="*/ 2147483647 h 271"/>
                <a:gd name="T36" fmla="*/ 2147483647 w 365"/>
                <a:gd name="T37" fmla="*/ 2147483647 h 271"/>
                <a:gd name="T38" fmla="*/ 2147483647 w 365"/>
                <a:gd name="T39" fmla="*/ 2147483647 h 271"/>
                <a:gd name="T40" fmla="*/ 2147483647 w 365"/>
                <a:gd name="T41" fmla="*/ 2147483647 h 271"/>
                <a:gd name="T42" fmla="*/ 2147483647 w 365"/>
                <a:gd name="T43" fmla="*/ 2147483647 h 271"/>
                <a:gd name="T44" fmla="*/ 2147483647 w 365"/>
                <a:gd name="T45" fmla="*/ 2147483647 h 271"/>
                <a:gd name="T46" fmla="*/ 2147483647 w 365"/>
                <a:gd name="T47" fmla="*/ 2147483647 h 271"/>
                <a:gd name="T48" fmla="*/ 2147483647 w 365"/>
                <a:gd name="T49" fmla="*/ 2147483647 h 271"/>
                <a:gd name="T50" fmla="*/ 2147483647 w 365"/>
                <a:gd name="T51" fmla="*/ 2147483647 h 271"/>
                <a:gd name="T52" fmla="*/ 2147483647 w 365"/>
                <a:gd name="T53" fmla="*/ 2147483647 h 271"/>
                <a:gd name="T54" fmla="*/ 2147483647 w 365"/>
                <a:gd name="T55" fmla="*/ 2147483647 h 271"/>
                <a:gd name="T56" fmla="*/ 2147483647 w 365"/>
                <a:gd name="T57" fmla="*/ 2147483647 h 271"/>
                <a:gd name="T58" fmla="*/ 2147483647 w 365"/>
                <a:gd name="T59" fmla="*/ 2147483647 h 271"/>
                <a:gd name="T60" fmla="*/ 2147483647 w 365"/>
                <a:gd name="T61" fmla="*/ 2147483647 h 271"/>
                <a:gd name="T62" fmla="*/ 2147483647 w 365"/>
                <a:gd name="T63" fmla="*/ 2147483647 h 271"/>
                <a:gd name="T64" fmla="*/ 0 w 365"/>
                <a:gd name="T65" fmla="*/ 2147483647 h 271"/>
                <a:gd name="T66" fmla="*/ 2147483647 w 365"/>
                <a:gd name="T67" fmla="*/ 2147483647 h 271"/>
                <a:gd name="T68" fmla="*/ 2147483647 w 365"/>
                <a:gd name="T69" fmla="*/ 2147483647 h 271"/>
                <a:gd name="T70" fmla="*/ 2147483647 w 365"/>
                <a:gd name="T71" fmla="*/ 2147483647 h 271"/>
                <a:gd name="T72" fmla="*/ 2147483647 w 365"/>
                <a:gd name="T73" fmla="*/ 2147483647 h 271"/>
                <a:gd name="T74" fmla="*/ 2147483647 w 365"/>
                <a:gd name="T75" fmla="*/ 2147483647 h 271"/>
                <a:gd name="T76" fmla="*/ 2147483647 w 365"/>
                <a:gd name="T77" fmla="*/ 2147483647 h 271"/>
                <a:gd name="T78" fmla="*/ 2147483647 w 365"/>
                <a:gd name="T79" fmla="*/ 2147483647 h 271"/>
                <a:gd name="T80" fmla="*/ 2147483647 w 365"/>
                <a:gd name="T81" fmla="*/ 2147483647 h 271"/>
                <a:gd name="T82" fmla="*/ 2147483647 w 365"/>
                <a:gd name="T83" fmla="*/ 2147483647 h 271"/>
                <a:gd name="T84" fmla="*/ 2147483647 w 365"/>
                <a:gd name="T85" fmla="*/ 0 h 271"/>
                <a:gd name="T86" fmla="*/ 2147483647 w 365"/>
                <a:gd name="T87" fmla="*/ 2147483647 h 271"/>
                <a:gd name="T88" fmla="*/ 2147483647 w 365"/>
                <a:gd name="T89" fmla="*/ 2147483647 h 271"/>
                <a:gd name="T90" fmla="*/ 2147483647 w 365"/>
                <a:gd name="T91" fmla="*/ 2147483647 h 271"/>
                <a:gd name="T92" fmla="*/ 2147483647 w 365"/>
                <a:gd name="T93" fmla="*/ 2147483647 h 271"/>
                <a:gd name="T94" fmla="*/ 2147483647 w 365"/>
                <a:gd name="T95" fmla="*/ 2147483647 h 271"/>
                <a:gd name="T96" fmla="*/ 2147483647 w 365"/>
                <a:gd name="T97" fmla="*/ 2147483647 h 271"/>
                <a:gd name="T98" fmla="*/ 2147483647 w 365"/>
                <a:gd name="T99" fmla="*/ 2147483647 h 271"/>
                <a:gd name="T100" fmla="*/ 2147483647 w 365"/>
                <a:gd name="T101" fmla="*/ 2147483647 h 271"/>
                <a:gd name="T102" fmla="*/ 2147483647 w 365"/>
                <a:gd name="T103" fmla="*/ 2147483647 h 271"/>
                <a:gd name="T104" fmla="*/ 2147483647 w 365"/>
                <a:gd name="T105" fmla="*/ 2147483647 h 271"/>
                <a:gd name="T106" fmla="*/ 2147483647 w 365"/>
                <a:gd name="T107" fmla="*/ 2147483647 h 271"/>
                <a:gd name="T108" fmla="*/ 2147483647 w 365"/>
                <a:gd name="T109" fmla="*/ 2147483647 h 271"/>
                <a:gd name="T110" fmla="*/ 2147483647 w 365"/>
                <a:gd name="T111" fmla="*/ 2147483647 h 271"/>
                <a:gd name="T112" fmla="*/ 2147483647 w 365"/>
                <a:gd name="T113" fmla="*/ 2147483647 h 271"/>
                <a:gd name="T114" fmla="*/ 2147483647 w 365"/>
                <a:gd name="T115" fmla="*/ 2147483647 h 271"/>
                <a:gd name="T116" fmla="*/ 2147483647 w 365"/>
                <a:gd name="T117" fmla="*/ 2147483647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65"/>
                <a:gd name="T178" fmla="*/ 0 h 271"/>
                <a:gd name="T179" fmla="*/ 365 w 365"/>
                <a:gd name="T180" fmla="*/ 271 h 27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0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3" name="Freeform 542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7550551" y="2919787"/>
              <a:ext cx="189482" cy="418517"/>
            </a:xfrm>
            <a:custGeom>
              <a:avLst/>
              <a:gdLst>
                <a:gd name="T0" fmla="*/ 2147483647 w 478"/>
                <a:gd name="T1" fmla="*/ 2147483647 h 875"/>
                <a:gd name="T2" fmla="*/ 2147483647 w 478"/>
                <a:gd name="T3" fmla="*/ 2147483647 h 875"/>
                <a:gd name="T4" fmla="*/ 2147483647 w 478"/>
                <a:gd name="T5" fmla="*/ 2147483647 h 875"/>
                <a:gd name="T6" fmla="*/ 2147483647 w 478"/>
                <a:gd name="T7" fmla="*/ 2147483647 h 875"/>
                <a:gd name="T8" fmla="*/ 2147483647 w 478"/>
                <a:gd name="T9" fmla="*/ 2147483647 h 875"/>
                <a:gd name="T10" fmla="*/ 2147483647 w 478"/>
                <a:gd name="T11" fmla="*/ 2147483647 h 875"/>
                <a:gd name="T12" fmla="*/ 2147483647 w 478"/>
                <a:gd name="T13" fmla="*/ 2147483647 h 875"/>
                <a:gd name="T14" fmla="*/ 2147483647 w 478"/>
                <a:gd name="T15" fmla="*/ 2147483647 h 875"/>
                <a:gd name="T16" fmla="*/ 2147483647 w 478"/>
                <a:gd name="T17" fmla="*/ 2147483647 h 875"/>
                <a:gd name="T18" fmla="*/ 2147483647 w 478"/>
                <a:gd name="T19" fmla="*/ 2147483647 h 875"/>
                <a:gd name="T20" fmla="*/ 2147483647 w 478"/>
                <a:gd name="T21" fmla="*/ 2147483647 h 875"/>
                <a:gd name="T22" fmla="*/ 2147483647 w 478"/>
                <a:gd name="T23" fmla="*/ 2147483647 h 875"/>
                <a:gd name="T24" fmla="*/ 2147483647 w 478"/>
                <a:gd name="T25" fmla="*/ 2147483647 h 875"/>
                <a:gd name="T26" fmla="*/ 2147483647 w 478"/>
                <a:gd name="T27" fmla="*/ 2147483647 h 875"/>
                <a:gd name="T28" fmla="*/ 2147483647 w 478"/>
                <a:gd name="T29" fmla="*/ 2147483647 h 875"/>
                <a:gd name="T30" fmla="*/ 2147483647 w 478"/>
                <a:gd name="T31" fmla="*/ 2147483647 h 875"/>
                <a:gd name="T32" fmla="*/ 2147483647 w 478"/>
                <a:gd name="T33" fmla="*/ 2147483647 h 875"/>
                <a:gd name="T34" fmla="*/ 2147483647 w 478"/>
                <a:gd name="T35" fmla="*/ 2147483647 h 875"/>
                <a:gd name="T36" fmla="*/ 2147483647 w 478"/>
                <a:gd name="T37" fmla="*/ 2147483647 h 875"/>
                <a:gd name="T38" fmla="*/ 2147483647 w 478"/>
                <a:gd name="T39" fmla="*/ 2147483647 h 875"/>
                <a:gd name="T40" fmla="*/ 2147483647 w 478"/>
                <a:gd name="T41" fmla="*/ 2147483647 h 875"/>
                <a:gd name="T42" fmla="*/ 2147483647 w 478"/>
                <a:gd name="T43" fmla="*/ 2147483647 h 875"/>
                <a:gd name="T44" fmla="*/ 2147483647 w 478"/>
                <a:gd name="T45" fmla="*/ 2147483647 h 875"/>
                <a:gd name="T46" fmla="*/ 2147483647 w 478"/>
                <a:gd name="T47" fmla="*/ 2147483647 h 875"/>
                <a:gd name="T48" fmla="*/ 2147483647 w 478"/>
                <a:gd name="T49" fmla="*/ 2147483647 h 875"/>
                <a:gd name="T50" fmla="*/ 2147483647 w 478"/>
                <a:gd name="T51" fmla="*/ 2147483647 h 875"/>
                <a:gd name="T52" fmla="*/ 2147483647 w 478"/>
                <a:gd name="T53" fmla="*/ 2147483647 h 875"/>
                <a:gd name="T54" fmla="*/ 2147483647 w 478"/>
                <a:gd name="T55" fmla="*/ 2147483647 h 875"/>
                <a:gd name="T56" fmla="*/ 2147483647 w 478"/>
                <a:gd name="T57" fmla="*/ 2147483647 h 875"/>
                <a:gd name="T58" fmla="*/ 2147483647 w 478"/>
                <a:gd name="T59" fmla="*/ 2147483647 h 875"/>
                <a:gd name="T60" fmla="*/ 2147483647 w 478"/>
                <a:gd name="T61" fmla="*/ 2147483647 h 875"/>
                <a:gd name="T62" fmla="*/ 2147483647 w 478"/>
                <a:gd name="T63" fmla="*/ 2147483647 h 875"/>
                <a:gd name="T64" fmla="*/ 2147483647 w 478"/>
                <a:gd name="T65" fmla="*/ 2147483647 h 875"/>
                <a:gd name="T66" fmla="*/ 2147483647 w 478"/>
                <a:gd name="T67" fmla="*/ 2147483647 h 875"/>
                <a:gd name="T68" fmla="*/ 2147483647 w 478"/>
                <a:gd name="T69" fmla="*/ 2147483647 h 875"/>
                <a:gd name="T70" fmla="*/ 2147483647 w 478"/>
                <a:gd name="T71" fmla="*/ 2147483647 h 875"/>
                <a:gd name="T72" fmla="*/ 2147483647 w 478"/>
                <a:gd name="T73" fmla="*/ 2147483647 h 875"/>
                <a:gd name="T74" fmla="*/ 2147483647 w 478"/>
                <a:gd name="T75" fmla="*/ 2147483647 h 875"/>
                <a:gd name="T76" fmla="*/ 2147483647 w 478"/>
                <a:gd name="T77" fmla="*/ 2147483647 h 875"/>
                <a:gd name="T78" fmla="*/ 2147483647 w 478"/>
                <a:gd name="T79" fmla="*/ 2147483647 h 875"/>
                <a:gd name="T80" fmla="*/ 2147483647 w 478"/>
                <a:gd name="T81" fmla="*/ 2147483647 h 875"/>
                <a:gd name="T82" fmla="*/ 2147483647 w 478"/>
                <a:gd name="T83" fmla="*/ 2147483647 h 875"/>
                <a:gd name="T84" fmla="*/ 2147483647 w 478"/>
                <a:gd name="T85" fmla="*/ 2147483647 h 875"/>
                <a:gd name="T86" fmla="*/ 2147483647 w 478"/>
                <a:gd name="T87" fmla="*/ 2147483647 h 875"/>
                <a:gd name="T88" fmla="*/ 2147483647 w 478"/>
                <a:gd name="T89" fmla="*/ 2147483647 h 875"/>
                <a:gd name="T90" fmla="*/ 2147483647 w 478"/>
                <a:gd name="T91" fmla="*/ 2147483647 h 875"/>
                <a:gd name="T92" fmla="*/ 2147483647 w 478"/>
                <a:gd name="T93" fmla="*/ 2147483647 h 875"/>
                <a:gd name="T94" fmla="*/ 2147483647 w 478"/>
                <a:gd name="T95" fmla="*/ 2147483647 h 875"/>
                <a:gd name="T96" fmla="*/ 2147483647 w 478"/>
                <a:gd name="T97" fmla="*/ 2147483647 h 875"/>
                <a:gd name="T98" fmla="*/ 2147483647 w 478"/>
                <a:gd name="T99" fmla="*/ 2147483647 h 875"/>
                <a:gd name="T100" fmla="*/ 2147483647 w 478"/>
                <a:gd name="T101" fmla="*/ 2147483647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78"/>
                <a:gd name="T154" fmla="*/ 0 h 875"/>
                <a:gd name="T155" fmla="*/ 478 w 478"/>
                <a:gd name="T156" fmla="*/ 875 h 875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pattFill prst="wdUpDiag">
              <a:fgClr>
                <a:srgbClr val="7030A0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4" name="Freeform 546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4977355" y="2569335"/>
              <a:ext cx="273376" cy="237497"/>
            </a:xfrm>
            <a:custGeom>
              <a:avLst/>
              <a:gdLst>
                <a:gd name="T0" fmla="*/ 2147483647 w 697"/>
                <a:gd name="T1" fmla="*/ 2147483647 h 500"/>
                <a:gd name="T2" fmla="*/ 2147483647 w 697"/>
                <a:gd name="T3" fmla="*/ 2147483647 h 500"/>
                <a:gd name="T4" fmla="*/ 2147483647 w 697"/>
                <a:gd name="T5" fmla="*/ 2147483647 h 500"/>
                <a:gd name="T6" fmla="*/ 2147483647 w 697"/>
                <a:gd name="T7" fmla="*/ 2147483647 h 500"/>
                <a:gd name="T8" fmla="*/ 2147483647 w 697"/>
                <a:gd name="T9" fmla="*/ 2147483647 h 500"/>
                <a:gd name="T10" fmla="*/ 2147483647 w 697"/>
                <a:gd name="T11" fmla="*/ 2147483647 h 500"/>
                <a:gd name="T12" fmla="*/ 2147483647 w 697"/>
                <a:gd name="T13" fmla="*/ 2147483647 h 500"/>
                <a:gd name="T14" fmla="*/ 2147483647 w 697"/>
                <a:gd name="T15" fmla="*/ 2147483647 h 500"/>
                <a:gd name="T16" fmla="*/ 2147483647 w 697"/>
                <a:gd name="T17" fmla="*/ 2147483647 h 500"/>
                <a:gd name="T18" fmla="*/ 2147483647 w 697"/>
                <a:gd name="T19" fmla="*/ 2147483647 h 500"/>
                <a:gd name="T20" fmla="*/ 2147483647 w 697"/>
                <a:gd name="T21" fmla="*/ 2147483647 h 500"/>
                <a:gd name="T22" fmla="*/ 2147483647 w 697"/>
                <a:gd name="T23" fmla="*/ 2147483647 h 500"/>
                <a:gd name="T24" fmla="*/ 2147483647 w 697"/>
                <a:gd name="T25" fmla="*/ 2147483647 h 500"/>
                <a:gd name="T26" fmla="*/ 2147483647 w 697"/>
                <a:gd name="T27" fmla="*/ 2147483647 h 500"/>
                <a:gd name="T28" fmla="*/ 2147483647 w 697"/>
                <a:gd name="T29" fmla="*/ 2147483647 h 500"/>
                <a:gd name="T30" fmla="*/ 2147483647 w 697"/>
                <a:gd name="T31" fmla="*/ 2147483647 h 500"/>
                <a:gd name="T32" fmla="*/ 2147483647 w 697"/>
                <a:gd name="T33" fmla="*/ 2147483647 h 500"/>
                <a:gd name="T34" fmla="*/ 2147483647 w 697"/>
                <a:gd name="T35" fmla="*/ 2147483647 h 500"/>
                <a:gd name="T36" fmla="*/ 2147483647 w 697"/>
                <a:gd name="T37" fmla="*/ 2147483647 h 500"/>
                <a:gd name="T38" fmla="*/ 2147483647 w 697"/>
                <a:gd name="T39" fmla="*/ 2147483647 h 500"/>
                <a:gd name="T40" fmla="*/ 2147483647 w 697"/>
                <a:gd name="T41" fmla="*/ 2147483647 h 500"/>
                <a:gd name="T42" fmla="*/ 2147483647 w 697"/>
                <a:gd name="T43" fmla="*/ 2147483647 h 500"/>
                <a:gd name="T44" fmla="*/ 2147483647 w 697"/>
                <a:gd name="T45" fmla="*/ 2147483647 h 500"/>
                <a:gd name="T46" fmla="*/ 2147483647 w 697"/>
                <a:gd name="T47" fmla="*/ 2147483647 h 500"/>
                <a:gd name="T48" fmla="*/ 2147483647 w 697"/>
                <a:gd name="T49" fmla="*/ 2147483647 h 500"/>
                <a:gd name="T50" fmla="*/ 2147483647 w 697"/>
                <a:gd name="T51" fmla="*/ 2147483647 h 500"/>
                <a:gd name="T52" fmla="*/ 2147483647 w 697"/>
                <a:gd name="T53" fmla="*/ 2147483647 h 500"/>
                <a:gd name="T54" fmla="*/ 2147483647 w 697"/>
                <a:gd name="T55" fmla="*/ 2147483647 h 500"/>
                <a:gd name="T56" fmla="*/ 2147483647 w 697"/>
                <a:gd name="T57" fmla="*/ 2147483647 h 500"/>
                <a:gd name="T58" fmla="*/ 2147483647 w 697"/>
                <a:gd name="T59" fmla="*/ 2147483647 h 500"/>
                <a:gd name="T60" fmla="*/ 2147483647 w 697"/>
                <a:gd name="T61" fmla="*/ 2147483647 h 500"/>
                <a:gd name="T62" fmla="*/ 2147483647 w 697"/>
                <a:gd name="T63" fmla="*/ 2147483647 h 500"/>
                <a:gd name="T64" fmla="*/ 2147483647 w 697"/>
                <a:gd name="T65" fmla="*/ 2147483647 h 500"/>
                <a:gd name="T66" fmla="*/ 2147483647 w 697"/>
                <a:gd name="T67" fmla="*/ 2147483647 h 500"/>
                <a:gd name="T68" fmla="*/ 2147483647 w 697"/>
                <a:gd name="T69" fmla="*/ 2147483647 h 500"/>
                <a:gd name="T70" fmla="*/ 2147483647 w 697"/>
                <a:gd name="T71" fmla="*/ 2147483647 h 500"/>
                <a:gd name="T72" fmla="*/ 2147483647 w 697"/>
                <a:gd name="T73" fmla="*/ 2147483647 h 500"/>
                <a:gd name="T74" fmla="*/ 2147483647 w 697"/>
                <a:gd name="T75" fmla="*/ 2147483647 h 500"/>
                <a:gd name="T76" fmla="*/ 2147483647 w 697"/>
                <a:gd name="T77" fmla="*/ 2147483647 h 500"/>
                <a:gd name="T78" fmla="*/ 2147483647 w 697"/>
                <a:gd name="T79" fmla="*/ 2147483647 h 500"/>
                <a:gd name="T80" fmla="*/ 2147483647 w 697"/>
                <a:gd name="T81" fmla="*/ 2147483647 h 500"/>
                <a:gd name="T82" fmla="*/ 2147483647 w 697"/>
                <a:gd name="T83" fmla="*/ 2147483647 h 500"/>
                <a:gd name="T84" fmla="*/ 2147483647 w 697"/>
                <a:gd name="T85" fmla="*/ 2147483647 h 500"/>
                <a:gd name="T86" fmla="*/ 2147483647 w 697"/>
                <a:gd name="T87" fmla="*/ 2147483647 h 500"/>
                <a:gd name="T88" fmla="*/ 2147483647 w 697"/>
                <a:gd name="T89" fmla="*/ 2147483647 h 500"/>
                <a:gd name="T90" fmla="*/ 2147483647 w 697"/>
                <a:gd name="T91" fmla="*/ 2147483647 h 500"/>
                <a:gd name="T92" fmla="*/ 2147483647 w 697"/>
                <a:gd name="T93" fmla="*/ 2147483647 h 500"/>
                <a:gd name="T94" fmla="*/ 2147483647 w 697"/>
                <a:gd name="T95" fmla="*/ 2147483647 h 500"/>
                <a:gd name="T96" fmla="*/ 2147483647 w 697"/>
                <a:gd name="T97" fmla="*/ 2147483647 h 500"/>
                <a:gd name="T98" fmla="*/ 2147483647 w 697"/>
                <a:gd name="T99" fmla="*/ 2147483647 h 500"/>
                <a:gd name="T100" fmla="*/ 2147483647 w 697"/>
                <a:gd name="T101" fmla="*/ 2147483647 h 500"/>
                <a:gd name="T102" fmla="*/ 2147483647 w 697"/>
                <a:gd name="T103" fmla="*/ 2147483647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697"/>
                <a:gd name="T157" fmla="*/ 0 h 500"/>
                <a:gd name="T158" fmla="*/ 697 w 697"/>
                <a:gd name="T159" fmla="*/ 500 h 50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pattFill prst="wdUpDiag">
              <a:fgClr>
                <a:srgbClr val="7030A0"/>
              </a:fgClr>
              <a:bgClr>
                <a:srgbClr val="C0000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3" name="Freeform 111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8539726" y="2762431"/>
              <a:ext cx="16757" cy="51746"/>
            </a:xfrm>
            <a:custGeom>
              <a:avLst/>
              <a:gdLst/>
              <a:ahLst/>
              <a:cxnLst>
                <a:cxn ang="0">
                  <a:pos x="13" y="37"/>
                </a:cxn>
                <a:cxn ang="0">
                  <a:pos x="0" y="12"/>
                </a:cxn>
                <a:cxn ang="0">
                  <a:pos x="6" y="7"/>
                </a:cxn>
                <a:cxn ang="0">
                  <a:pos x="13" y="4"/>
                </a:cxn>
                <a:cxn ang="0">
                  <a:pos x="21" y="1"/>
                </a:cxn>
                <a:cxn ang="0">
                  <a:pos x="26" y="0"/>
                </a:cxn>
                <a:cxn ang="0">
                  <a:pos x="26" y="6"/>
                </a:cxn>
                <a:cxn ang="0">
                  <a:pos x="25" y="11"/>
                </a:cxn>
                <a:cxn ang="0">
                  <a:pos x="24" y="17"/>
                </a:cxn>
                <a:cxn ang="0">
                  <a:pos x="23" y="21"/>
                </a:cxn>
                <a:cxn ang="0">
                  <a:pos x="18" y="29"/>
                </a:cxn>
                <a:cxn ang="0">
                  <a:pos x="13" y="37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013" kern="1200" dirty="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7" name="Freeform 4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3908444" y="5178907"/>
              <a:ext cx="30375" cy="52134"/>
            </a:xfrm>
            <a:custGeom>
              <a:avLst/>
              <a:gdLst>
                <a:gd name="T0" fmla="*/ 0 w 73"/>
                <a:gd name="T1" fmla="*/ 0 h 20"/>
                <a:gd name="T2" fmla="*/ 2147483647 w 73"/>
                <a:gd name="T3" fmla="*/ 2147483647 h 20"/>
                <a:gd name="T4" fmla="*/ 2147483647 w 73"/>
                <a:gd name="T5" fmla="*/ 2147483647 h 20"/>
                <a:gd name="T6" fmla="*/ 2147483647 w 73"/>
                <a:gd name="T7" fmla="*/ 2147483647 h 20"/>
                <a:gd name="T8" fmla="*/ 2147483647 w 73"/>
                <a:gd name="T9" fmla="*/ 2147483647 h 20"/>
                <a:gd name="T10" fmla="*/ 2147483647 w 73"/>
                <a:gd name="T11" fmla="*/ 2147483647 h 20"/>
                <a:gd name="T12" fmla="*/ 2147483647 w 73"/>
                <a:gd name="T13" fmla="*/ 2147483647 h 20"/>
                <a:gd name="T14" fmla="*/ 2147483647 w 73"/>
                <a:gd name="T15" fmla="*/ 2147483647 h 20"/>
                <a:gd name="T16" fmla="*/ 2147483647 w 73"/>
                <a:gd name="T17" fmla="*/ 2147483647 h 20"/>
                <a:gd name="T18" fmla="*/ 2147483647 w 73"/>
                <a:gd name="T19" fmla="*/ 2147483647 h 20"/>
                <a:gd name="T20" fmla="*/ 2147483647 w 73"/>
                <a:gd name="T21" fmla="*/ 2147483647 h 20"/>
                <a:gd name="T22" fmla="*/ 2147483647 w 73"/>
                <a:gd name="T23" fmla="*/ 2147483647 h 20"/>
                <a:gd name="T24" fmla="*/ 2147483647 w 73"/>
                <a:gd name="T25" fmla="*/ 2147483647 h 20"/>
                <a:gd name="T26" fmla="*/ 2147483647 w 73"/>
                <a:gd name="T27" fmla="*/ 2147483647 h 20"/>
                <a:gd name="T28" fmla="*/ 2147483647 w 73"/>
                <a:gd name="T29" fmla="*/ 2147483647 h 20"/>
                <a:gd name="T30" fmla="*/ 2147483647 w 73"/>
                <a:gd name="T31" fmla="*/ 2147483647 h 20"/>
                <a:gd name="T32" fmla="*/ 214748364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3"/>
                <a:gd name="T55" fmla="*/ 0 h 20"/>
                <a:gd name="T56" fmla="*/ 73 w 73"/>
                <a:gd name="T57" fmla="*/ 20 h 2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9" name="Freeform 6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650051" y="2184125"/>
              <a:ext cx="1258393" cy="702355"/>
            </a:xfrm>
            <a:custGeom>
              <a:avLst/>
              <a:gdLst>
                <a:gd name="T0" fmla="*/ 2147483647 w 3175"/>
                <a:gd name="T1" fmla="*/ 2147483647 h 1472"/>
                <a:gd name="T2" fmla="*/ 2147483647 w 3175"/>
                <a:gd name="T3" fmla="*/ 2147483647 h 1472"/>
                <a:gd name="T4" fmla="*/ 2147483647 w 3175"/>
                <a:gd name="T5" fmla="*/ 2147483647 h 1472"/>
                <a:gd name="T6" fmla="*/ 2147483647 w 3175"/>
                <a:gd name="T7" fmla="*/ 2147483647 h 1472"/>
                <a:gd name="T8" fmla="*/ 2147483647 w 3175"/>
                <a:gd name="T9" fmla="*/ 2147483647 h 1472"/>
                <a:gd name="T10" fmla="*/ 2147483647 w 3175"/>
                <a:gd name="T11" fmla="*/ 2147483647 h 1472"/>
                <a:gd name="T12" fmla="*/ 2147483647 w 3175"/>
                <a:gd name="T13" fmla="*/ 2147483647 h 1472"/>
                <a:gd name="T14" fmla="*/ 2147483647 w 3175"/>
                <a:gd name="T15" fmla="*/ 2147483647 h 1472"/>
                <a:gd name="T16" fmla="*/ 2147483647 w 3175"/>
                <a:gd name="T17" fmla="*/ 2147483647 h 1472"/>
                <a:gd name="T18" fmla="*/ 2147483647 w 3175"/>
                <a:gd name="T19" fmla="*/ 2147483647 h 1472"/>
                <a:gd name="T20" fmla="*/ 2147483647 w 3175"/>
                <a:gd name="T21" fmla="*/ 2147483647 h 1472"/>
                <a:gd name="T22" fmla="*/ 2147483647 w 3175"/>
                <a:gd name="T23" fmla="*/ 2147483647 h 1472"/>
                <a:gd name="T24" fmla="*/ 2147483647 w 3175"/>
                <a:gd name="T25" fmla="*/ 2147483647 h 1472"/>
                <a:gd name="T26" fmla="*/ 2147483647 w 3175"/>
                <a:gd name="T27" fmla="*/ 2147483647 h 1472"/>
                <a:gd name="T28" fmla="*/ 2147483647 w 3175"/>
                <a:gd name="T29" fmla="*/ 2147483647 h 1472"/>
                <a:gd name="T30" fmla="*/ 2147483647 w 3175"/>
                <a:gd name="T31" fmla="*/ 2147483647 h 1472"/>
                <a:gd name="T32" fmla="*/ 2147483647 w 3175"/>
                <a:gd name="T33" fmla="*/ 2147483647 h 1472"/>
                <a:gd name="T34" fmla="*/ 2147483647 w 3175"/>
                <a:gd name="T35" fmla="*/ 2147483647 h 1472"/>
                <a:gd name="T36" fmla="*/ 2147483647 w 3175"/>
                <a:gd name="T37" fmla="*/ 2147483647 h 1472"/>
                <a:gd name="T38" fmla="*/ 2147483647 w 3175"/>
                <a:gd name="T39" fmla="*/ 2147483647 h 1472"/>
                <a:gd name="T40" fmla="*/ 2147483647 w 3175"/>
                <a:gd name="T41" fmla="*/ 2147483647 h 1472"/>
                <a:gd name="T42" fmla="*/ 2147483647 w 3175"/>
                <a:gd name="T43" fmla="*/ 2147483647 h 1472"/>
                <a:gd name="T44" fmla="*/ 2147483647 w 3175"/>
                <a:gd name="T45" fmla="*/ 2147483647 h 1472"/>
                <a:gd name="T46" fmla="*/ 2147483647 w 3175"/>
                <a:gd name="T47" fmla="*/ 2147483647 h 1472"/>
                <a:gd name="T48" fmla="*/ 2147483647 w 3175"/>
                <a:gd name="T49" fmla="*/ 2147483647 h 1472"/>
                <a:gd name="T50" fmla="*/ 2147483647 w 3175"/>
                <a:gd name="T51" fmla="*/ 2147483647 h 1472"/>
                <a:gd name="T52" fmla="*/ 2147483647 w 3175"/>
                <a:gd name="T53" fmla="*/ 2147483647 h 1472"/>
                <a:gd name="T54" fmla="*/ 2147483647 w 3175"/>
                <a:gd name="T55" fmla="*/ 2147483647 h 1472"/>
                <a:gd name="T56" fmla="*/ 2147483647 w 3175"/>
                <a:gd name="T57" fmla="*/ 2147483647 h 1472"/>
                <a:gd name="T58" fmla="*/ 2147483647 w 3175"/>
                <a:gd name="T59" fmla="*/ 2147483647 h 1472"/>
                <a:gd name="T60" fmla="*/ 2147483647 w 3175"/>
                <a:gd name="T61" fmla="*/ 2147483647 h 1472"/>
                <a:gd name="T62" fmla="*/ 2147483647 w 3175"/>
                <a:gd name="T63" fmla="*/ 2147483647 h 1472"/>
                <a:gd name="T64" fmla="*/ 2147483647 w 3175"/>
                <a:gd name="T65" fmla="*/ 2147483647 h 1472"/>
                <a:gd name="T66" fmla="*/ 2147483647 w 3175"/>
                <a:gd name="T67" fmla="*/ 2147483647 h 1472"/>
                <a:gd name="T68" fmla="*/ 2147483647 w 3175"/>
                <a:gd name="T69" fmla="*/ 2147483647 h 1472"/>
                <a:gd name="T70" fmla="*/ 0 w 3175"/>
                <a:gd name="T71" fmla="*/ 2147483647 h 1472"/>
                <a:gd name="T72" fmla="*/ 2147483647 w 3175"/>
                <a:gd name="T73" fmla="*/ 2147483647 h 1472"/>
                <a:gd name="T74" fmla="*/ 2147483647 w 3175"/>
                <a:gd name="T75" fmla="*/ 2147483647 h 1472"/>
                <a:gd name="T76" fmla="*/ 2147483647 w 3175"/>
                <a:gd name="T77" fmla="*/ 2147483647 h 1472"/>
                <a:gd name="T78" fmla="*/ 2147483647 w 3175"/>
                <a:gd name="T79" fmla="*/ 2147483647 h 1472"/>
                <a:gd name="T80" fmla="*/ 2147483647 w 3175"/>
                <a:gd name="T81" fmla="*/ 0 h 1472"/>
                <a:gd name="T82" fmla="*/ 2147483647 w 3175"/>
                <a:gd name="T83" fmla="*/ 2147483647 h 1472"/>
                <a:gd name="T84" fmla="*/ 2147483647 w 3175"/>
                <a:gd name="T85" fmla="*/ 2147483647 h 1472"/>
                <a:gd name="T86" fmla="*/ 2147483647 w 3175"/>
                <a:gd name="T87" fmla="*/ 2147483647 h 1472"/>
                <a:gd name="T88" fmla="*/ 2147483647 w 3175"/>
                <a:gd name="T89" fmla="*/ 2147483647 h 1472"/>
                <a:gd name="T90" fmla="*/ 2147483647 w 3175"/>
                <a:gd name="T91" fmla="*/ 2147483647 h 1472"/>
                <a:gd name="T92" fmla="*/ 2147483647 w 3175"/>
                <a:gd name="T93" fmla="*/ 2147483647 h 1472"/>
                <a:gd name="T94" fmla="*/ 2147483647 w 3175"/>
                <a:gd name="T95" fmla="*/ 2147483647 h 1472"/>
                <a:gd name="T96" fmla="*/ 2147483647 w 3175"/>
                <a:gd name="T97" fmla="*/ 2147483647 h 1472"/>
                <a:gd name="T98" fmla="*/ 2147483647 w 3175"/>
                <a:gd name="T99" fmla="*/ 2147483647 h 1472"/>
                <a:gd name="T100" fmla="*/ 2147483647 w 3175"/>
                <a:gd name="T101" fmla="*/ 2147483647 h 1472"/>
                <a:gd name="T102" fmla="*/ 2147483647 w 3175"/>
                <a:gd name="T103" fmla="*/ 2147483647 h 1472"/>
                <a:gd name="T104" fmla="*/ 2147483647 w 3175"/>
                <a:gd name="T105" fmla="*/ 2147483647 h 1472"/>
                <a:gd name="T106" fmla="*/ 2147483647 w 3175"/>
                <a:gd name="T107" fmla="*/ 2147483647 h 1472"/>
                <a:gd name="T108" fmla="*/ 2147483647 w 3175"/>
                <a:gd name="T109" fmla="*/ 2147483647 h 1472"/>
                <a:gd name="T110" fmla="*/ 2147483647 w 3175"/>
                <a:gd name="T111" fmla="*/ 2147483647 h 1472"/>
                <a:gd name="T112" fmla="*/ 2147483647 w 3175"/>
                <a:gd name="T113" fmla="*/ 2147483647 h 1472"/>
                <a:gd name="T114" fmla="*/ 2147483647 w 3175"/>
                <a:gd name="T115" fmla="*/ 2147483647 h 1472"/>
                <a:gd name="T116" fmla="*/ 2147483647 w 3175"/>
                <a:gd name="T117" fmla="*/ 2147483647 h 1472"/>
                <a:gd name="T118" fmla="*/ 2147483647 w 3175"/>
                <a:gd name="T119" fmla="*/ 2147483647 h 1472"/>
                <a:gd name="T120" fmla="*/ 2147483647 w 3175"/>
                <a:gd name="T121" fmla="*/ 2147483647 h 1472"/>
                <a:gd name="T122" fmla="*/ 2147483647 w 3175"/>
                <a:gd name="T123" fmla="*/ 2147483647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175"/>
                <a:gd name="T187" fmla="*/ 0 h 1472"/>
                <a:gd name="T188" fmla="*/ 3175 w 3175"/>
                <a:gd name="T189" fmla="*/ 1472 h 147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0" name="Freeform 7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3409425" y="3598972"/>
              <a:ext cx="309536" cy="538713"/>
            </a:xfrm>
            <a:custGeom>
              <a:avLst/>
              <a:gdLst>
                <a:gd name="T0" fmla="*/ 2147483647 w 784"/>
                <a:gd name="T1" fmla="*/ 2147483647 h 1128"/>
                <a:gd name="T2" fmla="*/ 2147483647 w 784"/>
                <a:gd name="T3" fmla="*/ 2147483647 h 1128"/>
                <a:gd name="T4" fmla="*/ 2147483647 w 784"/>
                <a:gd name="T5" fmla="*/ 2147483647 h 1128"/>
                <a:gd name="T6" fmla="*/ 2147483647 w 784"/>
                <a:gd name="T7" fmla="*/ 2147483647 h 1128"/>
                <a:gd name="T8" fmla="*/ 2147483647 w 784"/>
                <a:gd name="T9" fmla="*/ 2147483647 h 1128"/>
                <a:gd name="T10" fmla="*/ 2147483647 w 784"/>
                <a:gd name="T11" fmla="*/ 2147483647 h 1128"/>
                <a:gd name="T12" fmla="*/ 2147483647 w 784"/>
                <a:gd name="T13" fmla="*/ 2147483647 h 1128"/>
                <a:gd name="T14" fmla="*/ 2147483647 w 784"/>
                <a:gd name="T15" fmla="*/ 2147483647 h 1128"/>
                <a:gd name="T16" fmla="*/ 2147483647 w 784"/>
                <a:gd name="T17" fmla="*/ 2147483647 h 1128"/>
                <a:gd name="T18" fmla="*/ 2147483647 w 784"/>
                <a:gd name="T19" fmla="*/ 2147483647 h 1128"/>
                <a:gd name="T20" fmla="*/ 2147483647 w 784"/>
                <a:gd name="T21" fmla="*/ 2147483647 h 1128"/>
                <a:gd name="T22" fmla="*/ 2147483647 w 784"/>
                <a:gd name="T23" fmla="*/ 2147483647 h 1128"/>
                <a:gd name="T24" fmla="*/ 2147483647 w 784"/>
                <a:gd name="T25" fmla="*/ 2147483647 h 1128"/>
                <a:gd name="T26" fmla="*/ 2147483647 w 784"/>
                <a:gd name="T27" fmla="*/ 2147483647 h 1128"/>
                <a:gd name="T28" fmla="*/ 2147483647 w 784"/>
                <a:gd name="T29" fmla="*/ 2147483647 h 1128"/>
                <a:gd name="T30" fmla="*/ 2147483647 w 784"/>
                <a:gd name="T31" fmla="*/ 2147483647 h 1128"/>
                <a:gd name="T32" fmla="*/ 2147483647 w 784"/>
                <a:gd name="T33" fmla="*/ 2147483647 h 1128"/>
                <a:gd name="T34" fmla="*/ 2147483647 w 784"/>
                <a:gd name="T35" fmla="*/ 2147483647 h 1128"/>
                <a:gd name="T36" fmla="*/ 2147483647 w 784"/>
                <a:gd name="T37" fmla="*/ 2147483647 h 1128"/>
                <a:gd name="T38" fmla="*/ 2147483647 w 784"/>
                <a:gd name="T39" fmla="*/ 2147483647 h 1128"/>
                <a:gd name="T40" fmla="*/ 2147483647 w 784"/>
                <a:gd name="T41" fmla="*/ 2147483647 h 1128"/>
                <a:gd name="T42" fmla="*/ 2147483647 w 784"/>
                <a:gd name="T43" fmla="*/ 2147483647 h 1128"/>
                <a:gd name="T44" fmla="*/ 2147483647 w 784"/>
                <a:gd name="T45" fmla="*/ 2147483647 h 1128"/>
                <a:gd name="T46" fmla="*/ 2147483647 w 784"/>
                <a:gd name="T47" fmla="*/ 2147483647 h 1128"/>
                <a:gd name="T48" fmla="*/ 2147483647 w 784"/>
                <a:gd name="T49" fmla="*/ 2147483647 h 1128"/>
                <a:gd name="T50" fmla="*/ 2147483647 w 784"/>
                <a:gd name="T51" fmla="*/ 2147483647 h 1128"/>
                <a:gd name="T52" fmla="*/ 2147483647 w 784"/>
                <a:gd name="T53" fmla="*/ 2147483647 h 1128"/>
                <a:gd name="T54" fmla="*/ 2147483647 w 784"/>
                <a:gd name="T55" fmla="*/ 2147483647 h 1128"/>
                <a:gd name="T56" fmla="*/ 2147483647 w 784"/>
                <a:gd name="T57" fmla="*/ 2147483647 h 1128"/>
                <a:gd name="T58" fmla="*/ 2147483647 w 784"/>
                <a:gd name="T59" fmla="*/ 2147483647 h 1128"/>
                <a:gd name="T60" fmla="*/ 2147483647 w 784"/>
                <a:gd name="T61" fmla="*/ 2147483647 h 1128"/>
                <a:gd name="T62" fmla="*/ 2147483647 w 784"/>
                <a:gd name="T63" fmla="*/ 2147483647 h 1128"/>
                <a:gd name="T64" fmla="*/ 2147483647 w 784"/>
                <a:gd name="T65" fmla="*/ 2147483647 h 1128"/>
                <a:gd name="T66" fmla="*/ 2147483647 w 784"/>
                <a:gd name="T67" fmla="*/ 2147483647 h 1128"/>
                <a:gd name="T68" fmla="*/ 0 w 784"/>
                <a:gd name="T69" fmla="*/ 2147483647 h 1128"/>
                <a:gd name="T70" fmla="*/ 2147483647 w 784"/>
                <a:gd name="T71" fmla="*/ 2147483647 h 1128"/>
                <a:gd name="T72" fmla="*/ 2147483647 w 784"/>
                <a:gd name="T73" fmla="*/ 2147483647 h 1128"/>
                <a:gd name="T74" fmla="*/ 2147483647 w 784"/>
                <a:gd name="T75" fmla="*/ 2147483647 h 1128"/>
                <a:gd name="T76" fmla="*/ 2147483647 w 784"/>
                <a:gd name="T77" fmla="*/ 2147483647 h 1128"/>
                <a:gd name="T78" fmla="*/ 2147483647 w 784"/>
                <a:gd name="T79" fmla="*/ 2147483647 h 1128"/>
                <a:gd name="T80" fmla="*/ 2147483647 w 784"/>
                <a:gd name="T81" fmla="*/ 2147483647 h 1128"/>
                <a:gd name="T82" fmla="*/ 2147483647 w 784"/>
                <a:gd name="T83" fmla="*/ 2147483647 h 1128"/>
                <a:gd name="T84" fmla="*/ 2147483647 w 784"/>
                <a:gd name="T85" fmla="*/ 2147483647 h 1128"/>
                <a:gd name="T86" fmla="*/ 2147483647 w 784"/>
                <a:gd name="T87" fmla="*/ 2147483647 h 1128"/>
                <a:gd name="T88" fmla="*/ 2147483647 w 784"/>
                <a:gd name="T89" fmla="*/ 2147483647 h 1128"/>
                <a:gd name="T90" fmla="*/ 2147483647 w 784"/>
                <a:gd name="T91" fmla="*/ 2147483647 h 1128"/>
                <a:gd name="T92" fmla="*/ 2147483647 w 784"/>
                <a:gd name="T93" fmla="*/ 2147483647 h 1128"/>
                <a:gd name="T94" fmla="*/ 2147483647 w 784"/>
                <a:gd name="T95" fmla="*/ 2147483647 h 1128"/>
                <a:gd name="T96" fmla="*/ 2147483647 w 784"/>
                <a:gd name="T97" fmla="*/ 2147483647 h 1128"/>
                <a:gd name="T98" fmla="*/ 2147483647 w 784"/>
                <a:gd name="T99" fmla="*/ 2147483647 h 1128"/>
                <a:gd name="T100" fmla="*/ 2147483647 w 784"/>
                <a:gd name="T101" fmla="*/ 2147483647 h 1128"/>
                <a:gd name="T102" fmla="*/ 2147483647 w 784"/>
                <a:gd name="T103" fmla="*/ 2147483647 h 1128"/>
                <a:gd name="T104" fmla="*/ 2147483647 w 784"/>
                <a:gd name="T105" fmla="*/ 2147483647 h 1128"/>
                <a:gd name="T106" fmla="*/ 2147483647 w 784"/>
                <a:gd name="T107" fmla="*/ 2147483647 h 1128"/>
                <a:gd name="T108" fmla="*/ 2147483647 w 784"/>
                <a:gd name="T109" fmla="*/ 2147483647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84"/>
                <a:gd name="T166" fmla="*/ 0 h 1128"/>
                <a:gd name="T167" fmla="*/ 784 w 784"/>
                <a:gd name="T168" fmla="*/ 1128 h 1128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1" name="Freeform 8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3682801" y="4113066"/>
              <a:ext cx="238660" cy="1031085"/>
            </a:xfrm>
            <a:custGeom>
              <a:avLst/>
              <a:gdLst>
                <a:gd name="T0" fmla="*/ 2147483647 w 598"/>
                <a:gd name="T1" fmla="*/ 2147483647 h 2158"/>
                <a:gd name="T2" fmla="*/ 2147483647 w 598"/>
                <a:gd name="T3" fmla="*/ 2147483647 h 2158"/>
                <a:gd name="T4" fmla="*/ 2147483647 w 598"/>
                <a:gd name="T5" fmla="*/ 2147483647 h 2158"/>
                <a:gd name="T6" fmla="*/ 2147483647 w 598"/>
                <a:gd name="T7" fmla="*/ 2147483647 h 2158"/>
                <a:gd name="T8" fmla="*/ 2147483647 w 598"/>
                <a:gd name="T9" fmla="*/ 2147483647 h 2158"/>
                <a:gd name="T10" fmla="*/ 2147483647 w 598"/>
                <a:gd name="T11" fmla="*/ 2147483647 h 2158"/>
                <a:gd name="T12" fmla="*/ 2147483647 w 598"/>
                <a:gd name="T13" fmla="*/ 2147483647 h 2158"/>
                <a:gd name="T14" fmla="*/ 2147483647 w 598"/>
                <a:gd name="T15" fmla="*/ 2147483647 h 2158"/>
                <a:gd name="T16" fmla="*/ 2147483647 w 598"/>
                <a:gd name="T17" fmla="*/ 2147483647 h 2158"/>
                <a:gd name="T18" fmla="*/ 2147483647 w 598"/>
                <a:gd name="T19" fmla="*/ 2147483647 h 2158"/>
                <a:gd name="T20" fmla="*/ 2147483647 w 598"/>
                <a:gd name="T21" fmla="*/ 2147483647 h 2158"/>
                <a:gd name="T22" fmla="*/ 2147483647 w 598"/>
                <a:gd name="T23" fmla="*/ 2147483647 h 2158"/>
                <a:gd name="T24" fmla="*/ 2147483647 w 598"/>
                <a:gd name="T25" fmla="*/ 2147483647 h 2158"/>
                <a:gd name="T26" fmla="*/ 2147483647 w 598"/>
                <a:gd name="T27" fmla="*/ 2147483647 h 2158"/>
                <a:gd name="T28" fmla="*/ 2147483647 w 598"/>
                <a:gd name="T29" fmla="*/ 2147483647 h 2158"/>
                <a:gd name="T30" fmla="*/ 2147483647 w 598"/>
                <a:gd name="T31" fmla="*/ 2147483647 h 2158"/>
                <a:gd name="T32" fmla="*/ 2147483647 w 598"/>
                <a:gd name="T33" fmla="*/ 2147483647 h 2158"/>
                <a:gd name="T34" fmla="*/ 2147483647 w 598"/>
                <a:gd name="T35" fmla="*/ 2147483647 h 2158"/>
                <a:gd name="T36" fmla="*/ 2147483647 w 598"/>
                <a:gd name="T37" fmla="*/ 2147483647 h 2158"/>
                <a:gd name="T38" fmla="*/ 2147483647 w 598"/>
                <a:gd name="T39" fmla="*/ 2147483647 h 2158"/>
                <a:gd name="T40" fmla="*/ 2147483647 w 598"/>
                <a:gd name="T41" fmla="*/ 2147483647 h 2158"/>
                <a:gd name="T42" fmla="*/ 2147483647 w 598"/>
                <a:gd name="T43" fmla="*/ 2147483647 h 2158"/>
                <a:gd name="T44" fmla="*/ 2147483647 w 598"/>
                <a:gd name="T45" fmla="*/ 2147483647 h 2158"/>
                <a:gd name="T46" fmla="*/ 2147483647 w 598"/>
                <a:gd name="T47" fmla="*/ 2147483647 h 2158"/>
                <a:gd name="T48" fmla="*/ 2147483647 w 598"/>
                <a:gd name="T49" fmla="*/ 2147483647 h 2158"/>
                <a:gd name="T50" fmla="*/ 2147483647 w 598"/>
                <a:gd name="T51" fmla="*/ 2147483647 h 2158"/>
                <a:gd name="T52" fmla="*/ 2147483647 w 598"/>
                <a:gd name="T53" fmla="*/ 2147483647 h 2158"/>
                <a:gd name="T54" fmla="*/ 2147483647 w 598"/>
                <a:gd name="T55" fmla="*/ 2147483647 h 2158"/>
                <a:gd name="T56" fmla="*/ 2147483647 w 598"/>
                <a:gd name="T57" fmla="*/ 2147483647 h 2158"/>
                <a:gd name="T58" fmla="*/ 0 w 598"/>
                <a:gd name="T59" fmla="*/ 2147483647 h 2158"/>
                <a:gd name="T60" fmla="*/ 2147483647 w 598"/>
                <a:gd name="T61" fmla="*/ 2147483647 h 2158"/>
                <a:gd name="T62" fmla="*/ 2147483647 w 598"/>
                <a:gd name="T63" fmla="*/ 2147483647 h 2158"/>
                <a:gd name="T64" fmla="*/ 2147483647 w 598"/>
                <a:gd name="T65" fmla="*/ 2147483647 h 2158"/>
                <a:gd name="T66" fmla="*/ 2147483647 w 598"/>
                <a:gd name="T67" fmla="*/ 2147483647 h 2158"/>
                <a:gd name="T68" fmla="*/ 2147483647 w 598"/>
                <a:gd name="T69" fmla="*/ 2147483647 h 2158"/>
                <a:gd name="T70" fmla="*/ 2147483647 w 598"/>
                <a:gd name="T71" fmla="*/ 2147483647 h 2158"/>
                <a:gd name="T72" fmla="*/ 2147483647 w 598"/>
                <a:gd name="T73" fmla="*/ 2147483647 h 2158"/>
                <a:gd name="T74" fmla="*/ 2147483647 w 598"/>
                <a:gd name="T75" fmla="*/ 2147483647 h 2158"/>
                <a:gd name="T76" fmla="*/ 2147483647 w 598"/>
                <a:gd name="T77" fmla="*/ 2147483647 h 2158"/>
                <a:gd name="T78" fmla="*/ 2147483647 w 598"/>
                <a:gd name="T79" fmla="*/ 2147483647 h 2158"/>
                <a:gd name="T80" fmla="*/ 2147483647 w 598"/>
                <a:gd name="T81" fmla="*/ 2147483647 h 2158"/>
                <a:gd name="T82" fmla="*/ 2147483647 w 598"/>
                <a:gd name="T83" fmla="*/ 2147483647 h 2158"/>
                <a:gd name="T84" fmla="*/ 2147483647 w 598"/>
                <a:gd name="T85" fmla="*/ 2147483647 h 2158"/>
                <a:gd name="T86" fmla="*/ 2147483647 w 598"/>
                <a:gd name="T87" fmla="*/ 2147483647 h 2158"/>
                <a:gd name="T88" fmla="*/ 2147483647 w 598"/>
                <a:gd name="T89" fmla="*/ 2147483647 h 2158"/>
                <a:gd name="T90" fmla="*/ 2147483647 w 598"/>
                <a:gd name="T91" fmla="*/ 2147483647 h 2158"/>
                <a:gd name="T92" fmla="*/ 2147483647 w 598"/>
                <a:gd name="T93" fmla="*/ 2147483647 h 2158"/>
                <a:gd name="T94" fmla="*/ 2147483647 w 598"/>
                <a:gd name="T95" fmla="*/ 2147483647 h 2158"/>
                <a:gd name="T96" fmla="*/ 2147483647 w 598"/>
                <a:gd name="T97" fmla="*/ 2147483647 h 2158"/>
                <a:gd name="T98" fmla="*/ 2147483647 w 598"/>
                <a:gd name="T99" fmla="*/ 2147483647 h 2158"/>
                <a:gd name="T100" fmla="*/ 2147483647 w 598"/>
                <a:gd name="T101" fmla="*/ 2147483647 h 2158"/>
                <a:gd name="T102" fmla="*/ 2147483647 w 598"/>
                <a:gd name="T103" fmla="*/ 2147483647 h 2158"/>
                <a:gd name="T104" fmla="*/ 2147483647 w 598"/>
                <a:gd name="T105" fmla="*/ 2147483647 h 2158"/>
                <a:gd name="T106" fmla="*/ 2147483647 w 598"/>
                <a:gd name="T107" fmla="*/ 2147483647 h 2158"/>
                <a:gd name="T108" fmla="*/ 2147483647 w 598"/>
                <a:gd name="T109" fmla="*/ 2147483647 h 2158"/>
                <a:gd name="T110" fmla="*/ 2147483647 w 598"/>
                <a:gd name="T111" fmla="*/ 2147483647 h 2158"/>
                <a:gd name="T112" fmla="*/ 2147483647 w 598"/>
                <a:gd name="T113" fmla="*/ 2147483647 h 2158"/>
                <a:gd name="T114" fmla="*/ 2147483647 w 598"/>
                <a:gd name="T115" fmla="*/ 2147483647 h 2158"/>
                <a:gd name="T116" fmla="*/ 2147483647 w 598"/>
                <a:gd name="T117" fmla="*/ 2147483647 h 2158"/>
                <a:gd name="T118" fmla="*/ 2147483647 w 598"/>
                <a:gd name="T119" fmla="*/ 2147483647 h 2158"/>
                <a:gd name="T120" fmla="*/ 2147483647 w 598"/>
                <a:gd name="T121" fmla="*/ 2147483647 h 2158"/>
                <a:gd name="T122" fmla="*/ 2147483647 w 598"/>
                <a:gd name="T123" fmla="*/ 2147483647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98"/>
                <a:gd name="T187" fmla="*/ 0 h 2158"/>
                <a:gd name="T188" fmla="*/ 598 w 598"/>
                <a:gd name="T189" fmla="*/ 2158 h 215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2" name="Freeform 9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3596015" y="3458500"/>
              <a:ext cx="880875" cy="1097700"/>
            </a:xfrm>
            <a:custGeom>
              <a:avLst/>
              <a:gdLst>
                <a:gd name="T0" fmla="*/ 2147483647 w 2226"/>
                <a:gd name="T1" fmla="*/ 2147483647 h 2292"/>
                <a:gd name="T2" fmla="*/ 2147483647 w 2226"/>
                <a:gd name="T3" fmla="*/ 2147483647 h 2292"/>
                <a:gd name="T4" fmla="*/ 2147483647 w 2226"/>
                <a:gd name="T5" fmla="*/ 2147483647 h 2292"/>
                <a:gd name="T6" fmla="*/ 2147483647 w 2226"/>
                <a:gd name="T7" fmla="*/ 2147483647 h 2292"/>
                <a:gd name="T8" fmla="*/ 2147483647 w 2226"/>
                <a:gd name="T9" fmla="*/ 2147483647 h 2292"/>
                <a:gd name="T10" fmla="*/ 2147483647 w 2226"/>
                <a:gd name="T11" fmla="*/ 2147483647 h 2292"/>
                <a:gd name="T12" fmla="*/ 2147483647 w 2226"/>
                <a:gd name="T13" fmla="*/ 2147483647 h 2292"/>
                <a:gd name="T14" fmla="*/ 2147483647 w 2226"/>
                <a:gd name="T15" fmla="*/ 2147483647 h 2292"/>
                <a:gd name="T16" fmla="*/ 2147483647 w 2226"/>
                <a:gd name="T17" fmla="*/ 2147483647 h 2292"/>
                <a:gd name="T18" fmla="*/ 2147483647 w 2226"/>
                <a:gd name="T19" fmla="*/ 2147483647 h 2292"/>
                <a:gd name="T20" fmla="*/ 2147483647 w 2226"/>
                <a:gd name="T21" fmla="*/ 2147483647 h 2292"/>
                <a:gd name="T22" fmla="*/ 2147483647 w 2226"/>
                <a:gd name="T23" fmla="*/ 2147483647 h 2292"/>
                <a:gd name="T24" fmla="*/ 2147483647 w 2226"/>
                <a:gd name="T25" fmla="*/ 2147483647 h 2292"/>
                <a:gd name="T26" fmla="*/ 2147483647 w 2226"/>
                <a:gd name="T27" fmla="*/ 2147483647 h 2292"/>
                <a:gd name="T28" fmla="*/ 2147483647 w 2226"/>
                <a:gd name="T29" fmla="*/ 2147483647 h 2292"/>
                <a:gd name="T30" fmla="*/ 2147483647 w 2226"/>
                <a:gd name="T31" fmla="*/ 2147483647 h 2292"/>
                <a:gd name="T32" fmla="*/ 2147483647 w 2226"/>
                <a:gd name="T33" fmla="*/ 2147483647 h 2292"/>
                <a:gd name="T34" fmla="*/ 2147483647 w 2226"/>
                <a:gd name="T35" fmla="*/ 2147483647 h 2292"/>
                <a:gd name="T36" fmla="*/ 2147483647 w 2226"/>
                <a:gd name="T37" fmla="*/ 2147483647 h 2292"/>
                <a:gd name="T38" fmla="*/ 2147483647 w 2226"/>
                <a:gd name="T39" fmla="*/ 2147483647 h 2292"/>
                <a:gd name="T40" fmla="*/ 2147483647 w 2226"/>
                <a:gd name="T41" fmla="*/ 2147483647 h 2292"/>
                <a:gd name="T42" fmla="*/ 2147483647 w 2226"/>
                <a:gd name="T43" fmla="*/ 2147483647 h 2292"/>
                <a:gd name="T44" fmla="*/ 2147483647 w 2226"/>
                <a:gd name="T45" fmla="*/ 2147483647 h 2292"/>
                <a:gd name="T46" fmla="*/ 2147483647 w 2226"/>
                <a:gd name="T47" fmla="*/ 2147483647 h 2292"/>
                <a:gd name="T48" fmla="*/ 2147483647 w 2226"/>
                <a:gd name="T49" fmla="*/ 2147483647 h 2292"/>
                <a:gd name="T50" fmla="*/ 2147483647 w 2226"/>
                <a:gd name="T51" fmla="*/ 2147483647 h 2292"/>
                <a:gd name="T52" fmla="*/ 2147483647 w 2226"/>
                <a:gd name="T53" fmla="*/ 2147483647 h 2292"/>
                <a:gd name="T54" fmla="*/ 2147483647 w 2226"/>
                <a:gd name="T55" fmla="*/ 2147483647 h 2292"/>
                <a:gd name="T56" fmla="*/ 2147483647 w 2226"/>
                <a:gd name="T57" fmla="*/ 2147483647 h 2292"/>
                <a:gd name="T58" fmla="*/ 2147483647 w 2226"/>
                <a:gd name="T59" fmla="*/ 2147483647 h 2292"/>
                <a:gd name="T60" fmla="*/ 2147483647 w 2226"/>
                <a:gd name="T61" fmla="*/ 2147483647 h 2292"/>
                <a:gd name="T62" fmla="*/ 2147483647 w 2226"/>
                <a:gd name="T63" fmla="*/ 2147483647 h 2292"/>
                <a:gd name="T64" fmla="*/ 2147483647 w 2226"/>
                <a:gd name="T65" fmla="*/ 2147483647 h 2292"/>
                <a:gd name="T66" fmla="*/ 2147483647 w 2226"/>
                <a:gd name="T67" fmla="*/ 2147483647 h 2292"/>
                <a:gd name="T68" fmla="*/ 2147483647 w 2226"/>
                <a:gd name="T69" fmla="*/ 2147483647 h 2292"/>
                <a:gd name="T70" fmla="*/ 2147483647 w 2226"/>
                <a:gd name="T71" fmla="*/ 2147483647 h 2292"/>
                <a:gd name="T72" fmla="*/ 2147483647 w 2226"/>
                <a:gd name="T73" fmla="*/ 2147483647 h 2292"/>
                <a:gd name="T74" fmla="*/ 2147483647 w 2226"/>
                <a:gd name="T75" fmla="*/ 2147483647 h 2292"/>
                <a:gd name="T76" fmla="*/ 2147483647 w 2226"/>
                <a:gd name="T77" fmla="*/ 2147483647 h 2292"/>
                <a:gd name="T78" fmla="*/ 2147483647 w 2226"/>
                <a:gd name="T79" fmla="*/ 2147483647 h 2292"/>
                <a:gd name="T80" fmla="*/ 2147483647 w 2226"/>
                <a:gd name="T81" fmla="*/ 2147483647 h 2292"/>
                <a:gd name="T82" fmla="*/ 2147483647 w 2226"/>
                <a:gd name="T83" fmla="*/ 2147483647 h 2292"/>
                <a:gd name="T84" fmla="*/ 2147483647 w 2226"/>
                <a:gd name="T85" fmla="*/ 2147483647 h 2292"/>
                <a:gd name="T86" fmla="*/ 2147483647 w 2226"/>
                <a:gd name="T87" fmla="*/ 2147483647 h 2292"/>
                <a:gd name="T88" fmla="*/ 2147483647 w 2226"/>
                <a:gd name="T89" fmla="*/ 2147483647 h 2292"/>
                <a:gd name="T90" fmla="*/ 2147483647 w 2226"/>
                <a:gd name="T91" fmla="*/ 2147483647 h 2292"/>
                <a:gd name="T92" fmla="*/ 2147483647 w 2226"/>
                <a:gd name="T93" fmla="*/ 2147483647 h 2292"/>
                <a:gd name="T94" fmla="*/ 2147483647 w 2226"/>
                <a:gd name="T95" fmla="*/ 2147483647 h 2292"/>
                <a:gd name="T96" fmla="*/ 2147483647 w 2226"/>
                <a:gd name="T97" fmla="*/ 0 h 2292"/>
                <a:gd name="T98" fmla="*/ 2147483647 w 2226"/>
                <a:gd name="T99" fmla="*/ 2147483647 h 2292"/>
                <a:gd name="T100" fmla="*/ 2147483647 w 2226"/>
                <a:gd name="T101" fmla="*/ 2147483647 h 2292"/>
                <a:gd name="T102" fmla="*/ 2147483647 w 2226"/>
                <a:gd name="T103" fmla="*/ 2147483647 h 2292"/>
                <a:gd name="T104" fmla="*/ 2147483647 w 2226"/>
                <a:gd name="T105" fmla="*/ 2147483647 h 2292"/>
                <a:gd name="T106" fmla="*/ 2147483647 w 2226"/>
                <a:gd name="T107" fmla="*/ 2147483647 h 2292"/>
                <a:gd name="T108" fmla="*/ 2147483647 w 2226"/>
                <a:gd name="T109" fmla="*/ 2147483647 h 2292"/>
                <a:gd name="T110" fmla="*/ 2147483647 w 2226"/>
                <a:gd name="T111" fmla="*/ 2147483647 h 2292"/>
                <a:gd name="T112" fmla="*/ 2147483647 w 2226"/>
                <a:gd name="T113" fmla="*/ 2147483647 h 2292"/>
                <a:gd name="T114" fmla="*/ 2147483647 w 2226"/>
                <a:gd name="T115" fmla="*/ 2147483647 h 2292"/>
                <a:gd name="T116" fmla="*/ 2147483647 w 2226"/>
                <a:gd name="T117" fmla="*/ 2147483647 h 2292"/>
                <a:gd name="T118" fmla="*/ 2147483647 w 2226"/>
                <a:gd name="T119" fmla="*/ 2147483647 h 2292"/>
                <a:gd name="T120" fmla="*/ 2147483647 w 2226"/>
                <a:gd name="T121" fmla="*/ 2147483647 h 2292"/>
                <a:gd name="T122" fmla="*/ 2147483647 w 2226"/>
                <a:gd name="T123" fmla="*/ 2147483647 h 2292"/>
                <a:gd name="T124" fmla="*/ 2147483647 w 2226"/>
                <a:gd name="T125" fmla="*/ 2147483647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226"/>
                <a:gd name="T190" fmla="*/ 0 h 2292"/>
                <a:gd name="T191" fmla="*/ 2226 w 2226"/>
                <a:gd name="T192" fmla="*/ 2292 h 229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3" name="Freeform 10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5521211" y="2496926"/>
              <a:ext cx="63643" cy="44893"/>
            </a:xfrm>
            <a:custGeom>
              <a:avLst/>
              <a:gdLst>
                <a:gd name="T0" fmla="*/ 2147483647 w 161"/>
                <a:gd name="T1" fmla="*/ 0 h 93"/>
                <a:gd name="T2" fmla="*/ 2147483647 w 161"/>
                <a:gd name="T3" fmla="*/ 2147483647 h 93"/>
                <a:gd name="T4" fmla="*/ 2147483647 w 161"/>
                <a:gd name="T5" fmla="*/ 2147483647 h 93"/>
                <a:gd name="T6" fmla="*/ 2147483647 w 161"/>
                <a:gd name="T7" fmla="*/ 2147483647 h 93"/>
                <a:gd name="T8" fmla="*/ 2147483647 w 161"/>
                <a:gd name="T9" fmla="*/ 2147483647 h 93"/>
                <a:gd name="T10" fmla="*/ 2147483647 w 161"/>
                <a:gd name="T11" fmla="*/ 2147483647 h 93"/>
                <a:gd name="T12" fmla="*/ 2147483647 w 161"/>
                <a:gd name="T13" fmla="*/ 2147483647 h 93"/>
                <a:gd name="T14" fmla="*/ 2147483647 w 161"/>
                <a:gd name="T15" fmla="*/ 0 h 93"/>
                <a:gd name="T16" fmla="*/ 2147483647 w 161"/>
                <a:gd name="T17" fmla="*/ 0 h 93"/>
                <a:gd name="T18" fmla="*/ 2147483647 w 161"/>
                <a:gd name="T19" fmla="*/ 0 h 93"/>
                <a:gd name="T20" fmla="*/ 2147483647 w 161"/>
                <a:gd name="T21" fmla="*/ 2147483647 h 93"/>
                <a:gd name="T22" fmla="*/ 2147483647 w 161"/>
                <a:gd name="T23" fmla="*/ 2147483647 h 93"/>
                <a:gd name="T24" fmla="*/ 2147483647 w 161"/>
                <a:gd name="T25" fmla="*/ 2147483647 h 93"/>
                <a:gd name="T26" fmla="*/ 2147483647 w 161"/>
                <a:gd name="T27" fmla="*/ 2147483647 h 93"/>
                <a:gd name="T28" fmla="*/ 2147483647 w 161"/>
                <a:gd name="T29" fmla="*/ 2147483647 h 93"/>
                <a:gd name="T30" fmla="*/ 2147483647 w 161"/>
                <a:gd name="T31" fmla="*/ 2147483647 h 93"/>
                <a:gd name="T32" fmla="*/ 2147483647 w 161"/>
                <a:gd name="T33" fmla="*/ 2147483647 h 93"/>
                <a:gd name="T34" fmla="*/ 2147483647 w 161"/>
                <a:gd name="T35" fmla="*/ 2147483647 h 93"/>
                <a:gd name="T36" fmla="*/ 2147483647 w 161"/>
                <a:gd name="T37" fmla="*/ 2147483647 h 93"/>
                <a:gd name="T38" fmla="*/ 2147483647 w 161"/>
                <a:gd name="T39" fmla="*/ 2147483647 h 93"/>
                <a:gd name="T40" fmla="*/ 2147483647 w 161"/>
                <a:gd name="T41" fmla="*/ 2147483647 h 93"/>
                <a:gd name="T42" fmla="*/ 2147483647 w 161"/>
                <a:gd name="T43" fmla="*/ 2147483647 h 93"/>
                <a:gd name="T44" fmla="*/ 2147483647 w 161"/>
                <a:gd name="T45" fmla="*/ 2147483647 h 93"/>
                <a:gd name="T46" fmla="*/ 2147483647 w 161"/>
                <a:gd name="T47" fmla="*/ 2147483647 h 93"/>
                <a:gd name="T48" fmla="*/ 2147483647 w 161"/>
                <a:gd name="T49" fmla="*/ 2147483647 h 93"/>
                <a:gd name="T50" fmla="*/ 2147483647 w 161"/>
                <a:gd name="T51" fmla="*/ 2147483647 h 93"/>
                <a:gd name="T52" fmla="*/ 2147483647 w 161"/>
                <a:gd name="T53" fmla="*/ 2147483647 h 93"/>
                <a:gd name="T54" fmla="*/ 2147483647 w 161"/>
                <a:gd name="T55" fmla="*/ 2147483647 h 93"/>
                <a:gd name="T56" fmla="*/ 2147483647 w 161"/>
                <a:gd name="T57" fmla="*/ 2147483647 h 93"/>
                <a:gd name="T58" fmla="*/ 2147483647 w 161"/>
                <a:gd name="T59" fmla="*/ 2147483647 h 93"/>
                <a:gd name="T60" fmla="*/ 2147483647 w 161"/>
                <a:gd name="T61" fmla="*/ 2147483647 h 93"/>
                <a:gd name="T62" fmla="*/ 2147483647 w 161"/>
                <a:gd name="T63" fmla="*/ 2147483647 h 93"/>
                <a:gd name="T64" fmla="*/ 2147483647 w 161"/>
                <a:gd name="T65" fmla="*/ 2147483647 h 93"/>
                <a:gd name="T66" fmla="*/ 2147483647 w 161"/>
                <a:gd name="T67" fmla="*/ 2147483647 h 93"/>
                <a:gd name="T68" fmla="*/ 2147483647 w 161"/>
                <a:gd name="T69" fmla="*/ 2147483647 h 93"/>
                <a:gd name="T70" fmla="*/ 2147483647 w 161"/>
                <a:gd name="T71" fmla="*/ 2147483647 h 93"/>
                <a:gd name="T72" fmla="*/ 0 w 161"/>
                <a:gd name="T73" fmla="*/ 0 h 93"/>
                <a:gd name="T74" fmla="*/ 2147483647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61"/>
                <a:gd name="T115" fmla="*/ 0 h 93"/>
                <a:gd name="T116" fmla="*/ 161 w 161"/>
                <a:gd name="T117" fmla="*/ 93 h 9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4" name="Freeform 11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5061759" y="2382523"/>
              <a:ext cx="75214" cy="146263"/>
            </a:xfrm>
            <a:custGeom>
              <a:avLst/>
              <a:gdLst>
                <a:gd name="T0" fmla="*/ 2147483647 w 192"/>
                <a:gd name="T1" fmla="*/ 2147483647 h 307"/>
                <a:gd name="T2" fmla="*/ 2147483647 w 192"/>
                <a:gd name="T3" fmla="*/ 0 h 307"/>
                <a:gd name="T4" fmla="*/ 2147483647 w 192"/>
                <a:gd name="T5" fmla="*/ 2147483647 h 307"/>
                <a:gd name="T6" fmla="*/ 2147483647 w 192"/>
                <a:gd name="T7" fmla="*/ 2147483647 h 307"/>
                <a:gd name="T8" fmla="*/ 2147483647 w 192"/>
                <a:gd name="T9" fmla="*/ 2147483647 h 307"/>
                <a:gd name="T10" fmla="*/ 2147483647 w 192"/>
                <a:gd name="T11" fmla="*/ 2147483647 h 307"/>
                <a:gd name="T12" fmla="*/ 2147483647 w 192"/>
                <a:gd name="T13" fmla="*/ 2147483647 h 307"/>
                <a:gd name="T14" fmla="*/ 2147483647 w 192"/>
                <a:gd name="T15" fmla="*/ 2147483647 h 307"/>
                <a:gd name="T16" fmla="*/ 2147483647 w 192"/>
                <a:gd name="T17" fmla="*/ 2147483647 h 307"/>
                <a:gd name="T18" fmla="*/ 2147483647 w 192"/>
                <a:gd name="T19" fmla="*/ 2147483647 h 307"/>
                <a:gd name="T20" fmla="*/ 2147483647 w 192"/>
                <a:gd name="T21" fmla="*/ 2147483647 h 307"/>
                <a:gd name="T22" fmla="*/ 2147483647 w 192"/>
                <a:gd name="T23" fmla="*/ 2147483647 h 307"/>
                <a:gd name="T24" fmla="*/ 2147483647 w 192"/>
                <a:gd name="T25" fmla="*/ 2147483647 h 307"/>
                <a:gd name="T26" fmla="*/ 2147483647 w 192"/>
                <a:gd name="T27" fmla="*/ 2147483647 h 307"/>
                <a:gd name="T28" fmla="*/ 2147483647 w 192"/>
                <a:gd name="T29" fmla="*/ 2147483647 h 307"/>
                <a:gd name="T30" fmla="*/ 2147483647 w 192"/>
                <a:gd name="T31" fmla="*/ 2147483647 h 307"/>
                <a:gd name="T32" fmla="*/ 2147483647 w 192"/>
                <a:gd name="T33" fmla="*/ 2147483647 h 307"/>
                <a:gd name="T34" fmla="*/ 2147483647 w 192"/>
                <a:gd name="T35" fmla="*/ 2147483647 h 307"/>
                <a:gd name="T36" fmla="*/ 2147483647 w 192"/>
                <a:gd name="T37" fmla="*/ 2147483647 h 307"/>
                <a:gd name="T38" fmla="*/ 2147483647 w 192"/>
                <a:gd name="T39" fmla="*/ 2147483647 h 307"/>
                <a:gd name="T40" fmla="*/ 2147483647 w 192"/>
                <a:gd name="T41" fmla="*/ 2147483647 h 307"/>
                <a:gd name="T42" fmla="*/ 2147483647 w 192"/>
                <a:gd name="T43" fmla="*/ 2147483647 h 307"/>
                <a:gd name="T44" fmla="*/ 2147483647 w 192"/>
                <a:gd name="T45" fmla="*/ 2147483647 h 307"/>
                <a:gd name="T46" fmla="*/ 0 w 192"/>
                <a:gd name="T47" fmla="*/ 2147483647 h 307"/>
                <a:gd name="T48" fmla="*/ 0 w 192"/>
                <a:gd name="T49" fmla="*/ 2147483647 h 307"/>
                <a:gd name="T50" fmla="*/ 2147483647 w 192"/>
                <a:gd name="T51" fmla="*/ 2147483647 h 307"/>
                <a:gd name="T52" fmla="*/ 2147483647 w 192"/>
                <a:gd name="T53" fmla="*/ 2147483647 h 307"/>
                <a:gd name="T54" fmla="*/ 2147483647 w 192"/>
                <a:gd name="T55" fmla="*/ 2147483647 h 307"/>
                <a:gd name="T56" fmla="*/ 2147483647 w 192"/>
                <a:gd name="T57" fmla="*/ 2147483647 h 307"/>
                <a:gd name="T58" fmla="*/ 2147483647 w 192"/>
                <a:gd name="T59" fmla="*/ 2147483647 h 307"/>
                <a:gd name="T60" fmla="*/ 2147483647 w 192"/>
                <a:gd name="T61" fmla="*/ 2147483647 h 307"/>
                <a:gd name="T62" fmla="*/ 2147483647 w 192"/>
                <a:gd name="T63" fmla="*/ 2147483647 h 307"/>
                <a:gd name="T64" fmla="*/ 2147483647 w 192"/>
                <a:gd name="T65" fmla="*/ 2147483647 h 307"/>
                <a:gd name="T66" fmla="*/ 2147483647 w 192"/>
                <a:gd name="T67" fmla="*/ 2147483647 h 307"/>
                <a:gd name="T68" fmla="*/ 2147483647 w 192"/>
                <a:gd name="T69" fmla="*/ 2147483647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92"/>
                <a:gd name="T106" fmla="*/ 0 h 307"/>
                <a:gd name="T107" fmla="*/ 192 w 192"/>
                <a:gd name="T108" fmla="*/ 307 h 30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5" name="Freeform 12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5137908" y="1913321"/>
              <a:ext cx="156214" cy="246186"/>
            </a:xfrm>
            <a:custGeom>
              <a:avLst/>
              <a:gdLst>
                <a:gd name="T0" fmla="*/ 2147483647 w 398"/>
                <a:gd name="T1" fmla="*/ 2147483647 h 518"/>
                <a:gd name="T2" fmla="*/ 2147483647 w 398"/>
                <a:gd name="T3" fmla="*/ 2147483647 h 518"/>
                <a:gd name="T4" fmla="*/ 2147483647 w 398"/>
                <a:gd name="T5" fmla="*/ 2147483647 h 518"/>
                <a:gd name="T6" fmla="*/ 2147483647 w 398"/>
                <a:gd name="T7" fmla="*/ 2147483647 h 518"/>
                <a:gd name="T8" fmla="*/ 2147483647 w 398"/>
                <a:gd name="T9" fmla="*/ 2147483647 h 518"/>
                <a:gd name="T10" fmla="*/ 2147483647 w 398"/>
                <a:gd name="T11" fmla="*/ 2147483647 h 518"/>
                <a:gd name="T12" fmla="*/ 2147483647 w 398"/>
                <a:gd name="T13" fmla="*/ 2147483647 h 518"/>
                <a:gd name="T14" fmla="*/ 2147483647 w 398"/>
                <a:gd name="T15" fmla="*/ 2147483647 h 518"/>
                <a:gd name="T16" fmla="*/ 2147483647 w 398"/>
                <a:gd name="T17" fmla="*/ 2147483647 h 518"/>
                <a:gd name="T18" fmla="*/ 2147483647 w 398"/>
                <a:gd name="T19" fmla="*/ 2147483647 h 518"/>
                <a:gd name="T20" fmla="*/ 2147483647 w 398"/>
                <a:gd name="T21" fmla="*/ 2147483647 h 518"/>
                <a:gd name="T22" fmla="*/ 2147483647 w 398"/>
                <a:gd name="T23" fmla="*/ 2147483647 h 518"/>
                <a:gd name="T24" fmla="*/ 2147483647 w 398"/>
                <a:gd name="T25" fmla="*/ 2147483647 h 518"/>
                <a:gd name="T26" fmla="*/ 2147483647 w 398"/>
                <a:gd name="T27" fmla="*/ 2147483647 h 518"/>
                <a:gd name="T28" fmla="*/ 2147483647 w 398"/>
                <a:gd name="T29" fmla="*/ 2147483647 h 518"/>
                <a:gd name="T30" fmla="*/ 2147483647 w 398"/>
                <a:gd name="T31" fmla="*/ 2147483647 h 518"/>
                <a:gd name="T32" fmla="*/ 2147483647 w 398"/>
                <a:gd name="T33" fmla="*/ 2147483647 h 518"/>
                <a:gd name="T34" fmla="*/ 2147483647 w 398"/>
                <a:gd name="T35" fmla="*/ 2147483647 h 518"/>
                <a:gd name="T36" fmla="*/ 2147483647 w 398"/>
                <a:gd name="T37" fmla="*/ 2147483647 h 518"/>
                <a:gd name="T38" fmla="*/ 2147483647 w 398"/>
                <a:gd name="T39" fmla="*/ 2147483647 h 518"/>
                <a:gd name="T40" fmla="*/ 2147483647 w 398"/>
                <a:gd name="T41" fmla="*/ 2147483647 h 518"/>
                <a:gd name="T42" fmla="*/ 2147483647 w 398"/>
                <a:gd name="T43" fmla="*/ 2147483647 h 518"/>
                <a:gd name="T44" fmla="*/ 2147483647 w 398"/>
                <a:gd name="T45" fmla="*/ 2147483647 h 518"/>
                <a:gd name="T46" fmla="*/ 2147483647 w 398"/>
                <a:gd name="T47" fmla="*/ 2147483647 h 518"/>
                <a:gd name="T48" fmla="*/ 2147483647 w 398"/>
                <a:gd name="T49" fmla="*/ 2147483647 h 518"/>
                <a:gd name="T50" fmla="*/ 2147483647 w 398"/>
                <a:gd name="T51" fmla="*/ 2147483647 h 518"/>
                <a:gd name="T52" fmla="*/ 2147483647 w 398"/>
                <a:gd name="T53" fmla="*/ 2147483647 h 518"/>
                <a:gd name="T54" fmla="*/ 2147483647 w 398"/>
                <a:gd name="T55" fmla="*/ 2147483647 h 518"/>
                <a:gd name="T56" fmla="*/ 2147483647 w 398"/>
                <a:gd name="T57" fmla="*/ 2147483647 h 518"/>
                <a:gd name="T58" fmla="*/ 2147483647 w 398"/>
                <a:gd name="T59" fmla="*/ 2147483647 h 518"/>
                <a:gd name="T60" fmla="*/ 2147483647 w 398"/>
                <a:gd name="T61" fmla="*/ 2147483647 h 518"/>
                <a:gd name="T62" fmla="*/ 2147483647 w 398"/>
                <a:gd name="T63" fmla="*/ 2147483647 h 518"/>
                <a:gd name="T64" fmla="*/ 2147483647 w 398"/>
                <a:gd name="T65" fmla="*/ 2147483647 h 518"/>
                <a:gd name="T66" fmla="*/ 2147483647 w 398"/>
                <a:gd name="T67" fmla="*/ 2147483647 h 518"/>
                <a:gd name="T68" fmla="*/ 2147483647 w 398"/>
                <a:gd name="T69" fmla="*/ 2147483647 h 518"/>
                <a:gd name="T70" fmla="*/ 2147483647 w 398"/>
                <a:gd name="T71" fmla="*/ 2147483647 h 518"/>
                <a:gd name="T72" fmla="*/ 2147483647 w 398"/>
                <a:gd name="T73" fmla="*/ 2147483647 h 518"/>
                <a:gd name="T74" fmla="*/ 2147483647 w 398"/>
                <a:gd name="T75" fmla="*/ 2147483647 h 518"/>
                <a:gd name="T76" fmla="*/ 2147483647 w 398"/>
                <a:gd name="T77" fmla="*/ 2147483647 h 518"/>
                <a:gd name="T78" fmla="*/ 2147483647 w 398"/>
                <a:gd name="T79" fmla="*/ 2147483647 h 518"/>
                <a:gd name="T80" fmla="*/ 2147483647 w 398"/>
                <a:gd name="T81" fmla="*/ 2147483647 h 518"/>
                <a:gd name="T82" fmla="*/ 2147483647 w 398"/>
                <a:gd name="T83" fmla="*/ 2147483647 h 518"/>
                <a:gd name="T84" fmla="*/ 2147483647 w 398"/>
                <a:gd name="T85" fmla="*/ 2147483647 h 518"/>
                <a:gd name="T86" fmla="*/ 2147483647 w 398"/>
                <a:gd name="T87" fmla="*/ 2147483647 h 518"/>
                <a:gd name="T88" fmla="*/ 2147483647 w 398"/>
                <a:gd name="T89" fmla="*/ 2147483647 h 518"/>
                <a:gd name="T90" fmla="*/ 2147483647 w 398"/>
                <a:gd name="T91" fmla="*/ 2147483647 h 518"/>
                <a:gd name="T92" fmla="*/ 2147483647 w 398"/>
                <a:gd name="T93" fmla="*/ 2147483647 h 518"/>
                <a:gd name="T94" fmla="*/ 2147483647 w 398"/>
                <a:gd name="T95" fmla="*/ 2147483647 h 518"/>
                <a:gd name="T96" fmla="*/ 2147483647 w 398"/>
                <a:gd name="T97" fmla="*/ 2147483647 h 518"/>
                <a:gd name="T98" fmla="*/ 2147483647 w 398"/>
                <a:gd name="T99" fmla="*/ 2147483647 h 518"/>
                <a:gd name="T100" fmla="*/ 2147483647 w 398"/>
                <a:gd name="T101" fmla="*/ 2147483647 h 518"/>
                <a:gd name="T102" fmla="*/ 2147483647 w 398"/>
                <a:gd name="T103" fmla="*/ 2147483647 h 518"/>
                <a:gd name="T104" fmla="*/ 2147483647 w 398"/>
                <a:gd name="T105" fmla="*/ 2147483647 h 518"/>
                <a:gd name="T106" fmla="*/ 2147483647 w 398"/>
                <a:gd name="T107" fmla="*/ 2147483647 h 518"/>
                <a:gd name="T108" fmla="*/ 2147483647 w 398"/>
                <a:gd name="T109" fmla="*/ 2147483647 h 518"/>
                <a:gd name="T110" fmla="*/ 2147483647 w 398"/>
                <a:gd name="T111" fmla="*/ 2147483647 h 518"/>
                <a:gd name="T112" fmla="*/ 2147483647 w 398"/>
                <a:gd name="T113" fmla="*/ 2147483647 h 518"/>
                <a:gd name="T114" fmla="*/ 2147483647 w 398"/>
                <a:gd name="T115" fmla="*/ 2147483647 h 518"/>
                <a:gd name="T116" fmla="*/ 2147483647 w 398"/>
                <a:gd name="T117" fmla="*/ 2147483647 h 518"/>
                <a:gd name="T118" fmla="*/ 2147483647 w 398"/>
                <a:gd name="T119" fmla="*/ 2147483647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98"/>
                <a:gd name="T181" fmla="*/ 0 h 518"/>
                <a:gd name="T182" fmla="*/ 398 w 398"/>
                <a:gd name="T183" fmla="*/ 518 h 51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6" name="Freeform 13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5464801" y="2189918"/>
              <a:ext cx="154767" cy="69511"/>
            </a:xfrm>
            <a:custGeom>
              <a:avLst/>
              <a:gdLst>
                <a:gd name="T0" fmla="*/ 2147483647 w 382"/>
                <a:gd name="T1" fmla="*/ 2147483647 h 148"/>
                <a:gd name="T2" fmla="*/ 2147483647 w 382"/>
                <a:gd name="T3" fmla="*/ 2147483647 h 148"/>
                <a:gd name="T4" fmla="*/ 2147483647 w 382"/>
                <a:gd name="T5" fmla="*/ 2147483647 h 148"/>
                <a:gd name="T6" fmla="*/ 2147483647 w 382"/>
                <a:gd name="T7" fmla="*/ 2147483647 h 148"/>
                <a:gd name="T8" fmla="*/ 2147483647 w 382"/>
                <a:gd name="T9" fmla="*/ 2147483647 h 148"/>
                <a:gd name="T10" fmla="*/ 2147483647 w 382"/>
                <a:gd name="T11" fmla="*/ 2147483647 h 148"/>
                <a:gd name="T12" fmla="*/ 2147483647 w 382"/>
                <a:gd name="T13" fmla="*/ 2147483647 h 148"/>
                <a:gd name="T14" fmla="*/ 2147483647 w 382"/>
                <a:gd name="T15" fmla="*/ 2147483647 h 148"/>
                <a:gd name="T16" fmla="*/ 2147483647 w 382"/>
                <a:gd name="T17" fmla="*/ 2147483647 h 148"/>
                <a:gd name="T18" fmla="*/ 2147483647 w 382"/>
                <a:gd name="T19" fmla="*/ 2147483647 h 148"/>
                <a:gd name="T20" fmla="*/ 2147483647 w 382"/>
                <a:gd name="T21" fmla="*/ 2147483647 h 148"/>
                <a:gd name="T22" fmla="*/ 0 w 382"/>
                <a:gd name="T23" fmla="*/ 2147483647 h 148"/>
                <a:gd name="T24" fmla="*/ 2147483647 w 382"/>
                <a:gd name="T25" fmla="*/ 2147483647 h 148"/>
                <a:gd name="T26" fmla="*/ 2147483647 w 382"/>
                <a:gd name="T27" fmla="*/ 2147483647 h 148"/>
                <a:gd name="T28" fmla="*/ 2147483647 w 382"/>
                <a:gd name="T29" fmla="*/ 2147483647 h 148"/>
                <a:gd name="T30" fmla="*/ 2147483647 w 382"/>
                <a:gd name="T31" fmla="*/ 2147483647 h 148"/>
                <a:gd name="T32" fmla="*/ 2147483647 w 382"/>
                <a:gd name="T33" fmla="*/ 2147483647 h 148"/>
                <a:gd name="T34" fmla="*/ 2147483647 w 382"/>
                <a:gd name="T35" fmla="*/ 2147483647 h 148"/>
                <a:gd name="T36" fmla="*/ 2147483647 w 382"/>
                <a:gd name="T37" fmla="*/ 2147483647 h 148"/>
                <a:gd name="T38" fmla="*/ 2147483647 w 382"/>
                <a:gd name="T39" fmla="*/ 2147483647 h 148"/>
                <a:gd name="T40" fmla="*/ 2147483647 w 382"/>
                <a:gd name="T41" fmla="*/ 2147483647 h 148"/>
                <a:gd name="T42" fmla="*/ 2147483647 w 382"/>
                <a:gd name="T43" fmla="*/ 2147483647 h 148"/>
                <a:gd name="T44" fmla="*/ 2147483647 w 382"/>
                <a:gd name="T45" fmla="*/ 2147483647 h 148"/>
                <a:gd name="T46" fmla="*/ 2147483647 w 382"/>
                <a:gd name="T47" fmla="*/ 2147483647 h 148"/>
                <a:gd name="T48" fmla="*/ 2147483647 w 382"/>
                <a:gd name="T49" fmla="*/ 2147483647 h 148"/>
                <a:gd name="T50" fmla="*/ 2147483647 w 382"/>
                <a:gd name="T51" fmla="*/ 2147483647 h 148"/>
                <a:gd name="T52" fmla="*/ 2147483647 w 382"/>
                <a:gd name="T53" fmla="*/ 2147483647 h 148"/>
                <a:gd name="T54" fmla="*/ 2147483647 w 382"/>
                <a:gd name="T55" fmla="*/ 2147483647 h 148"/>
                <a:gd name="T56" fmla="*/ 2147483647 w 382"/>
                <a:gd name="T57" fmla="*/ 2147483647 h 148"/>
                <a:gd name="T58" fmla="*/ 2147483647 w 382"/>
                <a:gd name="T59" fmla="*/ 2147483647 h 148"/>
                <a:gd name="T60" fmla="*/ 2147483647 w 382"/>
                <a:gd name="T61" fmla="*/ 2147483647 h 148"/>
                <a:gd name="T62" fmla="*/ 2147483647 w 382"/>
                <a:gd name="T63" fmla="*/ 2147483647 h 148"/>
                <a:gd name="T64" fmla="*/ 2147483647 w 382"/>
                <a:gd name="T65" fmla="*/ 2147483647 h 148"/>
                <a:gd name="T66" fmla="*/ 2147483647 w 382"/>
                <a:gd name="T67" fmla="*/ 2147483647 h 148"/>
                <a:gd name="T68" fmla="*/ 2147483647 w 382"/>
                <a:gd name="T69" fmla="*/ 2147483647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82"/>
                <a:gd name="T106" fmla="*/ 0 h 148"/>
                <a:gd name="T107" fmla="*/ 382 w 382"/>
                <a:gd name="T108" fmla="*/ 148 h 14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7" name="Freeform 14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6824444" y="2052344"/>
              <a:ext cx="1167267" cy="947092"/>
            </a:xfrm>
            <a:custGeom>
              <a:avLst/>
              <a:gdLst>
                <a:gd name="T0" fmla="*/ 2147483647 w 2936"/>
                <a:gd name="T1" fmla="*/ 2147483647 h 1983"/>
                <a:gd name="T2" fmla="*/ 2147483647 w 2936"/>
                <a:gd name="T3" fmla="*/ 2147483647 h 1983"/>
                <a:gd name="T4" fmla="*/ 2147483647 w 2936"/>
                <a:gd name="T5" fmla="*/ 2147483647 h 1983"/>
                <a:gd name="T6" fmla="*/ 2147483647 w 2936"/>
                <a:gd name="T7" fmla="*/ 2147483647 h 1983"/>
                <a:gd name="T8" fmla="*/ 2147483647 w 2936"/>
                <a:gd name="T9" fmla="*/ 2147483647 h 1983"/>
                <a:gd name="T10" fmla="*/ 2147483647 w 2936"/>
                <a:gd name="T11" fmla="*/ 2147483647 h 1983"/>
                <a:gd name="T12" fmla="*/ 2147483647 w 2936"/>
                <a:gd name="T13" fmla="*/ 2147483647 h 1983"/>
                <a:gd name="T14" fmla="*/ 2147483647 w 2936"/>
                <a:gd name="T15" fmla="*/ 2147483647 h 1983"/>
                <a:gd name="T16" fmla="*/ 2147483647 w 2936"/>
                <a:gd name="T17" fmla="*/ 2147483647 h 1983"/>
                <a:gd name="T18" fmla="*/ 2147483647 w 2936"/>
                <a:gd name="T19" fmla="*/ 2147483647 h 1983"/>
                <a:gd name="T20" fmla="*/ 2147483647 w 2936"/>
                <a:gd name="T21" fmla="*/ 2147483647 h 1983"/>
                <a:gd name="T22" fmla="*/ 2147483647 w 2936"/>
                <a:gd name="T23" fmla="*/ 2147483647 h 1983"/>
                <a:gd name="T24" fmla="*/ 2147483647 w 2936"/>
                <a:gd name="T25" fmla="*/ 2147483647 h 1983"/>
                <a:gd name="T26" fmla="*/ 2147483647 w 2936"/>
                <a:gd name="T27" fmla="*/ 2147483647 h 1983"/>
                <a:gd name="T28" fmla="*/ 2147483647 w 2936"/>
                <a:gd name="T29" fmla="*/ 2147483647 h 1983"/>
                <a:gd name="T30" fmla="*/ 2147483647 w 2936"/>
                <a:gd name="T31" fmla="*/ 2147483647 h 1983"/>
                <a:gd name="T32" fmla="*/ 2147483647 w 2936"/>
                <a:gd name="T33" fmla="*/ 2147483647 h 1983"/>
                <a:gd name="T34" fmla="*/ 2147483647 w 2936"/>
                <a:gd name="T35" fmla="*/ 2147483647 h 1983"/>
                <a:gd name="T36" fmla="*/ 2147483647 w 2936"/>
                <a:gd name="T37" fmla="*/ 2147483647 h 1983"/>
                <a:gd name="T38" fmla="*/ 2147483647 w 2936"/>
                <a:gd name="T39" fmla="*/ 2147483647 h 1983"/>
                <a:gd name="T40" fmla="*/ 2147483647 w 2936"/>
                <a:gd name="T41" fmla="*/ 2147483647 h 1983"/>
                <a:gd name="T42" fmla="*/ 2147483647 w 2936"/>
                <a:gd name="T43" fmla="*/ 2147483647 h 1983"/>
                <a:gd name="T44" fmla="*/ 2147483647 w 2936"/>
                <a:gd name="T45" fmla="*/ 2147483647 h 1983"/>
                <a:gd name="T46" fmla="*/ 2147483647 w 2936"/>
                <a:gd name="T47" fmla="*/ 2147483647 h 1983"/>
                <a:gd name="T48" fmla="*/ 2147483647 w 2936"/>
                <a:gd name="T49" fmla="*/ 2147483647 h 1983"/>
                <a:gd name="T50" fmla="*/ 2147483647 w 2936"/>
                <a:gd name="T51" fmla="*/ 2147483647 h 1983"/>
                <a:gd name="T52" fmla="*/ 2147483647 w 2936"/>
                <a:gd name="T53" fmla="*/ 2147483647 h 1983"/>
                <a:gd name="T54" fmla="*/ 2147483647 w 2936"/>
                <a:gd name="T55" fmla="*/ 2147483647 h 1983"/>
                <a:gd name="T56" fmla="*/ 2147483647 w 2936"/>
                <a:gd name="T57" fmla="*/ 2147483647 h 1983"/>
                <a:gd name="T58" fmla="*/ 2147483647 w 2936"/>
                <a:gd name="T59" fmla="*/ 2147483647 h 1983"/>
                <a:gd name="T60" fmla="*/ 2147483647 w 2936"/>
                <a:gd name="T61" fmla="*/ 2147483647 h 1983"/>
                <a:gd name="T62" fmla="*/ 2147483647 w 2936"/>
                <a:gd name="T63" fmla="*/ 2147483647 h 1983"/>
                <a:gd name="T64" fmla="*/ 2147483647 w 2936"/>
                <a:gd name="T65" fmla="*/ 2147483647 h 1983"/>
                <a:gd name="T66" fmla="*/ 2147483647 w 2936"/>
                <a:gd name="T67" fmla="*/ 2147483647 h 1983"/>
                <a:gd name="T68" fmla="*/ 2147483647 w 2936"/>
                <a:gd name="T69" fmla="*/ 2147483647 h 1983"/>
                <a:gd name="T70" fmla="*/ 2147483647 w 2936"/>
                <a:gd name="T71" fmla="*/ 2147483647 h 1983"/>
                <a:gd name="T72" fmla="*/ 2147483647 w 2936"/>
                <a:gd name="T73" fmla="*/ 2147483647 h 1983"/>
                <a:gd name="T74" fmla="*/ 2147483647 w 2936"/>
                <a:gd name="T75" fmla="*/ 2147483647 h 1983"/>
                <a:gd name="T76" fmla="*/ 2147483647 w 2936"/>
                <a:gd name="T77" fmla="*/ 2147483647 h 1983"/>
                <a:gd name="T78" fmla="*/ 2147483647 w 2936"/>
                <a:gd name="T79" fmla="*/ 2147483647 h 1983"/>
                <a:gd name="T80" fmla="*/ 2147483647 w 2936"/>
                <a:gd name="T81" fmla="*/ 2147483647 h 1983"/>
                <a:gd name="T82" fmla="*/ 2147483647 w 2936"/>
                <a:gd name="T83" fmla="*/ 2147483647 h 1983"/>
                <a:gd name="T84" fmla="*/ 2147483647 w 2936"/>
                <a:gd name="T85" fmla="*/ 2147483647 h 1983"/>
                <a:gd name="T86" fmla="*/ 2147483647 w 2936"/>
                <a:gd name="T87" fmla="*/ 2147483647 h 1983"/>
                <a:gd name="T88" fmla="*/ 2147483647 w 2936"/>
                <a:gd name="T89" fmla="*/ 2147483647 h 1983"/>
                <a:gd name="T90" fmla="*/ 2147483647 w 2936"/>
                <a:gd name="T91" fmla="*/ 2147483647 h 1983"/>
                <a:gd name="T92" fmla="*/ 2147483647 w 2936"/>
                <a:gd name="T93" fmla="*/ 2147483647 h 1983"/>
                <a:gd name="T94" fmla="*/ 2147483647 w 2936"/>
                <a:gd name="T95" fmla="*/ 2147483647 h 1983"/>
                <a:gd name="T96" fmla="*/ 2147483647 w 2936"/>
                <a:gd name="T97" fmla="*/ 2147483647 h 1983"/>
                <a:gd name="T98" fmla="*/ 2147483647 w 2936"/>
                <a:gd name="T99" fmla="*/ 2147483647 h 1983"/>
                <a:gd name="T100" fmla="*/ 2147483647 w 2936"/>
                <a:gd name="T101" fmla="*/ 2147483647 h 1983"/>
                <a:gd name="T102" fmla="*/ 2147483647 w 2936"/>
                <a:gd name="T103" fmla="*/ 2147483647 h 1983"/>
                <a:gd name="T104" fmla="*/ 2147483647 w 2936"/>
                <a:gd name="T105" fmla="*/ 2147483647 h 1983"/>
                <a:gd name="T106" fmla="*/ 2147483647 w 2936"/>
                <a:gd name="T107" fmla="*/ 2147483647 h 1983"/>
                <a:gd name="T108" fmla="*/ 2147483647 w 2936"/>
                <a:gd name="T109" fmla="*/ 2147483647 h 1983"/>
                <a:gd name="T110" fmla="*/ 2147483647 w 2936"/>
                <a:gd name="T111" fmla="*/ 2147483647 h 1983"/>
                <a:gd name="T112" fmla="*/ 2147483647 w 2936"/>
                <a:gd name="T113" fmla="*/ 2147483647 h 1983"/>
                <a:gd name="T114" fmla="*/ 2147483647 w 2936"/>
                <a:gd name="T115" fmla="*/ 2147483647 h 1983"/>
                <a:gd name="T116" fmla="*/ 2147483647 w 2936"/>
                <a:gd name="T117" fmla="*/ 2147483647 h 1983"/>
                <a:gd name="T118" fmla="*/ 2147483647 w 2936"/>
                <a:gd name="T119" fmla="*/ 2147483647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936"/>
                <a:gd name="T181" fmla="*/ 0 h 1983"/>
                <a:gd name="T182" fmla="*/ 2936 w 2936"/>
                <a:gd name="T183" fmla="*/ 1983 h 1983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8" name="Freeform 15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5632586" y="1633827"/>
              <a:ext cx="201053" cy="249082"/>
            </a:xfrm>
            <a:custGeom>
              <a:avLst/>
              <a:gdLst>
                <a:gd name="T0" fmla="*/ 2147483647 w 504"/>
                <a:gd name="T1" fmla="*/ 2147483647 h 524"/>
                <a:gd name="T2" fmla="*/ 2147483647 w 504"/>
                <a:gd name="T3" fmla="*/ 2147483647 h 524"/>
                <a:gd name="T4" fmla="*/ 2147483647 w 504"/>
                <a:gd name="T5" fmla="*/ 2147483647 h 524"/>
                <a:gd name="T6" fmla="*/ 2147483647 w 504"/>
                <a:gd name="T7" fmla="*/ 2147483647 h 524"/>
                <a:gd name="T8" fmla="*/ 2147483647 w 504"/>
                <a:gd name="T9" fmla="*/ 2147483647 h 524"/>
                <a:gd name="T10" fmla="*/ 2147483647 w 504"/>
                <a:gd name="T11" fmla="*/ 2147483647 h 524"/>
                <a:gd name="T12" fmla="*/ 2147483647 w 504"/>
                <a:gd name="T13" fmla="*/ 2147483647 h 524"/>
                <a:gd name="T14" fmla="*/ 2147483647 w 504"/>
                <a:gd name="T15" fmla="*/ 2147483647 h 524"/>
                <a:gd name="T16" fmla="*/ 2147483647 w 504"/>
                <a:gd name="T17" fmla="*/ 2147483647 h 524"/>
                <a:gd name="T18" fmla="*/ 2147483647 w 504"/>
                <a:gd name="T19" fmla="*/ 2147483647 h 524"/>
                <a:gd name="T20" fmla="*/ 2147483647 w 504"/>
                <a:gd name="T21" fmla="*/ 2147483647 h 524"/>
                <a:gd name="T22" fmla="*/ 2147483647 w 504"/>
                <a:gd name="T23" fmla="*/ 2147483647 h 524"/>
                <a:gd name="T24" fmla="*/ 2147483647 w 504"/>
                <a:gd name="T25" fmla="*/ 2147483647 h 524"/>
                <a:gd name="T26" fmla="*/ 2147483647 w 504"/>
                <a:gd name="T27" fmla="*/ 2147483647 h 524"/>
                <a:gd name="T28" fmla="*/ 2147483647 w 504"/>
                <a:gd name="T29" fmla="*/ 2147483647 h 524"/>
                <a:gd name="T30" fmla="*/ 2147483647 w 504"/>
                <a:gd name="T31" fmla="*/ 2147483647 h 524"/>
                <a:gd name="T32" fmla="*/ 2147483647 w 504"/>
                <a:gd name="T33" fmla="*/ 2147483647 h 524"/>
                <a:gd name="T34" fmla="*/ 2147483647 w 504"/>
                <a:gd name="T35" fmla="*/ 2147483647 h 524"/>
                <a:gd name="T36" fmla="*/ 2147483647 w 504"/>
                <a:gd name="T37" fmla="*/ 2147483647 h 524"/>
                <a:gd name="T38" fmla="*/ 2147483647 w 504"/>
                <a:gd name="T39" fmla="*/ 2147483647 h 524"/>
                <a:gd name="T40" fmla="*/ 2147483647 w 504"/>
                <a:gd name="T41" fmla="*/ 2147483647 h 524"/>
                <a:gd name="T42" fmla="*/ 2147483647 w 504"/>
                <a:gd name="T43" fmla="*/ 2147483647 h 524"/>
                <a:gd name="T44" fmla="*/ 2147483647 w 504"/>
                <a:gd name="T45" fmla="*/ 2147483647 h 524"/>
                <a:gd name="T46" fmla="*/ 2147483647 w 504"/>
                <a:gd name="T47" fmla="*/ 2147483647 h 524"/>
                <a:gd name="T48" fmla="*/ 2147483647 w 504"/>
                <a:gd name="T49" fmla="*/ 2147483647 h 524"/>
                <a:gd name="T50" fmla="*/ 2147483647 w 504"/>
                <a:gd name="T51" fmla="*/ 2147483647 h 524"/>
                <a:gd name="T52" fmla="*/ 2147483647 w 504"/>
                <a:gd name="T53" fmla="*/ 2147483647 h 524"/>
                <a:gd name="T54" fmla="*/ 2147483647 w 504"/>
                <a:gd name="T55" fmla="*/ 2147483647 h 524"/>
                <a:gd name="T56" fmla="*/ 2147483647 w 504"/>
                <a:gd name="T57" fmla="*/ 2147483647 h 524"/>
                <a:gd name="T58" fmla="*/ 2147483647 w 504"/>
                <a:gd name="T59" fmla="*/ 2147483647 h 524"/>
                <a:gd name="T60" fmla="*/ 2147483647 w 504"/>
                <a:gd name="T61" fmla="*/ 2147483647 h 524"/>
                <a:gd name="T62" fmla="*/ 2147483647 w 504"/>
                <a:gd name="T63" fmla="*/ 2147483647 h 524"/>
                <a:gd name="T64" fmla="*/ 2147483647 w 504"/>
                <a:gd name="T65" fmla="*/ 2147483647 h 524"/>
                <a:gd name="T66" fmla="*/ 2147483647 w 504"/>
                <a:gd name="T67" fmla="*/ 2147483647 h 524"/>
                <a:gd name="T68" fmla="*/ 2147483647 w 504"/>
                <a:gd name="T69" fmla="*/ 2147483647 h 524"/>
                <a:gd name="T70" fmla="*/ 2147483647 w 504"/>
                <a:gd name="T71" fmla="*/ 2147483647 h 524"/>
                <a:gd name="T72" fmla="*/ 2147483647 w 504"/>
                <a:gd name="T73" fmla="*/ 2147483647 h 524"/>
                <a:gd name="T74" fmla="*/ 2147483647 w 504"/>
                <a:gd name="T75" fmla="*/ 0 h 524"/>
                <a:gd name="T76" fmla="*/ 2147483647 w 504"/>
                <a:gd name="T77" fmla="*/ 0 h 524"/>
                <a:gd name="T78" fmla="*/ 2147483647 w 504"/>
                <a:gd name="T79" fmla="*/ 2147483647 h 524"/>
                <a:gd name="T80" fmla="*/ 2147483647 w 504"/>
                <a:gd name="T81" fmla="*/ 2147483647 h 524"/>
                <a:gd name="T82" fmla="*/ 2147483647 w 504"/>
                <a:gd name="T83" fmla="*/ 2147483647 h 524"/>
                <a:gd name="T84" fmla="*/ 2147483647 w 504"/>
                <a:gd name="T85" fmla="*/ 2147483647 h 524"/>
                <a:gd name="T86" fmla="*/ 2147483647 w 504"/>
                <a:gd name="T87" fmla="*/ 2147483647 h 524"/>
                <a:gd name="T88" fmla="*/ 2147483647 w 504"/>
                <a:gd name="T89" fmla="*/ 2147483647 h 524"/>
                <a:gd name="T90" fmla="*/ 2147483647 w 504"/>
                <a:gd name="T91" fmla="*/ 2147483647 h 524"/>
                <a:gd name="T92" fmla="*/ 2147483647 w 504"/>
                <a:gd name="T93" fmla="*/ 2147483647 h 524"/>
                <a:gd name="T94" fmla="*/ 2147483647 w 504"/>
                <a:gd name="T95" fmla="*/ 2147483647 h 524"/>
                <a:gd name="T96" fmla="*/ 2147483647 w 504"/>
                <a:gd name="T97" fmla="*/ 2147483647 h 524"/>
                <a:gd name="T98" fmla="*/ 2147483647 w 504"/>
                <a:gd name="T99" fmla="*/ 2147483647 h 524"/>
                <a:gd name="T100" fmla="*/ 2147483647 w 504"/>
                <a:gd name="T101" fmla="*/ 2147483647 h 524"/>
                <a:gd name="T102" fmla="*/ 2147483647 w 504"/>
                <a:gd name="T103" fmla="*/ 2147483647 h 524"/>
                <a:gd name="T104" fmla="*/ 2147483647 w 504"/>
                <a:gd name="T105" fmla="*/ 2147483647 h 524"/>
                <a:gd name="T106" fmla="*/ 2147483647 w 504"/>
                <a:gd name="T107" fmla="*/ 2147483647 h 524"/>
                <a:gd name="T108" fmla="*/ 2147483647 w 504"/>
                <a:gd name="T109" fmla="*/ 2147483647 h 524"/>
                <a:gd name="T110" fmla="*/ 2147483647 w 504"/>
                <a:gd name="T111" fmla="*/ 214748364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04"/>
                <a:gd name="T169" fmla="*/ 0 h 524"/>
                <a:gd name="T170" fmla="*/ 504 w 504"/>
                <a:gd name="T171" fmla="*/ 524 h 52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9" name="Freeform 16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5392479" y="2014692"/>
              <a:ext cx="166339" cy="217223"/>
            </a:xfrm>
            <a:custGeom>
              <a:avLst/>
              <a:gdLst>
                <a:gd name="T0" fmla="*/ 2147483647 w 438"/>
                <a:gd name="T1" fmla="*/ 2147483647 h 451"/>
                <a:gd name="T2" fmla="*/ 2147483647 w 438"/>
                <a:gd name="T3" fmla="*/ 2147483647 h 451"/>
                <a:gd name="T4" fmla="*/ 2147483647 w 438"/>
                <a:gd name="T5" fmla="*/ 2147483647 h 451"/>
                <a:gd name="T6" fmla="*/ 2147483647 w 438"/>
                <a:gd name="T7" fmla="*/ 2147483647 h 451"/>
                <a:gd name="T8" fmla="*/ 2147483647 w 438"/>
                <a:gd name="T9" fmla="*/ 2147483647 h 451"/>
                <a:gd name="T10" fmla="*/ 2147483647 w 438"/>
                <a:gd name="T11" fmla="*/ 2147483647 h 451"/>
                <a:gd name="T12" fmla="*/ 2147483647 w 438"/>
                <a:gd name="T13" fmla="*/ 2147483647 h 451"/>
                <a:gd name="T14" fmla="*/ 2147483647 w 438"/>
                <a:gd name="T15" fmla="*/ 2147483647 h 451"/>
                <a:gd name="T16" fmla="*/ 2147483647 w 438"/>
                <a:gd name="T17" fmla="*/ 2147483647 h 451"/>
                <a:gd name="T18" fmla="*/ 2147483647 w 438"/>
                <a:gd name="T19" fmla="*/ 2147483647 h 451"/>
                <a:gd name="T20" fmla="*/ 2147483647 w 438"/>
                <a:gd name="T21" fmla="*/ 2147483647 h 451"/>
                <a:gd name="T22" fmla="*/ 2147483647 w 438"/>
                <a:gd name="T23" fmla="*/ 2147483647 h 451"/>
                <a:gd name="T24" fmla="*/ 2147483647 w 438"/>
                <a:gd name="T25" fmla="*/ 2147483647 h 451"/>
                <a:gd name="T26" fmla="*/ 2147483647 w 438"/>
                <a:gd name="T27" fmla="*/ 0 h 451"/>
                <a:gd name="T28" fmla="*/ 2147483647 w 438"/>
                <a:gd name="T29" fmla="*/ 2147483647 h 451"/>
                <a:gd name="T30" fmla="*/ 2147483647 w 438"/>
                <a:gd name="T31" fmla="*/ 2147483647 h 451"/>
                <a:gd name="T32" fmla="*/ 2147483647 w 438"/>
                <a:gd name="T33" fmla="*/ 2147483647 h 451"/>
                <a:gd name="T34" fmla="*/ 2147483647 w 438"/>
                <a:gd name="T35" fmla="*/ 2147483647 h 451"/>
                <a:gd name="T36" fmla="*/ 2147483647 w 438"/>
                <a:gd name="T37" fmla="*/ 2147483647 h 451"/>
                <a:gd name="T38" fmla="*/ 2147483647 w 438"/>
                <a:gd name="T39" fmla="*/ 2147483647 h 451"/>
                <a:gd name="T40" fmla="*/ 2147483647 w 438"/>
                <a:gd name="T41" fmla="*/ 2147483647 h 451"/>
                <a:gd name="T42" fmla="*/ 2147483647 w 438"/>
                <a:gd name="T43" fmla="*/ 2147483647 h 451"/>
                <a:gd name="T44" fmla="*/ 2147483647 w 438"/>
                <a:gd name="T45" fmla="*/ 2147483647 h 451"/>
                <a:gd name="T46" fmla="*/ 2147483647 w 438"/>
                <a:gd name="T47" fmla="*/ 2147483647 h 451"/>
                <a:gd name="T48" fmla="*/ 2147483647 w 438"/>
                <a:gd name="T49" fmla="*/ 2147483647 h 451"/>
                <a:gd name="T50" fmla="*/ 2147483647 w 438"/>
                <a:gd name="T51" fmla="*/ 2147483647 h 451"/>
                <a:gd name="T52" fmla="*/ 2147483647 w 438"/>
                <a:gd name="T53" fmla="*/ 2147483647 h 451"/>
                <a:gd name="T54" fmla="*/ 2147483647 w 438"/>
                <a:gd name="T55" fmla="*/ 2147483647 h 451"/>
                <a:gd name="T56" fmla="*/ 2147483647 w 438"/>
                <a:gd name="T57" fmla="*/ 2147483647 h 451"/>
                <a:gd name="T58" fmla="*/ 2147483647 w 438"/>
                <a:gd name="T59" fmla="*/ 2147483647 h 451"/>
                <a:gd name="T60" fmla="*/ 2147483647 w 438"/>
                <a:gd name="T61" fmla="*/ 2147483647 h 451"/>
                <a:gd name="T62" fmla="*/ 2147483647 w 438"/>
                <a:gd name="T63" fmla="*/ 2147483647 h 451"/>
                <a:gd name="T64" fmla="*/ 2147483647 w 438"/>
                <a:gd name="T65" fmla="*/ 2147483647 h 451"/>
                <a:gd name="T66" fmla="*/ 2147483647 w 438"/>
                <a:gd name="T67" fmla="*/ 2147483647 h 451"/>
                <a:gd name="T68" fmla="*/ 2147483647 w 438"/>
                <a:gd name="T69" fmla="*/ 2147483647 h 451"/>
                <a:gd name="T70" fmla="*/ 2147483647 w 438"/>
                <a:gd name="T71" fmla="*/ 2147483647 h 451"/>
                <a:gd name="T72" fmla="*/ 2147483647 w 438"/>
                <a:gd name="T73" fmla="*/ 2147483647 h 451"/>
                <a:gd name="T74" fmla="*/ 2147483647 w 438"/>
                <a:gd name="T75" fmla="*/ 2147483647 h 451"/>
                <a:gd name="T76" fmla="*/ 2147483647 w 438"/>
                <a:gd name="T77" fmla="*/ 2147483647 h 451"/>
                <a:gd name="T78" fmla="*/ 2147483647 w 438"/>
                <a:gd name="T79" fmla="*/ 2147483647 h 451"/>
                <a:gd name="T80" fmla="*/ 2147483647 w 438"/>
                <a:gd name="T81" fmla="*/ 2147483647 h 451"/>
                <a:gd name="T82" fmla="*/ 2147483647 w 438"/>
                <a:gd name="T83" fmla="*/ 2147483647 h 451"/>
                <a:gd name="T84" fmla="*/ 2147483647 w 438"/>
                <a:gd name="T85" fmla="*/ 2147483647 h 451"/>
                <a:gd name="T86" fmla="*/ 2147483647 w 438"/>
                <a:gd name="T87" fmla="*/ 2147483647 h 451"/>
                <a:gd name="T88" fmla="*/ 2147483647 w 438"/>
                <a:gd name="T89" fmla="*/ 2147483647 h 451"/>
                <a:gd name="T90" fmla="*/ 2147483647 w 438"/>
                <a:gd name="T91" fmla="*/ 2147483647 h 451"/>
                <a:gd name="T92" fmla="*/ 2147483647 w 438"/>
                <a:gd name="T93" fmla="*/ 2147483647 h 451"/>
                <a:gd name="T94" fmla="*/ 2147483647 w 438"/>
                <a:gd name="T95" fmla="*/ 2147483647 h 451"/>
                <a:gd name="T96" fmla="*/ 2147483647 w 438"/>
                <a:gd name="T97" fmla="*/ 2147483647 h 451"/>
                <a:gd name="T98" fmla="*/ 2147483647 w 438"/>
                <a:gd name="T99" fmla="*/ 2147483647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438"/>
                <a:gd name="T151" fmla="*/ 0 h 451"/>
                <a:gd name="T152" fmla="*/ 438 w 438"/>
                <a:gd name="T153" fmla="*/ 451 h 451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0" name="Freeform 17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5415622" y="2249293"/>
              <a:ext cx="228536" cy="250530"/>
            </a:xfrm>
            <a:custGeom>
              <a:avLst/>
              <a:gdLst>
                <a:gd name="T0" fmla="*/ 2147483647 w 578"/>
                <a:gd name="T1" fmla="*/ 2147483647 h 524"/>
                <a:gd name="T2" fmla="*/ 2147483647 w 578"/>
                <a:gd name="T3" fmla="*/ 2147483647 h 524"/>
                <a:gd name="T4" fmla="*/ 2147483647 w 578"/>
                <a:gd name="T5" fmla="*/ 2147483647 h 524"/>
                <a:gd name="T6" fmla="*/ 2147483647 w 578"/>
                <a:gd name="T7" fmla="*/ 2147483647 h 524"/>
                <a:gd name="T8" fmla="*/ 2147483647 w 578"/>
                <a:gd name="T9" fmla="*/ 2147483647 h 524"/>
                <a:gd name="T10" fmla="*/ 2147483647 w 578"/>
                <a:gd name="T11" fmla="*/ 2147483647 h 524"/>
                <a:gd name="T12" fmla="*/ 2147483647 w 578"/>
                <a:gd name="T13" fmla="*/ 2147483647 h 524"/>
                <a:gd name="T14" fmla="*/ 2147483647 w 578"/>
                <a:gd name="T15" fmla="*/ 2147483647 h 524"/>
                <a:gd name="T16" fmla="*/ 2147483647 w 578"/>
                <a:gd name="T17" fmla="*/ 2147483647 h 524"/>
                <a:gd name="T18" fmla="*/ 2147483647 w 578"/>
                <a:gd name="T19" fmla="*/ 2147483647 h 524"/>
                <a:gd name="T20" fmla="*/ 2147483647 w 578"/>
                <a:gd name="T21" fmla="*/ 2147483647 h 524"/>
                <a:gd name="T22" fmla="*/ 2147483647 w 578"/>
                <a:gd name="T23" fmla="*/ 2147483647 h 524"/>
                <a:gd name="T24" fmla="*/ 2147483647 w 578"/>
                <a:gd name="T25" fmla="*/ 2147483647 h 524"/>
                <a:gd name="T26" fmla="*/ 2147483647 w 578"/>
                <a:gd name="T27" fmla="*/ 2147483647 h 524"/>
                <a:gd name="T28" fmla="*/ 2147483647 w 578"/>
                <a:gd name="T29" fmla="*/ 2147483647 h 524"/>
                <a:gd name="T30" fmla="*/ 2147483647 w 578"/>
                <a:gd name="T31" fmla="*/ 2147483647 h 524"/>
                <a:gd name="T32" fmla="*/ 2147483647 w 578"/>
                <a:gd name="T33" fmla="*/ 2147483647 h 524"/>
                <a:gd name="T34" fmla="*/ 2147483647 w 578"/>
                <a:gd name="T35" fmla="*/ 2147483647 h 524"/>
                <a:gd name="T36" fmla="*/ 2147483647 w 578"/>
                <a:gd name="T37" fmla="*/ 2147483647 h 524"/>
                <a:gd name="T38" fmla="*/ 2147483647 w 578"/>
                <a:gd name="T39" fmla="*/ 2147483647 h 524"/>
                <a:gd name="T40" fmla="*/ 2147483647 w 578"/>
                <a:gd name="T41" fmla="*/ 2147483647 h 524"/>
                <a:gd name="T42" fmla="*/ 2147483647 w 578"/>
                <a:gd name="T43" fmla="*/ 2147483647 h 524"/>
                <a:gd name="T44" fmla="*/ 2147483647 w 578"/>
                <a:gd name="T45" fmla="*/ 2147483647 h 524"/>
                <a:gd name="T46" fmla="*/ 2147483647 w 578"/>
                <a:gd name="T47" fmla="*/ 2147483647 h 524"/>
                <a:gd name="T48" fmla="*/ 2147483647 w 578"/>
                <a:gd name="T49" fmla="*/ 2147483647 h 524"/>
                <a:gd name="T50" fmla="*/ 2147483647 w 578"/>
                <a:gd name="T51" fmla="*/ 2147483647 h 524"/>
                <a:gd name="T52" fmla="*/ 2147483647 w 578"/>
                <a:gd name="T53" fmla="*/ 2147483647 h 524"/>
                <a:gd name="T54" fmla="*/ 2147483647 w 578"/>
                <a:gd name="T55" fmla="*/ 2147483647 h 524"/>
                <a:gd name="T56" fmla="*/ 2147483647 w 578"/>
                <a:gd name="T57" fmla="*/ 2147483647 h 524"/>
                <a:gd name="T58" fmla="*/ 2147483647 w 578"/>
                <a:gd name="T59" fmla="*/ 2147483647 h 524"/>
                <a:gd name="T60" fmla="*/ 2147483647 w 578"/>
                <a:gd name="T61" fmla="*/ 2147483647 h 524"/>
                <a:gd name="T62" fmla="*/ 2147483647 w 578"/>
                <a:gd name="T63" fmla="*/ 2147483647 h 524"/>
                <a:gd name="T64" fmla="*/ 2147483647 w 578"/>
                <a:gd name="T65" fmla="*/ 2147483647 h 524"/>
                <a:gd name="T66" fmla="*/ 2147483647 w 578"/>
                <a:gd name="T67" fmla="*/ 2147483647 h 524"/>
                <a:gd name="T68" fmla="*/ 2147483647 w 578"/>
                <a:gd name="T69" fmla="*/ 2147483647 h 524"/>
                <a:gd name="T70" fmla="*/ 2147483647 w 578"/>
                <a:gd name="T71" fmla="*/ 2147483647 h 524"/>
                <a:gd name="T72" fmla="*/ 2147483647 w 578"/>
                <a:gd name="T73" fmla="*/ 2147483647 h 524"/>
                <a:gd name="T74" fmla="*/ 2147483647 w 578"/>
                <a:gd name="T75" fmla="*/ 2147483647 h 524"/>
                <a:gd name="T76" fmla="*/ 2147483647 w 578"/>
                <a:gd name="T77" fmla="*/ 2147483647 h 524"/>
                <a:gd name="T78" fmla="*/ 2147483647 w 578"/>
                <a:gd name="T79" fmla="*/ 2147483647 h 524"/>
                <a:gd name="T80" fmla="*/ 2147483647 w 578"/>
                <a:gd name="T81" fmla="*/ 2147483647 h 524"/>
                <a:gd name="T82" fmla="*/ 2147483647 w 578"/>
                <a:gd name="T83" fmla="*/ 2147483647 h 524"/>
                <a:gd name="T84" fmla="*/ 2147483647 w 578"/>
                <a:gd name="T85" fmla="*/ 2147483647 h 524"/>
                <a:gd name="T86" fmla="*/ 2147483647 w 578"/>
                <a:gd name="T87" fmla="*/ 2147483647 h 524"/>
                <a:gd name="T88" fmla="*/ 2147483647 w 578"/>
                <a:gd name="T89" fmla="*/ 2147483647 h 524"/>
                <a:gd name="T90" fmla="*/ 2147483647 w 578"/>
                <a:gd name="T91" fmla="*/ 2147483647 h 524"/>
                <a:gd name="T92" fmla="*/ 2147483647 w 578"/>
                <a:gd name="T93" fmla="*/ 2147483647 h 524"/>
                <a:gd name="T94" fmla="*/ 2147483647 w 578"/>
                <a:gd name="T95" fmla="*/ 2147483647 h 524"/>
                <a:gd name="T96" fmla="*/ 2147483647 w 578"/>
                <a:gd name="T97" fmla="*/ 0 h 524"/>
                <a:gd name="T98" fmla="*/ 2147483647 w 578"/>
                <a:gd name="T99" fmla="*/ 2147483647 h 524"/>
                <a:gd name="T100" fmla="*/ 2147483647 w 578"/>
                <a:gd name="T101" fmla="*/ 2147483647 h 524"/>
                <a:gd name="T102" fmla="*/ 2147483647 w 578"/>
                <a:gd name="T103" fmla="*/ 2147483647 h 524"/>
                <a:gd name="T104" fmla="*/ 2147483647 w 578"/>
                <a:gd name="T105" fmla="*/ 2147483647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78"/>
                <a:gd name="T160" fmla="*/ 0 h 524"/>
                <a:gd name="T161" fmla="*/ 578 w 578"/>
                <a:gd name="T162" fmla="*/ 524 h 52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1" name="Freeform 18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5431532" y="2402797"/>
              <a:ext cx="30375" cy="75304"/>
            </a:xfrm>
            <a:custGeom>
              <a:avLst/>
              <a:gdLst>
                <a:gd name="T0" fmla="*/ 0 w 79"/>
                <a:gd name="T1" fmla="*/ 2147483647 h 160"/>
                <a:gd name="T2" fmla="*/ 2147483647 w 79"/>
                <a:gd name="T3" fmla="*/ 2147483647 h 160"/>
                <a:gd name="T4" fmla="*/ 2147483647 w 79"/>
                <a:gd name="T5" fmla="*/ 2147483647 h 160"/>
                <a:gd name="T6" fmla="*/ 2147483647 w 79"/>
                <a:gd name="T7" fmla="*/ 2147483647 h 160"/>
                <a:gd name="T8" fmla="*/ 2147483647 w 79"/>
                <a:gd name="T9" fmla="*/ 2147483647 h 160"/>
                <a:gd name="T10" fmla="*/ 2147483647 w 79"/>
                <a:gd name="T11" fmla="*/ 2147483647 h 160"/>
                <a:gd name="T12" fmla="*/ 2147483647 w 79"/>
                <a:gd name="T13" fmla="*/ 2147483647 h 160"/>
                <a:gd name="T14" fmla="*/ 2147483647 w 79"/>
                <a:gd name="T15" fmla="*/ 2147483647 h 160"/>
                <a:gd name="T16" fmla="*/ 2147483647 w 79"/>
                <a:gd name="T17" fmla="*/ 2147483647 h 160"/>
                <a:gd name="T18" fmla="*/ 2147483647 w 79"/>
                <a:gd name="T19" fmla="*/ 2147483647 h 160"/>
                <a:gd name="T20" fmla="*/ 2147483647 w 79"/>
                <a:gd name="T21" fmla="*/ 0 h 160"/>
                <a:gd name="T22" fmla="*/ 2147483647 w 79"/>
                <a:gd name="T23" fmla="*/ 2147483647 h 160"/>
                <a:gd name="T24" fmla="*/ 2147483647 w 79"/>
                <a:gd name="T25" fmla="*/ 2147483647 h 160"/>
                <a:gd name="T26" fmla="*/ 2147483647 w 79"/>
                <a:gd name="T27" fmla="*/ 2147483647 h 160"/>
                <a:gd name="T28" fmla="*/ 2147483647 w 79"/>
                <a:gd name="T29" fmla="*/ 2147483647 h 160"/>
                <a:gd name="T30" fmla="*/ 2147483647 w 79"/>
                <a:gd name="T31" fmla="*/ 2147483647 h 160"/>
                <a:gd name="T32" fmla="*/ 2147483647 w 79"/>
                <a:gd name="T33" fmla="*/ 2147483647 h 160"/>
                <a:gd name="T34" fmla="*/ 2147483647 w 79"/>
                <a:gd name="T35" fmla="*/ 2147483647 h 160"/>
                <a:gd name="T36" fmla="*/ 2147483647 w 79"/>
                <a:gd name="T37" fmla="*/ 2147483647 h 160"/>
                <a:gd name="T38" fmla="*/ 2147483647 w 79"/>
                <a:gd name="T39" fmla="*/ 2147483647 h 160"/>
                <a:gd name="T40" fmla="*/ 2147483647 w 79"/>
                <a:gd name="T41" fmla="*/ 2147483647 h 160"/>
                <a:gd name="T42" fmla="*/ 2147483647 w 79"/>
                <a:gd name="T43" fmla="*/ 2147483647 h 160"/>
                <a:gd name="T44" fmla="*/ 2147483647 w 79"/>
                <a:gd name="T45" fmla="*/ 2147483647 h 160"/>
                <a:gd name="T46" fmla="*/ 2147483647 w 79"/>
                <a:gd name="T47" fmla="*/ 2147483647 h 160"/>
                <a:gd name="T48" fmla="*/ 2147483647 w 79"/>
                <a:gd name="T49" fmla="*/ 2147483647 h 160"/>
                <a:gd name="T50" fmla="*/ 2147483647 w 79"/>
                <a:gd name="T51" fmla="*/ 2147483647 h 160"/>
                <a:gd name="T52" fmla="*/ 2147483647 w 79"/>
                <a:gd name="T53" fmla="*/ 2147483647 h 160"/>
                <a:gd name="T54" fmla="*/ 2147483647 w 79"/>
                <a:gd name="T55" fmla="*/ 2147483647 h 160"/>
                <a:gd name="T56" fmla="*/ 2147483647 w 79"/>
                <a:gd name="T57" fmla="*/ 2147483647 h 160"/>
                <a:gd name="T58" fmla="*/ 2147483647 w 79"/>
                <a:gd name="T59" fmla="*/ 2147483647 h 160"/>
                <a:gd name="T60" fmla="*/ 2147483647 w 79"/>
                <a:gd name="T61" fmla="*/ 2147483647 h 160"/>
                <a:gd name="T62" fmla="*/ 2147483647 w 79"/>
                <a:gd name="T63" fmla="*/ 2147483647 h 160"/>
                <a:gd name="T64" fmla="*/ 2147483647 w 79"/>
                <a:gd name="T65" fmla="*/ 2147483647 h 160"/>
                <a:gd name="T66" fmla="*/ 2147483647 w 79"/>
                <a:gd name="T67" fmla="*/ 2147483647 h 160"/>
                <a:gd name="T68" fmla="*/ 2147483647 w 79"/>
                <a:gd name="T69" fmla="*/ 2147483647 h 160"/>
                <a:gd name="T70" fmla="*/ 2147483647 w 79"/>
                <a:gd name="T71" fmla="*/ 2147483647 h 160"/>
                <a:gd name="T72" fmla="*/ 2147483647 w 79"/>
                <a:gd name="T73" fmla="*/ 2147483647 h 160"/>
                <a:gd name="T74" fmla="*/ 2147483647 w 79"/>
                <a:gd name="T75" fmla="*/ 2147483647 h 160"/>
                <a:gd name="T76" fmla="*/ 0 w 79"/>
                <a:gd name="T77" fmla="*/ 2147483647 h 160"/>
                <a:gd name="T78" fmla="*/ 0 w 79"/>
                <a:gd name="T79" fmla="*/ 2147483647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79"/>
                <a:gd name="T121" fmla="*/ 0 h 160"/>
                <a:gd name="T122" fmla="*/ 79 w 79"/>
                <a:gd name="T123" fmla="*/ 160 h 16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3" name="Freeform 20"/>
            <p:cNvSpPr>
              <a:spLocks/>
            </p:cNvSpPr>
            <p:nvPr/>
          </p:nvSpPr>
          <p:spPr bwMode="auto">
            <a:xfrm>
              <a:off x="7769915" y="3370164"/>
              <a:ext cx="205886" cy="194053"/>
            </a:xfrm>
            <a:custGeom>
              <a:avLst/>
              <a:gdLst>
                <a:gd name="T0" fmla="*/ 0 w 512"/>
                <a:gd name="T1" fmla="*/ 0 h 408"/>
                <a:gd name="T2" fmla="*/ 0 w 512"/>
                <a:gd name="T3" fmla="*/ 0 h 408"/>
                <a:gd name="T4" fmla="*/ 0 w 512"/>
                <a:gd name="T5" fmla="*/ 0 h 408"/>
                <a:gd name="T6" fmla="*/ 0 w 512"/>
                <a:gd name="T7" fmla="*/ 0 h 408"/>
                <a:gd name="T8" fmla="*/ 0 w 512"/>
                <a:gd name="T9" fmla="*/ 0 h 408"/>
                <a:gd name="T10" fmla="*/ 0 w 512"/>
                <a:gd name="T11" fmla="*/ 0 h 408"/>
                <a:gd name="T12" fmla="*/ 0 w 512"/>
                <a:gd name="T13" fmla="*/ 0 h 408"/>
                <a:gd name="T14" fmla="*/ 0 w 512"/>
                <a:gd name="T15" fmla="*/ 0 h 408"/>
                <a:gd name="T16" fmla="*/ 0 w 512"/>
                <a:gd name="T17" fmla="*/ 0 h 408"/>
                <a:gd name="T18" fmla="*/ 0 w 512"/>
                <a:gd name="T19" fmla="*/ 0 h 408"/>
                <a:gd name="T20" fmla="*/ 0 w 512"/>
                <a:gd name="T21" fmla="*/ 0 h 408"/>
                <a:gd name="T22" fmla="*/ 0 w 512"/>
                <a:gd name="T23" fmla="*/ 0 h 408"/>
                <a:gd name="T24" fmla="*/ 0 w 512"/>
                <a:gd name="T25" fmla="*/ 0 h 408"/>
                <a:gd name="T26" fmla="*/ 0 w 512"/>
                <a:gd name="T27" fmla="*/ 0 h 408"/>
                <a:gd name="T28" fmla="*/ 0 w 512"/>
                <a:gd name="T29" fmla="*/ 0 h 408"/>
                <a:gd name="T30" fmla="*/ 0 w 512"/>
                <a:gd name="T31" fmla="*/ 0 h 408"/>
                <a:gd name="T32" fmla="*/ 0 w 512"/>
                <a:gd name="T33" fmla="*/ 0 h 408"/>
                <a:gd name="T34" fmla="*/ 0 w 512"/>
                <a:gd name="T35" fmla="*/ 0 h 408"/>
                <a:gd name="T36" fmla="*/ 0 w 512"/>
                <a:gd name="T37" fmla="*/ 0 h 408"/>
                <a:gd name="T38" fmla="*/ 0 w 512"/>
                <a:gd name="T39" fmla="*/ 0 h 408"/>
                <a:gd name="T40" fmla="*/ 0 w 512"/>
                <a:gd name="T41" fmla="*/ 0 h 408"/>
                <a:gd name="T42" fmla="*/ 0 w 512"/>
                <a:gd name="T43" fmla="*/ 0 h 408"/>
                <a:gd name="T44" fmla="*/ 0 w 512"/>
                <a:gd name="T45" fmla="*/ 0 h 408"/>
                <a:gd name="T46" fmla="*/ 0 w 512"/>
                <a:gd name="T47" fmla="*/ 0 h 408"/>
                <a:gd name="T48" fmla="*/ 0 w 512"/>
                <a:gd name="T49" fmla="*/ 0 h 408"/>
                <a:gd name="T50" fmla="*/ 0 w 512"/>
                <a:gd name="T51" fmla="*/ 0 h 408"/>
                <a:gd name="T52" fmla="*/ 0 w 512"/>
                <a:gd name="T53" fmla="*/ 0 h 408"/>
                <a:gd name="T54" fmla="*/ 0 w 512"/>
                <a:gd name="T55" fmla="*/ 0 h 408"/>
                <a:gd name="T56" fmla="*/ 0 w 512"/>
                <a:gd name="T57" fmla="*/ 0 h 408"/>
                <a:gd name="T58" fmla="*/ 0 w 512"/>
                <a:gd name="T59" fmla="*/ 0 h 408"/>
                <a:gd name="T60" fmla="*/ 0 w 512"/>
                <a:gd name="T61" fmla="*/ 0 h 408"/>
                <a:gd name="T62" fmla="*/ 0 w 512"/>
                <a:gd name="T63" fmla="*/ 0 h 408"/>
                <a:gd name="T64" fmla="*/ 0 w 512"/>
                <a:gd name="T65" fmla="*/ 0 h 408"/>
                <a:gd name="T66" fmla="*/ 0 w 512"/>
                <a:gd name="T67" fmla="*/ 0 h 408"/>
                <a:gd name="T68" fmla="*/ 0 w 512"/>
                <a:gd name="T69" fmla="*/ 0 h 408"/>
                <a:gd name="T70" fmla="*/ 0 w 512"/>
                <a:gd name="T71" fmla="*/ 0 h 408"/>
                <a:gd name="T72" fmla="*/ 0 w 512"/>
                <a:gd name="T73" fmla="*/ 0 h 408"/>
                <a:gd name="T74" fmla="*/ 0 w 512"/>
                <a:gd name="T75" fmla="*/ 0 h 408"/>
                <a:gd name="T76" fmla="*/ 0 w 512"/>
                <a:gd name="T77" fmla="*/ 0 h 408"/>
                <a:gd name="T78" fmla="*/ 0 w 512"/>
                <a:gd name="T79" fmla="*/ 0 h 408"/>
                <a:gd name="T80" fmla="*/ 0 w 512"/>
                <a:gd name="T81" fmla="*/ 0 h 408"/>
                <a:gd name="T82" fmla="*/ 0 w 512"/>
                <a:gd name="T83" fmla="*/ 0 h 408"/>
                <a:gd name="T84" fmla="*/ 0 w 512"/>
                <a:gd name="T85" fmla="*/ 0 h 408"/>
                <a:gd name="T86" fmla="*/ 0 w 512"/>
                <a:gd name="T87" fmla="*/ 0 h 408"/>
                <a:gd name="T88" fmla="*/ 0 w 512"/>
                <a:gd name="T89" fmla="*/ 0 h 408"/>
                <a:gd name="T90" fmla="*/ 0 w 512"/>
                <a:gd name="T91" fmla="*/ 0 h 408"/>
                <a:gd name="T92" fmla="*/ 0 w 512"/>
                <a:gd name="T93" fmla="*/ 0 h 408"/>
                <a:gd name="T94" fmla="*/ 0 w 512"/>
                <a:gd name="T95" fmla="*/ 0 h 408"/>
                <a:gd name="T96" fmla="*/ 0 w 512"/>
                <a:gd name="T97" fmla="*/ 0 h 408"/>
                <a:gd name="T98" fmla="*/ 0 w 512"/>
                <a:gd name="T99" fmla="*/ 0 h 408"/>
                <a:gd name="T100" fmla="*/ 0 w 512"/>
                <a:gd name="T101" fmla="*/ 0 h 408"/>
                <a:gd name="T102" fmla="*/ 0 w 512"/>
                <a:gd name="T103" fmla="*/ 0 h 408"/>
                <a:gd name="T104" fmla="*/ 0 w 512"/>
                <a:gd name="T105" fmla="*/ 0 h 408"/>
                <a:gd name="T106" fmla="*/ 0 w 512"/>
                <a:gd name="T107" fmla="*/ 0 h 408"/>
                <a:gd name="T108" fmla="*/ 0 w 512"/>
                <a:gd name="T109" fmla="*/ 0 h 408"/>
                <a:gd name="T110" fmla="*/ 0 w 512"/>
                <a:gd name="T111" fmla="*/ 0 h 408"/>
                <a:gd name="T112" fmla="*/ 0 w 512"/>
                <a:gd name="T113" fmla="*/ 0 h 408"/>
                <a:gd name="T114" fmla="*/ 0 w 512"/>
                <a:gd name="T115" fmla="*/ 0 h 40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12"/>
                <a:gd name="T175" fmla="*/ 0 h 408"/>
                <a:gd name="T176" fmla="*/ 512 w 512"/>
                <a:gd name="T177" fmla="*/ 408 h 40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4" name="Freeform 21"/>
            <p:cNvSpPr>
              <a:spLocks/>
            </p:cNvSpPr>
            <p:nvPr/>
          </p:nvSpPr>
          <p:spPr bwMode="auto">
            <a:xfrm>
              <a:off x="7544765" y="3410853"/>
              <a:ext cx="92709" cy="139280"/>
            </a:xfrm>
            <a:custGeom>
              <a:avLst/>
              <a:gdLst>
                <a:gd name="T0" fmla="*/ 0 w 232"/>
                <a:gd name="T1" fmla="*/ 0 h 289"/>
                <a:gd name="T2" fmla="*/ 0 w 232"/>
                <a:gd name="T3" fmla="*/ 0 h 289"/>
                <a:gd name="T4" fmla="*/ 0 w 232"/>
                <a:gd name="T5" fmla="*/ 0 h 289"/>
                <a:gd name="T6" fmla="*/ 0 w 232"/>
                <a:gd name="T7" fmla="*/ 0 h 289"/>
                <a:gd name="T8" fmla="*/ 0 w 232"/>
                <a:gd name="T9" fmla="*/ 0 h 289"/>
                <a:gd name="T10" fmla="*/ 0 w 232"/>
                <a:gd name="T11" fmla="*/ 0 h 289"/>
                <a:gd name="T12" fmla="*/ 0 w 232"/>
                <a:gd name="T13" fmla="*/ 0 h 289"/>
                <a:gd name="T14" fmla="*/ 0 w 232"/>
                <a:gd name="T15" fmla="*/ 0 h 289"/>
                <a:gd name="T16" fmla="*/ 0 w 232"/>
                <a:gd name="T17" fmla="*/ 0 h 289"/>
                <a:gd name="T18" fmla="*/ 0 w 232"/>
                <a:gd name="T19" fmla="*/ 0 h 289"/>
                <a:gd name="T20" fmla="*/ 0 w 232"/>
                <a:gd name="T21" fmla="*/ 0 h 289"/>
                <a:gd name="T22" fmla="*/ 0 w 232"/>
                <a:gd name="T23" fmla="*/ 0 h 289"/>
                <a:gd name="T24" fmla="*/ 0 w 232"/>
                <a:gd name="T25" fmla="*/ 0 h 289"/>
                <a:gd name="T26" fmla="*/ 0 w 232"/>
                <a:gd name="T27" fmla="*/ 0 h 289"/>
                <a:gd name="T28" fmla="*/ 0 w 232"/>
                <a:gd name="T29" fmla="*/ 0 h 289"/>
                <a:gd name="T30" fmla="*/ 0 w 232"/>
                <a:gd name="T31" fmla="*/ 0 h 289"/>
                <a:gd name="T32" fmla="*/ 0 w 232"/>
                <a:gd name="T33" fmla="*/ 0 h 289"/>
                <a:gd name="T34" fmla="*/ 0 w 232"/>
                <a:gd name="T35" fmla="*/ 0 h 289"/>
                <a:gd name="T36" fmla="*/ 0 w 232"/>
                <a:gd name="T37" fmla="*/ 0 h 289"/>
                <a:gd name="T38" fmla="*/ 0 w 232"/>
                <a:gd name="T39" fmla="*/ 0 h 289"/>
                <a:gd name="T40" fmla="*/ 0 w 232"/>
                <a:gd name="T41" fmla="*/ 0 h 289"/>
                <a:gd name="T42" fmla="*/ 0 w 232"/>
                <a:gd name="T43" fmla="*/ 0 h 289"/>
                <a:gd name="T44" fmla="*/ 0 w 232"/>
                <a:gd name="T45" fmla="*/ 0 h 289"/>
                <a:gd name="T46" fmla="*/ 0 w 232"/>
                <a:gd name="T47" fmla="*/ 0 h 289"/>
                <a:gd name="T48" fmla="*/ 0 w 232"/>
                <a:gd name="T49" fmla="*/ 0 h 289"/>
                <a:gd name="T50" fmla="*/ 0 w 232"/>
                <a:gd name="T51" fmla="*/ 0 h 289"/>
                <a:gd name="T52" fmla="*/ 0 w 232"/>
                <a:gd name="T53" fmla="*/ 0 h 289"/>
                <a:gd name="T54" fmla="*/ 0 w 232"/>
                <a:gd name="T55" fmla="*/ 0 h 289"/>
                <a:gd name="T56" fmla="*/ 0 w 232"/>
                <a:gd name="T57" fmla="*/ 0 h 289"/>
                <a:gd name="T58" fmla="*/ 0 w 232"/>
                <a:gd name="T59" fmla="*/ 0 h 289"/>
                <a:gd name="T60" fmla="*/ 0 w 232"/>
                <a:gd name="T61" fmla="*/ 0 h 289"/>
                <a:gd name="T62" fmla="*/ 0 w 232"/>
                <a:gd name="T63" fmla="*/ 0 h 289"/>
                <a:gd name="T64" fmla="*/ 0 w 232"/>
                <a:gd name="T65" fmla="*/ 0 h 289"/>
                <a:gd name="T66" fmla="*/ 0 w 232"/>
                <a:gd name="T67" fmla="*/ 0 h 28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32"/>
                <a:gd name="T103" fmla="*/ 0 h 289"/>
                <a:gd name="T104" fmla="*/ 232 w 232"/>
                <a:gd name="T105" fmla="*/ 289 h 28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5" name="Freeform 22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5742515" y="1432534"/>
              <a:ext cx="2793053" cy="980400"/>
            </a:xfrm>
            <a:custGeom>
              <a:avLst/>
              <a:gdLst>
                <a:gd name="T0" fmla="*/ 2147483647 w 7049"/>
                <a:gd name="T1" fmla="*/ 2147483647 h 2048"/>
                <a:gd name="T2" fmla="*/ 2147483647 w 7049"/>
                <a:gd name="T3" fmla="*/ 2147483647 h 2048"/>
                <a:gd name="T4" fmla="*/ 2147483647 w 7049"/>
                <a:gd name="T5" fmla="*/ 2147483647 h 2048"/>
                <a:gd name="T6" fmla="*/ 2147483647 w 7049"/>
                <a:gd name="T7" fmla="*/ 2147483647 h 2048"/>
                <a:gd name="T8" fmla="*/ 2147483647 w 7049"/>
                <a:gd name="T9" fmla="*/ 2147483647 h 2048"/>
                <a:gd name="T10" fmla="*/ 2147483647 w 7049"/>
                <a:gd name="T11" fmla="*/ 2147483647 h 2048"/>
                <a:gd name="T12" fmla="*/ 2147483647 w 7049"/>
                <a:gd name="T13" fmla="*/ 2147483647 h 2048"/>
                <a:gd name="T14" fmla="*/ 2147483647 w 7049"/>
                <a:gd name="T15" fmla="*/ 2147483647 h 2048"/>
                <a:gd name="T16" fmla="*/ 2147483647 w 7049"/>
                <a:gd name="T17" fmla="*/ 2147483647 h 2048"/>
                <a:gd name="T18" fmla="*/ 2147483647 w 7049"/>
                <a:gd name="T19" fmla="*/ 2147483647 h 2048"/>
                <a:gd name="T20" fmla="*/ 2147483647 w 7049"/>
                <a:gd name="T21" fmla="*/ 2147483647 h 2048"/>
                <a:gd name="T22" fmla="*/ 2147483647 w 7049"/>
                <a:gd name="T23" fmla="*/ 2147483647 h 2048"/>
                <a:gd name="T24" fmla="*/ 2147483647 w 7049"/>
                <a:gd name="T25" fmla="*/ 2147483647 h 2048"/>
                <a:gd name="T26" fmla="*/ 2147483647 w 7049"/>
                <a:gd name="T27" fmla="*/ 2147483647 h 2048"/>
                <a:gd name="T28" fmla="*/ 2147483647 w 7049"/>
                <a:gd name="T29" fmla="*/ 2147483647 h 2048"/>
                <a:gd name="T30" fmla="*/ 2147483647 w 7049"/>
                <a:gd name="T31" fmla="*/ 2147483647 h 2048"/>
                <a:gd name="T32" fmla="*/ 2147483647 w 7049"/>
                <a:gd name="T33" fmla="*/ 2147483647 h 2048"/>
                <a:gd name="T34" fmla="*/ 2147483647 w 7049"/>
                <a:gd name="T35" fmla="*/ 2147483647 h 2048"/>
                <a:gd name="T36" fmla="*/ 2147483647 w 7049"/>
                <a:gd name="T37" fmla="*/ 2147483647 h 2048"/>
                <a:gd name="T38" fmla="*/ 2147483647 w 7049"/>
                <a:gd name="T39" fmla="*/ 2147483647 h 2048"/>
                <a:gd name="T40" fmla="*/ 2147483647 w 7049"/>
                <a:gd name="T41" fmla="*/ 2147483647 h 2048"/>
                <a:gd name="T42" fmla="*/ 2147483647 w 7049"/>
                <a:gd name="T43" fmla="*/ 2147483647 h 2048"/>
                <a:gd name="T44" fmla="*/ 2147483647 w 7049"/>
                <a:gd name="T45" fmla="*/ 2147483647 h 2048"/>
                <a:gd name="T46" fmla="*/ 2147483647 w 7049"/>
                <a:gd name="T47" fmla="*/ 2147483647 h 2048"/>
                <a:gd name="T48" fmla="*/ 2147483647 w 7049"/>
                <a:gd name="T49" fmla="*/ 2147483647 h 2048"/>
                <a:gd name="T50" fmla="*/ 2147483647 w 7049"/>
                <a:gd name="T51" fmla="*/ 2147483647 h 2048"/>
                <a:gd name="T52" fmla="*/ 2147483647 w 7049"/>
                <a:gd name="T53" fmla="*/ 2147483647 h 2048"/>
                <a:gd name="T54" fmla="*/ 2147483647 w 7049"/>
                <a:gd name="T55" fmla="*/ 2147483647 h 2048"/>
                <a:gd name="T56" fmla="*/ 2147483647 w 7049"/>
                <a:gd name="T57" fmla="*/ 2147483647 h 2048"/>
                <a:gd name="T58" fmla="*/ 2147483647 w 7049"/>
                <a:gd name="T59" fmla="*/ 2147483647 h 2048"/>
                <a:gd name="T60" fmla="*/ 2147483647 w 7049"/>
                <a:gd name="T61" fmla="*/ 2147483647 h 2048"/>
                <a:gd name="T62" fmla="*/ 2147483647 w 7049"/>
                <a:gd name="T63" fmla="*/ 2147483647 h 2048"/>
                <a:gd name="T64" fmla="*/ 2147483647 w 7049"/>
                <a:gd name="T65" fmla="*/ 2147483647 h 2048"/>
                <a:gd name="T66" fmla="*/ 2147483647 w 7049"/>
                <a:gd name="T67" fmla="*/ 2147483647 h 2048"/>
                <a:gd name="T68" fmla="*/ 2147483647 w 7049"/>
                <a:gd name="T69" fmla="*/ 2147483647 h 2048"/>
                <a:gd name="T70" fmla="*/ 2147483647 w 7049"/>
                <a:gd name="T71" fmla="*/ 2147483647 h 2048"/>
                <a:gd name="T72" fmla="*/ 2147483647 w 7049"/>
                <a:gd name="T73" fmla="*/ 2147483647 h 2048"/>
                <a:gd name="T74" fmla="*/ 2147483647 w 7049"/>
                <a:gd name="T75" fmla="*/ 2147483647 h 2048"/>
                <a:gd name="T76" fmla="*/ 2147483647 w 7049"/>
                <a:gd name="T77" fmla="*/ 2147483647 h 2048"/>
                <a:gd name="T78" fmla="*/ 2147483647 w 7049"/>
                <a:gd name="T79" fmla="*/ 2147483647 h 2048"/>
                <a:gd name="T80" fmla="*/ 2147483647 w 7049"/>
                <a:gd name="T81" fmla="*/ 2147483647 h 2048"/>
                <a:gd name="T82" fmla="*/ 2147483647 w 7049"/>
                <a:gd name="T83" fmla="*/ 2147483647 h 2048"/>
                <a:gd name="T84" fmla="*/ 2147483647 w 7049"/>
                <a:gd name="T85" fmla="*/ 2147483647 h 2048"/>
                <a:gd name="T86" fmla="*/ 2147483647 w 7049"/>
                <a:gd name="T87" fmla="*/ 2147483647 h 2048"/>
                <a:gd name="T88" fmla="*/ 2147483647 w 7049"/>
                <a:gd name="T89" fmla="*/ 2147483647 h 2048"/>
                <a:gd name="T90" fmla="*/ 2147483647 w 7049"/>
                <a:gd name="T91" fmla="*/ 2147483647 h 2048"/>
                <a:gd name="T92" fmla="*/ 2147483647 w 7049"/>
                <a:gd name="T93" fmla="*/ 2147483647 h 2048"/>
                <a:gd name="T94" fmla="*/ 2147483647 w 7049"/>
                <a:gd name="T95" fmla="*/ 2147483647 h 2048"/>
                <a:gd name="T96" fmla="*/ 2147483647 w 7049"/>
                <a:gd name="T97" fmla="*/ 2147483647 h 2048"/>
                <a:gd name="T98" fmla="*/ 2147483647 w 7049"/>
                <a:gd name="T99" fmla="*/ 2147483647 h 2048"/>
                <a:gd name="T100" fmla="*/ 2147483647 w 7049"/>
                <a:gd name="T101" fmla="*/ 2147483647 h 2048"/>
                <a:gd name="T102" fmla="*/ 2147483647 w 7049"/>
                <a:gd name="T103" fmla="*/ 2147483647 h 2048"/>
                <a:gd name="T104" fmla="*/ 2147483647 w 7049"/>
                <a:gd name="T105" fmla="*/ 2147483647 h 2048"/>
                <a:gd name="T106" fmla="*/ 2147483647 w 7049"/>
                <a:gd name="T107" fmla="*/ 2147483647 h 2048"/>
                <a:gd name="T108" fmla="*/ 2147483647 w 7049"/>
                <a:gd name="T109" fmla="*/ 2147483647 h 2048"/>
                <a:gd name="T110" fmla="*/ 2147483647 w 7049"/>
                <a:gd name="T111" fmla="*/ 2147483647 h 2048"/>
                <a:gd name="T112" fmla="*/ 2147483647 w 7049"/>
                <a:gd name="T113" fmla="*/ 2147483647 h 2048"/>
                <a:gd name="T114" fmla="*/ 2147483647 w 7049"/>
                <a:gd name="T115" fmla="*/ 2147483647 h 2048"/>
                <a:gd name="T116" fmla="*/ 2147483647 w 7049"/>
                <a:gd name="T117" fmla="*/ 2147483647 h 2048"/>
                <a:gd name="T118" fmla="*/ 2147483647 w 7049"/>
                <a:gd name="T119" fmla="*/ 2147483647 h 2048"/>
                <a:gd name="T120" fmla="*/ 2147483647 w 7049"/>
                <a:gd name="T121" fmla="*/ 2147483647 h 2048"/>
                <a:gd name="T122" fmla="*/ 2147483647 w 7049"/>
                <a:gd name="T123" fmla="*/ 2147483647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049"/>
                <a:gd name="T187" fmla="*/ 0 h 2048"/>
                <a:gd name="T188" fmla="*/ 7049 w 7049"/>
                <a:gd name="T189" fmla="*/ 2048 h 204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6" name="Freeform 23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5071372" y="2333286"/>
              <a:ext cx="256017" cy="225912"/>
            </a:xfrm>
            <a:custGeom>
              <a:avLst/>
              <a:gdLst>
                <a:gd name="T0" fmla="*/ 2147483647 w 647"/>
                <a:gd name="T1" fmla="*/ 2147483647 h 470"/>
                <a:gd name="T2" fmla="*/ 2147483647 w 647"/>
                <a:gd name="T3" fmla="*/ 2147483647 h 470"/>
                <a:gd name="T4" fmla="*/ 2147483647 w 647"/>
                <a:gd name="T5" fmla="*/ 2147483647 h 470"/>
                <a:gd name="T6" fmla="*/ 2147483647 w 647"/>
                <a:gd name="T7" fmla="*/ 2147483647 h 470"/>
                <a:gd name="T8" fmla="*/ 2147483647 w 647"/>
                <a:gd name="T9" fmla="*/ 2147483647 h 470"/>
                <a:gd name="T10" fmla="*/ 2147483647 w 647"/>
                <a:gd name="T11" fmla="*/ 2147483647 h 470"/>
                <a:gd name="T12" fmla="*/ 2147483647 w 647"/>
                <a:gd name="T13" fmla="*/ 2147483647 h 470"/>
                <a:gd name="T14" fmla="*/ 2147483647 w 647"/>
                <a:gd name="T15" fmla="*/ 2147483647 h 470"/>
                <a:gd name="T16" fmla="*/ 2147483647 w 647"/>
                <a:gd name="T17" fmla="*/ 2147483647 h 470"/>
                <a:gd name="T18" fmla="*/ 2147483647 w 647"/>
                <a:gd name="T19" fmla="*/ 2147483647 h 470"/>
                <a:gd name="T20" fmla="*/ 2147483647 w 647"/>
                <a:gd name="T21" fmla="*/ 2147483647 h 470"/>
                <a:gd name="T22" fmla="*/ 2147483647 w 647"/>
                <a:gd name="T23" fmla="*/ 2147483647 h 470"/>
                <a:gd name="T24" fmla="*/ 2147483647 w 647"/>
                <a:gd name="T25" fmla="*/ 2147483647 h 470"/>
                <a:gd name="T26" fmla="*/ 2147483647 w 647"/>
                <a:gd name="T27" fmla="*/ 2147483647 h 470"/>
                <a:gd name="T28" fmla="*/ 2147483647 w 647"/>
                <a:gd name="T29" fmla="*/ 2147483647 h 470"/>
                <a:gd name="T30" fmla="*/ 2147483647 w 647"/>
                <a:gd name="T31" fmla="*/ 2147483647 h 470"/>
                <a:gd name="T32" fmla="*/ 2147483647 w 647"/>
                <a:gd name="T33" fmla="*/ 2147483647 h 470"/>
                <a:gd name="T34" fmla="*/ 2147483647 w 647"/>
                <a:gd name="T35" fmla="*/ 2147483647 h 470"/>
                <a:gd name="T36" fmla="*/ 2147483647 w 647"/>
                <a:gd name="T37" fmla="*/ 2147483647 h 470"/>
                <a:gd name="T38" fmla="*/ 2147483647 w 647"/>
                <a:gd name="T39" fmla="*/ 2147483647 h 470"/>
                <a:gd name="T40" fmla="*/ 2147483647 w 647"/>
                <a:gd name="T41" fmla="*/ 2147483647 h 470"/>
                <a:gd name="T42" fmla="*/ 2147483647 w 647"/>
                <a:gd name="T43" fmla="*/ 2147483647 h 470"/>
                <a:gd name="T44" fmla="*/ 2147483647 w 647"/>
                <a:gd name="T45" fmla="*/ 2147483647 h 470"/>
                <a:gd name="T46" fmla="*/ 2147483647 w 647"/>
                <a:gd name="T47" fmla="*/ 2147483647 h 470"/>
                <a:gd name="T48" fmla="*/ 2147483647 w 647"/>
                <a:gd name="T49" fmla="*/ 2147483647 h 470"/>
                <a:gd name="T50" fmla="*/ 2147483647 w 647"/>
                <a:gd name="T51" fmla="*/ 2147483647 h 470"/>
                <a:gd name="T52" fmla="*/ 2147483647 w 647"/>
                <a:gd name="T53" fmla="*/ 2147483647 h 470"/>
                <a:gd name="T54" fmla="*/ 2147483647 w 647"/>
                <a:gd name="T55" fmla="*/ 2147483647 h 470"/>
                <a:gd name="T56" fmla="*/ 2147483647 w 647"/>
                <a:gd name="T57" fmla="*/ 2147483647 h 470"/>
                <a:gd name="T58" fmla="*/ 2147483647 w 647"/>
                <a:gd name="T59" fmla="*/ 2147483647 h 470"/>
                <a:gd name="T60" fmla="*/ 2147483647 w 647"/>
                <a:gd name="T61" fmla="*/ 2147483647 h 470"/>
                <a:gd name="T62" fmla="*/ 2147483647 w 647"/>
                <a:gd name="T63" fmla="*/ 2147483647 h 470"/>
                <a:gd name="T64" fmla="*/ 2147483647 w 647"/>
                <a:gd name="T65" fmla="*/ 2147483647 h 470"/>
                <a:gd name="T66" fmla="*/ 2147483647 w 647"/>
                <a:gd name="T67" fmla="*/ 2147483647 h 470"/>
                <a:gd name="T68" fmla="*/ 2147483647 w 647"/>
                <a:gd name="T69" fmla="*/ 2147483647 h 470"/>
                <a:gd name="T70" fmla="*/ 2147483647 w 647"/>
                <a:gd name="T71" fmla="*/ 2147483647 h 470"/>
                <a:gd name="T72" fmla="*/ 2147483647 w 647"/>
                <a:gd name="T73" fmla="*/ 2147483647 h 470"/>
                <a:gd name="T74" fmla="*/ 2147483647 w 647"/>
                <a:gd name="T75" fmla="*/ 2147483647 h 470"/>
                <a:gd name="T76" fmla="*/ 2147483647 w 647"/>
                <a:gd name="T77" fmla="*/ 2147483647 h 470"/>
                <a:gd name="T78" fmla="*/ 2147483647 w 647"/>
                <a:gd name="T79" fmla="*/ 2147483647 h 470"/>
                <a:gd name="T80" fmla="*/ 2147483647 w 647"/>
                <a:gd name="T81" fmla="*/ 2147483647 h 470"/>
                <a:gd name="T82" fmla="*/ 2147483647 w 647"/>
                <a:gd name="T83" fmla="*/ 2147483647 h 470"/>
                <a:gd name="T84" fmla="*/ 2147483647 w 647"/>
                <a:gd name="T85" fmla="*/ 2147483647 h 470"/>
                <a:gd name="T86" fmla="*/ 2147483647 w 647"/>
                <a:gd name="T87" fmla="*/ 2147483647 h 470"/>
                <a:gd name="T88" fmla="*/ 2147483647 w 647"/>
                <a:gd name="T89" fmla="*/ 2147483647 h 470"/>
                <a:gd name="T90" fmla="*/ 2147483647 w 647"/>
                <a:gd name="T91" fmla="*/ 2147483647 h 470"/>
                <a:gd name="T92" fmla="*/ 0 w 647"/>
                <a:gd name="T93" fmla="*/ 2147483647 h 470"/>
                <a:gd name="T94" fmla="*/ 2147483647 w 647"/>
                <a:gd name="T95" fmla="*/ 2147483647 h 470"/>
                <a:gd name="T96" fmla="*/ 2147483647 w 647"/>
                <a:gd name="T97" fmla="*/ 2147483647 h 470"/>
                <a:gd name="T98" fmla="*/ 2147483647 w 647"/>
                <a:gd name="T99" fmla="*/ 2147483647 h 470"/>
                <a:gd name="T100" fmla="*/ 2147483647 w 647"/>
                <a:gd name="T101" fmla="*/ 0 h 470"/>
                <a:gd name="T102" fmla="*/ 2147483647 w 647"/>
                <a:gd name="T103" fmla="*/ 2147483647 h 470"/>
                <a:gd name="T104" fmla="*/ 2147483647 w 647"/>
                <a:gd name="T105" fmla="*/ 2147483647 h 470"/>
                <a:gd name="T106" fmla="*/ 2147483647 w 647"/>
                <a:gd name="T107" fmla="*/ 2147483647 h 470"/>
                <a:gd name="T108" fmla="*/ 2147483647 w 647"/>
                <a:gd name="T109" fmla="*/ 2147483647 h 470"/>
                <a:gd name="T110" fmla="*/ 2147483647 w 647"/>
                <a:gd name="T111" fmla="*/ 2147483647 h 470"/>
                <a:gd name="T112" fmla="*/ 2147483647 w 647"/>
                <a:gd name="T113" fmla="*/ 2147483647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647"/>
                <a:gd name="T172" fmla="*/ 0 h 470"/>
                <a:gd name="T173" fmla="*/ 647 w 647"/>
                <a:gd name="T174" fmla="*/ 470 h 47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7" name="Freeform 24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7469551" y="3006677"/>
              <a:ext cx="189482" cy="415621"/>
            </a:xfrm>
            <a:custGeom>
              <a:avLst/>
              <a:gdLst>
                <a:gd name="T0" fmla="*/ 2147483647 w 479"/>
                <a:gd name="T1" fmla="*/ 2147483647 h 868"/>
                <a:gd name="T2" fmla="*/ 2147483647 w 479"/>
                <a:gd name="T3" fmla="*/ 2147483647 h 868"/>
                <a:gd name="T4" fmla="*/ 2147483647 w 479"/>
                <a:gd name="T5" fmla="*/ 2147483647 h 868"/>
                <a:gd name="T6" fmla="*/ 2147483647 w 479"/>
                <a:gd name="T7" fmla="*/ 2147483647 h 868"/>
                <a:gd name="T8" fmla="*/ 2147483647 w 479"/>
                <a:gd name="T9" fmla="*/ 2147483647 h 868"/>
                <a:gd name="T10" fmla="*/ 2147483647 w 479"/>
                <a:gd name="T11" fmla="*/ 2147483647 h 868"/>
                <a:gd name="T12" fmla="*/ 2147483647 w 479"/>
                <a:gd name="T13" fmla="*/ 2147483647 h 868"/>
                <a:gd name="T14" fmla="*/ 2147483647 w 479"/>
                <a:gd name="T15" fmla="*/ 2147483647 h 868"/>
                <a:gd name="T16" fmla="*/ 2147483647 w 479"/>
                <a:gd name="T17" fmla="*/ 2147483647 h 868"/>
                <a:gd name="T18" fmla="*/ 2147483647 w 479"/>
                <a:gd name="T19" fmla="*/ 2147483647 h 868"/>
                <a:gd name="T20" fmla="*/ 2147483647 w 479"/>
                <a:gd name="T21" fmla="*/ 2147483647 h 868"/>
                <a:gd name="T22" fmla="*/ 2147483647 w 479"/>
                <a:gd name="T23" fmla="*/ 2147483647 h 868"/>
                <a:gd name="T24" fmla="*/ 2147483647 w 479"/>
                <a:gd name="T25" fmla="*/ 2147483647 h 868"/>
                <a:gd name="T26" fmla="*/ 2147483647 w 479"/>
                <a:gd name="T27" fmla="*/ 2147483647 h 868"/>
                <a:gd name="T28" fmla="*/ 2147483647 w 479"/>
                <a:gd name="T29" fmla="*/ 2147483647 h 868"/>
                <a:gd name="T30" fmla="*/ 2147483647 w 479"/>
                <a:gd name="T31" fmla="*/ 2147483647 h 868"/>
                <a:gd name="T32" fmla="*/ 2147483647 w 479"/>
                <a:gd name="T33" fmla="*/ 2147483647 h 868"/>
                <a:gd name="T34" fmla="*/ 2147483647 w 479"/>
                <a:gd name="T35" fmla="*/ 2147483647 h 868"/>
                <a:gd name="T36" fmla="*/ 2147483647 w 479"/>
                <a:gd name="T37" fmla="*/ 2147483647 h 868"/>
                <a:gd name="T38" fmla="*/ 2147483647 w 479"/>
                <a:gd name="T39" fmla="*/ 2147483647 h 868"/>
                <a:gd name="T40" fmla="*/ 2147483647 w 479"/>
                <a:gd name="T41" fmla="*/ 2147483647 h 868"/>
                <a:gd name="T42" fmla="*/ 2147483647 w 479"/>
                <a:gd name="T43" fmla="*/ 2147483647 h 868"/>
                <a:gd name="T44" fmla="*/ 2147483647 w 479"/>
                <a:gd name="T45" fmla="*/ 2147483647 h 868"/>
                <a:gd name="T46" fmla="*/ 2147483647 w 479"/>
                <a:gd name="T47" fmla="*/ 2147483647 h 868"/>
                <a:gd name="T48" fmla="*/ 2147483647 w 479"/>
                <a:gd name="T49" fmla="*/ 2147483647 h 868"/>
                <a:gd name="T50" fmla="*/ 2147483647 w 479"/>
                <a:gd name="T51" fmla="*/ 2147483647 h 868"/>
                <a:gd name="T52" fmla="*/ 2147483647 w 479"/>
                <a:gd name="T53" fmla="*/ 2147483647 h 868"/>
                <a:gd name="T54" fmla="*/ 2147483647 w 479"/>
                <a:gd name="T55" fmla="*/ 2147483647 h 868"/>
                <a:gd name="T56" fmla="*/ 2147483647 w 479"/>
                <a:gd name="T57" fmla="*/ 2147483647 h 868"/>
                <a:gd name="T58" fmla="*/ 2147483647 w 479"/>
                <a:gd name="T59" fmla="*/ 2147483647 h 868"/>
                <a:gd name="T60" fmla="*/ 2147483647 w 479"/>
                <a:gd name="T61" fmla="*/ 2147483647 h 868"/>
                <a:gd name="T62" fmla="*/ 2147483647 w 479"/>
                <a:gd name="T63" fmla="*/ 2147483647 h 868"/>
                <a:gd name="T64" fmla="*/ 2147483647 w 479"/>
                <a:gd name="T65" fmla="*/ 2147483647 h 868"/>
                <a:gd name="T66" fmla="*/ 2147483647 w 479"/>
                <a:gd name="T67" fmla="*/ 2147483647 h 868"/>
                <a:gd name="T68" fmla="*/ 2147483647 w 479"/>
                <a:gd name="T69" fmla="*/ 2147483647 h 868"/>
                <a:gd name="T70" fmla="*/ 2147483647 w 479"/>
                <a:gd name="T71" fmla="*/ 2147483647 h 868"/>
                <a:gd name="T72" fmla="*/ 2147483647 w 479"/>
                <a:gd name="T73" fmla="*/ 2147483647 h 868"/>
                <a:gd name="T74" fmla="*/ 2147483647 w 479"/>
                <a:gd name="T75" fmla="*/ 2147483647 h 868"/>
                <a:gd name="T76" fmla="*/ 2147483647 w 479"/>
                <a:gd name="T77" fmla="*/ 2147483647 h 868"/>
                <a:gd name="T78" fmla="*/ 2147483647 w 479"/>
                <a:gd name="T79" fmla="*/ 2147483647 h 868"/>
                <a:gd name="T80" fmla="*/ 2147483647 w 479"/>
                <a:gd name="T81" fmla="*/ 2147483647 h 868"/>
                <a:gd name="T82" fmla="*/ 2147483647 w 479"/>
                <a:gd name="T83" fmla="*/ 0 h 868"/>
                <a:gd name="T84" fmla="*/ 2147483647 w 479"/>
                <a:gd name="T85" fmla="*/ 2147483647 h 868"/>
                <a:gd name="T86" fmla="*/ 2147483647 w 479"/>
                <a:gd name="T87" fmla="*/ 2147483647 h 868"/>
                <a:gd name="T88" fmla="*/ 2147483647 w 479"/>
                <a:gd name="T89" fmla="*/ 2147483647 h 868"/>
                <a:gd name="T90" fmla="*/ 2147483647 w 479"/>
                <a:gd name="T91" fmla="*/ 2147483647 h 868"/>
                <a:gd name="T92" fmla="*/ 2147483647 w 479"/>
                <a:gd name="T93" fmla="*/ 2147483647 h 868"/>
                <a:gd name="T94" fmla="*/ 2147483647 w 479"/>
                <a:gd name="T95" fmla="*/ 2147483647 h 868"/>
                <a:gd name="T96" fmla="*/ 2147483647 w 479"/>
                <a:gd name="T97" fmla="*/ 2147483647 h 868"/>
                <a:gd name="T98" fmla="*/ 2147483647 w 479"/>
                <a:gd name="T99" fmla="*/ 2147483647 h 868"/>
                <a:gd name="T100" fmla="*/ 2147483647 w 479"/>
                <a:gd name="T101" fmla="*/ 2147483647 h 868"/>
                <a:gd name="T102" fmla="*/ 2147483647 w 479"/>
                <a:gd name="T103" fmla="*/ 2147483647 h 868"/>
                <a:gd name="T104" fmla="*/ 2147483647 w 479"/>
                <a:gd name="T105" fmla="*/ 2147483647 h 868"/>
                <a:gd name="T106" fmla="*/ 2147483647 w 479"/>
                <a:gd name="T107" fmla="*/ 2147483647 h 868"/>
                <a:gd name="T108" fmla="*/ 2147483647 w 479"/>
                <a:gd name="T109" fmla="*/ 2147483647 h 868"/>
                <a:gd name="T110" fmla="*/ 2147483647 w 479"/>
                <a:gd name="T111" fmla="*/ 2147483647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79"/>
                <a:gd name="T169" fmla="*/ 0 h 868"/>
                <a:gd name="T170" fmla="*/ 479 w 479"/>
                <a:gd name="T171" fmla="*/ 868 h 86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8" name="Freeform 25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3924354" y="5184699"/>
              <a:ext cx="21697" cy="52134"/>
            </a:xfrm>
            <a:custGeom>
              <a:avLst/>
              <a:gdLst>
                <a:gd name="T0" fmla="*/ 0 w 53"/>
                <a:gd name="T1" fmla="*/ 2147483647 h 19"/>
                <a:gd name="T2" fmla="*/ 2147483647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2147483647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3"/>
                <a:gd name="T52" fmla="*/ 0 h 19"/>
                <a:gd name="T53" fmla="*/ 53 w 53"/>
                <a:gd name="T54" fmla="*/ 19 h 1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9" name="Line 26" descr="Horizontal dunkel"/>
            <p:cNvSpPr>
              <a:spLocks noChangeShapeType="1"/>
            </p:cNvSpPr>
            <p:nvPr>
              <p:custDataLst>
                <p:tags r:id="rId61"/>
              </p:custDataLst>
            </p:nvPr>
          </p:nvSpPr>
          <p:spPr bwMode="auto">
            <a:xfrm>
              <a:off x="2522765" y="2376730"/>
              <a:ext cx="2893" cy="8689"/>
            </a:xfrm>
            <a:prstGeom prst="line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0" name="Freeform 27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2525658" y="2373834"/>
              <a:ext cx="2893" cy="50685"/>
            </a:xfrm>
            <a:custGeom>
              <a:avLst/>
              <a:gdLst>
                <a:gd name="T0" fmla="*/ 0 w 6"/>
                <a:gd name="T1" fmla="*/ 2147483647 h 24"/>
                <a:gd name="T2" fmla="*/ 0 w 6"/>
                <a:gd name="T3" fmla="*/ 2147483647 h 24"/>
                <a:gd name="T4" fmla="*/ 2147483647 w 6"/>
                <a:gd name="T5" fmla="*/ 2147483647 h 24"/>
                <a:gd name="T6" fmla="*/ 2147483647 w 6"/>
                <a:gd name="T7" fmla="*/ 2147483647 h 24"/>
                <a:gd name="T8" fmla="*/ 2147483647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24"/>
                <a:gd name="T17" fmla="*/ 6 w 6"/>
                <a:gd name="T18" fmla="*/ 24 h 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1" name="Freeform 28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2503961" y="2423071"/>
              <a:ext cx="21697" cy="52134"/>
            </a:xfrm>
            <a:custGeom>
              <a:avLst/>
              <a:gdLst>
                <a:gd name="T0" fmla="*/ 0 w 47"/>
                <a:gd name="T1" fmla="*/ 2147483647 h 67"/>
                <a:gd name="T2" fmla="*/ 0 w 47"/>
                <a:gd name="T3" fmla="*/ 2147483647 h 67"/>
                <a:gd name="T4" fmla="*/ 2147483647 w 47"/>
                <a:gd name="T5" fmla="*/ 2147483647 h 67"/>
                <a:gd name="T6" fmla="*/ 2147483647 w 47"/>
                <a:gd name="T7" fmla="*/ 2147483647 h 67"/>
                <a:gd name="T8" fmla="*/ 2147483647 w 47"/>
                <a:gd name="T9" fmla="*/ 2147483647 h 67"/>
                <a:gd name="T10" fmla="*/ 2147483647 w 47"/>
                <a:gd name="T11" fmla="*/ 2147483647 h 67"/>
                <a:gd name="T12" fmla="*/ 2147483647 w 47"/>
                <a:gd name="T13" fmla="*/ 2147483647 h 67"/>
                <a:gd name="T14" fmla="*/ 2147483647 w 47"/>
                <a:gd name="T15" fmla="*/ 2147483647 h 67"/>
                <a:gd name="T16" fmla="*/ 2147483647 w 47"/>
                <a:gd name="T17" fmla="*/ 0 h 67"/>
                <a:gd name="T18" fmla="*/ 2147483647 w 47"/>
                <a:gd name="T19" fmla="*/ 2147483647 h 67"/>
                <a:gd name="T20" fmla="*/ 2147483647 w 47"/>
                <a:gd name="T21" fmla="*/ 2147483647 h 67"/>
                <a:gd name="T22" fmla="*/ 2147483647 w 47"/>
                <a:gd name="T23" fmla="*/ 2147483647 h 67"/>
                <a:gd name="T24" fmla="*/ 2147483647 w 47"/>
                <a:gd name="T25" fmla="*/ 2147483647 h 67"/>
                <a:gd name="T26" fmla="*/ 2147483647 w 47"/>
                <a:gd name="T27" fmla="*/ 2147483647 h 67"/>
                <a:gd name="T28" fmla="*/ 2147483647 w 47"/>
                <a:gd name="T29" fmla="*/ 2147483647 h 67"/>
                <a:gd name="T30" fmla="*/ 0 w 47"/>
                <a:gd name="T31" fmla="*/ 2147483647 h 67"/>
                <a:gd name="T32" fmla="*/ 0 w 47"/>
                <a:gd name="T33" fmla="*/ 2147483647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7"/>
                <a:gd name="T52" fmla="*/ 0 h 67"/>
                <a:gd name="T53" fmla="*/ 47 w 47"/>
                <a:gd name="T54" fmla="*/ 67 h 6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2" name="Freeform 29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3711729" y="2418726"/>
              <a:ext cx="44839" cy="52134"/>
            </a:xfrm>
            <a:custGeom>
              <a:avLst/>
              <a:gdLst>
                <a:gd name="T0" fmla="*/ 0 w 112"/>
                <a:gd name="T1" fmla="*/ 2147483647 h 36"/>
                <a:gd name="T2" fmla="*/ 2147483647 w 112"/>
                <a:gd name="T3" fmla="*/ 2147483647 h 36"/>
                <a:gd name="T4" fmla="*/ 2147483647 w 112"/>
                <a:gd name="T5" fmla="*/ 2147483647 h 36"/>
                <a:gd name="T6" fmla="*/ 2147483647 w 112"/>
                <a:gd name="T7" fmla="*/ 2147483647 h 36"/>
                <a:gd name="T8" fmla="*/ 2147483647 w 112"/>
                <a:gd name="T9" fmla="*/ 2147483647 h 36"/>
                <a:gd name="T10" fmla="*/ 2147483647 w 112"/>
                <a:gd name="T11" fmla="*/ 2147483647 h 36"/>
                <a:gd name="T12" fmla="*/ 2147483647 w 112"/>
                <a:gd name="T13" fmla="*/ 2147483647 h 36"/>
                <a:gd name="T14" fmla="*/ 2147483647 w 112"/>
                <a:gd name="T15" fmla="*/ 2147483647 h 36"/>
                <a:gd name="T16" fmla="*/ 2147483647 w 112"/>
                <a:gd name="T17" fmla="*/ 2147483647 h 36"/>
                <a:gd name="T18" fmla="*/ 2147483647 w 112"/>
                <a:gd name="T19" fmla="*/ 2147483647 h 36"/>
                <a:gd name="T20" fmla="*/ 2147483647 w 112"/>
                <a:gd name="T21" fmla="*/ 2147483647 h 36"/>
                <a:gd name="T22" fmla="*/ 2147483647 w 112"/>
                <a:gd name="T23" fmla="*/ 0 h 36"/>
                <a:gd name="T24" fmla="*/ 2147483647 w 112"/>
                <a:gd name="T25" fmla="*/ 0 h 36"/>
                <a:gd name="T26" fmla="*/ 2147483647 w 112"/>
                <a:gd name="T27" fmla="*/ 2147483647 h 36"/>
                <a:gd name="T28" fmla="*/ 2147483647 w 112"/>
                <a:gd name="T29" fmla="*/ 2147483647 h 36"/>
                <a:gd name="T30" fmla="*/ 2147483647 w 112"/>
                <a:gd name="T31" fmla="*/ 2147483647 h 36"/>
                <a:gd name="T32" fmla="*/ 2147483647 w 112"/>
                <a:gd name="T33" fmla="*/ 2147483647 h 36"/>
                <a:gd name="T34" fmla="*/ 2147483647 w 112"/>
                <a:gd name="T35" fmla="*/ 2147483647 h 36"/>
                <a:gd name="T36" fmla="*/ 2147483647 w 112"/>
                <a:gd name="T37" fmla="*/ 2147483647 h 36"/>
                <a:gd name="T38" fmla="*/ 2147483647 w 112"/>
                <a:gd name="T39" fmla="*/ 2147483647 h 36"/>
                <a:gd name="T40" fmla="*/ 2147483647 w 112"/>
                <a:gd name="T41" fmla="*/ 2147483647 h 36"/>
                <a:gd name="T42" fmla="*/ 2147483647 w 112"/>
                <a:gd name="T43" fmla="*/ 2147483647 h 36"/>
                <a:gd name="T44" fmla="*/ 2147483647 w 112"/>
                <a:gd name="T45" fmla="*/ 2147483647 h 36"/>
                <a:gd name="T46" fmla="*/ 0 w 112"/>
                <a:gd name="T47" fmla="*/ 2147483647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12"/>
                <a:gd name="T73" fmla="*/ 0 h 36"/>
                <a:gd name="T74" fmla="*/ 112 w 112"/>
                <a:gd name="T75" fmla="*/ 36 h 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3" name="Freeform 30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6206818" y="2014692"/>
              <a:ext cx="796983" cy="412723"/>
            </a:xfrm>
            <a:custGeom>
              <a:avLst/>
              <a:gdLst>
                <a:gd name="T0" fmla="*/ 2147483647 w 2006"/>
                <a:gd name="T1" fmla="*/ 2147483647 h 863"/>
                <a:gd name="T2" fmla="*/ 2147483647 w 2006"/>
                <a:gd name="T3" fmla="*/ 2147483647 h 863"/>
                <a:gd name="T4" fmla="*/ 2147483647 w 2006"/>
                <a:gd name="T5" fmla="*/ 2147483647 h 863"/>
                <a:gd name="T6" fmla="*/ 2147483647 w 2006"/>
                <a:gd name="T7" fmla="*/ 2147483647 h 863"/>
                <a:gd name="T8" fmla="*/ 2147483647 w 2006"/>
                <a:gd name="T9" fmla="*/ 2147483647 h 863"/>
                <a:gd name="T10" fmla="*/ 2147483647 w 2006"/>
                <a:gd name="T11" fmla="*/ 2147483647 h 863"/>
                <a:gd name="T12" fmla="*/ 2147483647 w 2006"/>
                <a:gd name="T13" fmla="*/ 2147483647 h 863"/>
                <a:gd name="T14" fmla="*/ 2147483647 w 2006"/>
                <a:gd name="T15" fmla="*/ 2147483647 h 863"/>
                <a:gd name="T16" fmla="*/ 2147483647 w 2006"/>
                <a:gd name="T17" fmla="*/ 2147483647 h 863"/>
                <a:gd name="T18" fmla="*/ 2147483647 w 2006"/>
                <a:gd name="T19" fmla="*/ 2147483647 h 863"/>
                <a:gd name="T20" fmla="*/ 2147483647 w 2006"/>
                <a:gd name="T21" fmla="*/ 2147483647 h 863"/>
                <a:gd name="T22" fmla="*/ 2147483647 w 2006"/>
                <a:gd name="T23" fmla="*/ 2147483647 h 863"/>
                <a:gd name="T24" fmla="*/ 2147483647 w 2006"/>
                <a:gd name="T25" fmla="*/ 2147483647 h 863"/>
                <a:gd name="T26" fmla="*/ 2147483647 w 2006"/>
                <a:gd name="T27" fmla="*/ 2147483647 h 863"/>
                <a:gd name="T28" fmla="*/ 2147483647 w 2006"/>
                <a:gd name="T29" fmla="*/ 2147483647 h 863"/>
                <a:gd name="T30" fmla="*/ 2147483647 w 2006"/>
                <a:gd name="T31" fmla="*/ 2147483647 h 863"/>
                <a:gd name="T32" fmla="*/ 2147483647 w 2006"/>
                <a:gd name="T33" fmla="*/ 2147483647 h 863"/>
                <a:gd name="T34" fmla="*/ 2147483647 w 2006"/>
                <a:gd name="T35" fmla="*/ 2147483647 h 863"/>
                <a:gd name="T36" fmla="*/ 2147483647 w 2006"/>
                <a:gd name="T37" fmla="*/ 2147483647 h 863"/>
                <a:gd name="T38" fmla="*/ 2147483647 w 2006"/>
                <a:gd name="T39" fmla="*/ 2147483647 h 863"/>
                <a:gd name="T40" fmla="*/ 2147483647 w 2006"/>
                <a:gd name="T41" fmla="*/ 2147483647 h 863"/>
                <a:gd name="T42" fmla="*/ 2147483647 w 2006"/>
                <a:gd name="T43" fmla="*/ 2147483647 h 863"/>
                <a:gd name="T44" fmla="*/ 2147483647 w 2006"/>
                <a:gd name="T45" fmla="*/ 2147483647 h 863"/>
                <a:gd name="T46" fmla="*/ 2147483647 w 2006"/>
                <a:gd name="T47" fmla="*/ 2147483647 h 863"/>
                <a:gd name="T48" fmla="*/ 2147483647 w 2006"/>
                <a:gd name="T49" fmla="*/ 2147483647 h 863"/>
                <a:gd name="T50" fmla="*/ 2147483647 w 2006"/>
                <a:gd name="T51" fmla="*/ 2147483647 h 863"/>
                <a:gd name="T52" fmla="*/ 2147483647 w 2006"/>
                <a:gd name="T53" fmla="*/ 2147483647 h 863"/>
                <a:gd name="T54" fmla="*/ 2147483647 w 2006"/>
                <a:gd name="T55" fmla="*/ 2147483647 h 863"/>
                <a:gd name="T56" fmla="*/ 2147483647 w 2006"/>
                <a:gd name="T57" fmla="*/ 2147483647 h 863"/>
                <a:gd name="T58" fmla="*/ 2147483647 w 2006"/>
                <a:gd name="T59" fmla="*/ 2147483647 h 863"/>
                <a:gd name="T60" fmla="*/ 2147483647 w 2006"/>
                <a:gd name="T61" fmla="*/ 2147483647 h 863"/>
                <a:gd name="T62" fmla="*/ 2147483647 w 2006"/>
                <a:gd name="T63" fmla="*/ 2147483647 h 863"/>
                <a:gd name="T64" fmla="*/ 2147483647 w 2006"/>
                <a:gd name="T65" fmla="*/ 2147483647 h 863"/>
                <a:gd name="T66" fmla="*/ 2147483647 w 2006"/>
                <a:gd name="T67" fmla="*/ 2147483647 h 863"/>
                <a:gd name="T68" fmla="*/ 2147483647 w 2006"/>
                <a:gd name="T69" fmla="*/ 2147483647 h 863"/>
                <a:gd name="T70" fmla="*/ 2147483647 w 2006"/>
                <a:gd name="T71" fmla="*/ 2147483647 h 863"/>
                <a:gd name="T72" fmla="*/ 2147483647 w 2006"/>
                <a:gd name="T73" fmla="*/ 2147483647 h 863"/>
                <a:gd name="T74" fmla="*/ 2147483647 w 2006"/>
                <a:gd name="T75" fmla="*/ 2147483647 h 863"/>
                <a:gd name="T76" fmla="*/ 2147483647 w 2006"/>
                <a:gd name="T77" fmla="*/ 2147483647 h 863"/>
                <a:gd name="T78" fmla="*/ 2147483647 w 2006"/>
                <a:gd name="T79" fmla="*/ 2147483647 h 863"/>
                <a:gd name="T80" fmla="*/ 2147483647 w 2006"/>
                <a:gd name="T81" fmla="*/ 2147483647 h 863"/>
                <a:gd name="T82" fmla="*/ 2147483647 w 2006"/>
                <a:gd name="T83" fmla="*/ 2147483647 h 863"/>
                <a:gd name="T84" fmla="*/ 2147483647 w 2006"/>
                <a:gd name="T85" fmla="*/ 2147483647 h 863"/>
                <a:gd name="T86" fmla="*/ 2147483647 w 2006"/>
                <a:gd name="T87" fmla="*/ 2147483647 h 863"/>
                <a:gd name="T88" fmla="*/ 2147483647 w 2006"/>
                <a:gd name="T89" fmla="*/ 2147483647 h 863"/>
                <a:gd name="T90" fmla="*/ 2147483647 w 2006"/>
                <a:gd name="T91" fmla="*/ 2147483647 h 863"/>
                <a:gd name="T92" fmla="*/ 2147483647 w 2006"/>
                <a:gd name="T93" fmla="*/ 2147483647 h 863"/>
                <a:gd name="T94" fmla="*/ 2147483647 w 2006"/>
                <a:gd name="T95" fmla="*/ 2147483647 h 863"/>
                <a:gd name="T96" fmla="*/ 2147483647 w 2006"/>
                <a:gd name="T97" fmla="*/ 2147483647 h 863"/>
                <a:gd name="T98" fmla="*/ 2147483647 w 2006"/>
                <a:gd name="T99" fmla="*/ 2147483647 h 863"/>
                <a:gd name="T100" fmla="*/ 2147483647 w 2006"/>
                <a:gd name="T101" fmla="*/ 2147483647 h 863"/>
                <a:gd name="T102" fmla="*/ 2147483647 w 2006"/>
                <a:gd name="T103" fmla="*/ 2147483647 h 863"/>
                <a:gd name="T104" fmla="*/ 2147483647 w 2006"/>
                <a:gd name="T105" fmla="*/ 2147483647 h 863"/>
                <a:gd name="T106" fmla="*/ 2147483647 w 2006"/>
                <a:gd name="T107" fmla="*/ 2147483647 h 863"/>
                <a:gd name="T108" fmla="*/ 2147483647 w 2006"/>
                <a:gd name="T109" fmla="*/ 2147483647 h 863"/>
                <a:gd name="T110" fmla="*/ 2147483647 w 2006"/>
                <a:gd name="T111" fmla="*/ 2147483647 h 863"/>
                <a:gd name="T112" fmla="*/ 2147483647 w 2006"/>
                <a:gd name="T113" fmla="*/ 2147483647 h 863"/>
                <a:gd name="T114" fmla="*/ 2147483647 w 2006"/>
                <a:gd name="T115" fmla="*/ 2147483647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006"/>
                <a:gd name="T175" fmla="*/ 0 h 863"/>
                <a:gd name="T176" fmla="*/ 2006 w 2006"/>
                <a:gd name="T177" fmla="*/ 863 h 863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4" name="Freeform 31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6416551" y="2291289"/>
              <a:ext cx="373179" cy="227361"/>
            </a:xfrm>
            <a:custGeom>
              <a:avLst/>
              <a:gdLst>
                <a:gd name="T0" fmla="*/ 2147483647 w 950"/>
                <a:gd name="T1" fmla="*/ 2147483647 h 468"/>
                <a:gd name="T2" fmla="*/ 2147483647 w 950"/>
                <a:gd name="T3" fmla="*/ 2147483647 h 468"/>
                <a:gd name="T4" fmla="*/ 2147483647 w 950"/>
                <a:gd name="T5" fmla="*/ 2147483647 h 468"/>
                <a:gd name="T6" fmla="*/ 2147483647 w 950"/>
                <a:gd name="T7" fmla="*/ 2147483647 h 468"/>
                <a:gd name="T8" fmla="*/ 2147483647 w 950"/>
                <a:gd name="T9" fmla="*/ 2147483647 h 468"/>
                <a:gd name="T10" fmla="*/ 2147483647 w 950"/>
                <a:gd name="T11" fmla="*/ 2147483647 h 468"/>
                <a:gd name="T12" fmla="*/ 2147483647 w 950"/>
                <a:gd name="T13" fmla="*/ 2147483647 h 468"/>
                <a:gd name="T14" fmla="*/ 2147483647 w 950"/>
                <a:gd name="T15" fmla="*/ 2147483647 h 468"/>
                <a:gd name="T16" fmla="*/ 2147483647 w 950"/>
                <a:gd name="T17" fmla="*/ 2147483647 h 468"/>
                <a:gd name="T18" fmla="*/ 2147483647 w 950"/>
                <a:gd name="T19" fmla="*/ 2147483647 h 468"/>
                <a:gd name="T20" fmla="*/ 0 w 950"/>
                <a:gd name="T21" fmla="*/ 2147483647 h 468"/>
                <a:gd name="T22" fmla="*/ 2147483647 w 950"/>
                <a:gd name="T23" fmla="*/ 2147483647 h 468"/>
                <a:gd name="T24" fmla="*/ 2147483647 w 950"/>
                <a:gd name="T25" fmla="*/ 2147483647 h 468"/>
                <a:gd name="T26" fmla="*/ 2147483647 w 950"/>
                <a:gd name="T27" fmla="*/ 2147483647 h 468"/>
                <a:gd name="T28" fmla="*/ 2147483647 w 950"/>
                <a:gd name="T29" fmla="*/ 2147483647 h 468"/>
                <a:gd name="T30" fmla="*/ 2147483647 w 950"/>
                <a:gd name="T31" fmla="*/ 2147483647 h 468"/>
                <a:gd name="T32" fmla="*/ 2147483647 w 950"/>
                <a:gd name="T33" fmla="*/ 2147483647 h 468"/>
                <a:gd name="T34" fmla="*/ 2147483647 w 950"/>
                <a:gd name="T35" fmla="*/ 2147483647 h 468"/>
                <a:gd name="T36" fmla="*/ 2147483647 w 950"/>
                <a:gd name="T37" fmla="*/ 2147483647 h 468"/>
                <a:gd name="T38" fmla="*/ 2147483647 w 950"/>
                <a:gd name="T39" fmla="*/ 2147483647 h 468"/>
                <a:gd name="T40" fmla="*/ 2147483647 w 950"/>
                <a:gd name="T41" fmla="*/ 2147483647 h 468"/>
                <a:gd name="T42" fmla="*/ 2147483647 w 950"/>
                <a:gd name="T43" fmla="*/ 2147483647 h 468"/>
                <a:gd name="T44" fmla="*/ 2147483647 w 950"/>
                <a:gd name="T45" fmla="*/ 2147483647 h 468"/>
                <a:gd name="T46" fmla="*/ 2147483647 w 950"/>
                <a:gd name="T47" fmla="*/ 2147483647 h 468"/>
                <a:gd name="T48" fmla="*/ 2147483647 w 950"/>
                <a:gd name="T49" fmla="*/ 2147483647 h 468"/>
                <a:gd name="T50" fmla="*/ 2147483647 w 950"/>
                <a:gd name="T51" fmla="*/ 2147483647 h 468"/>
                <a:gd name="T52" fmla="*/ 2147483647 w 950"/>
                <a:gd name="T53" fmla="*/ 2147483647 h 468"/>
                <a:gd name="T54" fmla="*/ 2147483647 w 950"/>
                <a:gd name="T55" fmla="*/ 2147483647 h 468"/>
                <a:gd name="T56" fmla="*/ 2147483647 w 950"/>
                <a:gd name="T57" fmla="*/ 2147483647 h 468"/>
                <a:gd name="T58" fmla="*/ 2147483647 w 950"/>
                <a:gd name="T59" fmla="*/ 2147483647 h 468"/>
                <a:gd name="T60" fmla="*/ 2147483647 w 950"/>
                <a:gd name="T61" fmla="*/ 2147483647 h 468"/>
                <a:gd name="T62" fmla="*/ 2147483647 w 950"/>
                <a:gd name="T63" fmla="*/ 2147483647 h 468"/>
                <a:gd name="T64" fmla="*/ 2147483647 w 950"/>
                <a:gd name="T65" fmla="*/ 2147483647 h 468"/>
                <a:gd name="T66" fmla="*/ 2147483647 w 950"/>
                <a:gd name="T67" fmla="*/ 2147483647 h 468"/>
                <a:gd name="T68" fmla="*/ 2147483647 w 950"/>
                <a:gd name="T69" fmla="*/ 2147483647 h 468"/>
                <a:gd name="T70" fmla="*/ 2147483647 w 950"/>
                <a:gd name="T71" fmla="*/ 2147483647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950"/>
                <a:gd name="T109" fmla="*/ 0 h 468"/>
                <a:gd name="T110" fmla="*/ 950 w 950"/>
                <a:gd name="T111" fmla="*/ 468 h 46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6" name="Freeform 33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6098336" y="3083429"/>
              <a:ext cx="138857" cy="154952"/>
            </a:xfrm>
            <a:custGeom>
              <a:avLst/>
              <a:gdLst>
                <a:gd name="T0" fmla="*/ 2147483647 w 358"/>
                <a:gd name="T1" fmla="*/ 2147483647 h 327"/>
                <a:gd name="T2" fmla="*/ 2147483647 w 358"/>
                <a:gd name="T3" fmla="*/ 2147483647 h 327"/>
                <a:gd name="T4" fmla="*/ 2147483647 w 358"/>
                <a:gd name="T5" fmla="*/ 2147483647 h 327"/>
                <a:gd name="T6" fmla="*/ 2147483647 w 358"/>
                <a:gd name="T7" fmla="*/ 2147483647 h 327"/>
                <a:gd name="T8" fmla="*/ 2147483647 w 358"/>
                <a:gd name="T9" fmla="*/ 2147483647 h 327"/>
                <a:gd name="T10" fmla="*/ 2147483647 w 358"/>
                <a:gd name="T11" fmla="*/ 2147483647 h 327"/>
                <a:gd name="T12" fmla="*/ 2147483647 w 358"/>
                <a:gd name="T13" fmla="*/ 2147483647 h 327"/>
                <a:gd name="T14" fmla="*/ 2147483647 w 358"/>
                <a:gd name="T15" fmla="*/ 2147483647 h 327"/>
                <a:gd name="T16" fmla="*/ 2147483647 w 358"/>
                <a:gd name="T17" fmla="*/ 2147483647 h 327"/>
                <a:gd name="T18" fmla="*/ 2147483647 w 358"/>
                <a:gd name="T19" fmla="*/ 2147483647 h 327"/>
                <a:gd name="T20" fmla="*/ 2147483647 w 358"/>
                <a:gd name="T21" fmla="*/ 2147483647 h 327"/>
                <a:gd name="T22" fmla="*/ 2147483647 w 358"/>
                <a:gd name="T23" fmla="*/ 2147483647 h 327"/>
                <a:gd name="T24" fmla="*/ 2147483647 w 358"/>
                <a:gd name="T25" fmla="*/ 2147483647 h 327"/>
                <a:gd name="T26" fmla="*/ 2147483647 w 358"/>
                <a:gd name="T27" fmla="*/ 2147483647 h 327"/>
                <a:gd name="T28" fmla="*/ 2147483647 w 358"/>
                <a:gd name="T29" fmla="*/ 2147483647 h 327"/>
                <a:gd name="T30" fmla="*/ 2147483647 w 358"/>
                <a:gd name="T31" fmla="*/ 2147483647 h 327"/>
                <a:gd name="T32" fmla="*/ 2147483647 w 358"/>
                <a:gd name="T33" fmla="*/ 2147483647 h 327"/>
                <a:gd name="T34" fmla="*/ 2147483647 w 358"/>
                <a:gd name="T35" fmla="*/ 2147483647 h 327"/>
                <a:gd name="T36" fmla="*/ 2147483647 w 358"/>
                <a:gd name="T37" fmla="*/ 2147483647 h 327"/>
                <a:gd name="T38" fmla="*/ 2147483647 w 358"/>
                <a:gd name="T39" fmla="*/ 2147483647 h 327"/>
                <a:gd name="T40" fmla="*/ 2147483647 w 358"/>
                <a:gd name="T41" fmla="*/ 2147483647 h 327"/>
                <a:gd name="T42" fmla="*/ 2147483647 w 358"/>
                <a:gd name="T43" fmla="*/ 2147483647 h 327"/>
                <a:gd name="T44" fmla="*/ 2147483647 w 358"/>
                <a:gd name="T45" fmla="*/ 2147483647 h 327"/>
                <a:gd name="T46" fmla="*/ 2147483647 w 358"/>
                <a:gd name="T47" fmla="*/ 2147483647 h 327"/>
                <a:gd name="T48" fmla="*/ 2147483647 w 358"/>
                <a:gd name="T49" fmla="*/ 2147483647 h 327"/>
                <a:gd name="T50" fmla="*/ 2147483647 w 358"/>
                <a:gd name="T51" fmla="*/ 2147483647 h 327"/>
                <a:gd name="T52" fmla="*/ 2147483647 w 358"/>
                <a:gd name="T53" fmla="*/ 0 h 327"/>
                <a:gd name="T54" fmla="*/ 2147483647 w 358"/>
                <a:gd name="T55" fmla="*/ 2147483647 h 327"/>
                <a:gd name="T56" fmla="*/ 2147483647 w 358"/>
                <a:gd name="T57" fmla="*/ 2147483647 h 327"/>
                <a:gd name="T58" fmla="*/ 2147483647 w 358"/>
                <a:gd name="T59" fmla="*/ 2147483647 h 327"/>
                <a:gd name="T60" fmla="*/ 2147483647 w 358"/>
                <a:gd name="T61" fmla="*/ 2147483647 h 327"/>
                <a:gd name="T62" fmla="*/ 2147483647 w 358"/>
                <a:gd name="T63" fmla="*/ 2147483647 h 327"/>
                <a:gd name="T64" fmla="*/ 2147483647 w 358"/>
                <a:gd name="T65" fmla="*/ 2147483647 h 327"/>
                <a:gd name="T66" fmla="*/ 2147483647 w 358"/>
                <a:gd name="T67" fmla="*/ 2147483647 h 327"/>
                <a:gd name="T68" fmla="*/ 2147483647 w 358"/>
                <a:gd name="T69" fmla="*/ 2147483647 h 327"/>
                <a:gd name="T70" fmla="*/ 2147483647 w 358"/>
                <a:gd name="T71" fmla="*/ 2147483647 h 327"/>
                <a:gd name="T72" fmla="*/ 2147483647 w 358"/>
                <a:gd name="T73" fmla="*/ 2147483647 h 327"/>
                <a:gd name="T74" fmla="*/ 2147483647 w 358"/>
                <a:gd name="T75" fmla="*/ 2147483647 h 327"/>
                <a:gd name="T76" fmla="*/ 0 w 358"/>
                <a:gd name="T77" fmla="*/ 2147483647 h 327"/>
                <a:gd name="T78" fmla="*/ 0 w 358"/>
                <a:gd name="T79" fmla="*/ 2147483647 h 327"/>
                <a:gd name="T80" fmla="*/ 2147483647 w 358"/>
                <a:gd name="T81" fmla="*/ 2147483647 h 327"/>
                <a:gd name="T82" fmla="*/ 2147483647 w 358"/>
                <a:gd name="T83" fmla="*/ 2147483647 h 327"/>
                <a:gd name="T84" fmla="*/ 2147483647 w 358"/>
                <a:gd name="T85" fmla="*/ 2147483647 h 327"/>
                <a:gd name="T86" fmla="*/ 2147483647 w 358"/>
                <a:gd name="T87" fmla="*/ 2147483647 h 327"/>
                <a:gd name="T88" fmla="*/ 2147483647 w 358"/>
                <a:gd name="T89" fmla="*/ 2147483647 h 327"/>
                <a:gd name="T90" fmla="*/ 2147483647 w 358"/>
                <a:gd name="T91" fmla="*/ 2147483647 h 327"/>
                <a:gd name="T92" fmla="*/ 2147483647 w 358"/>
                <a:gd name="T93" fmla="*/ 2147483647 h 327"/>
                <a:gd name="T94" fmla="*/ 2147483647 w 358"/>
                <a:gd name="T95" fmla="*/ 2147483647 h 327"/>
                <a:gd name="T96" fmla="*/ 2147483647 w 358"/>
                <a:gd name="T97" fmla="*/ 2147483647 h 327"/>
                <a:gd name="T98" fmla="*/ 2147483647 w 358"/>
                <a:gd name="T99" fmla="*/ 2147483647 h 327"/>
                <a:gd name="T100" fmla="*/ 2147483647 w 358"/>
                <a:gd name="T101" fmla="*/ 2147483647 h 327"/>
                <a:gd name="T102" fmla="*/ 2147483647 w 358"/>
                <a:gd name="T103" fmla="*/ 2147483647 h 327"/>
                <a:gd name="T104" fmla="*/ 2147483647 w 358"/>
                <a:gd name="T105" fmla="*/ 2147483647 h 327"/>
                <a:gd name="T106" fmla="*/ 2147483647 w 358"/>
                <a:gd name="T107" fmla="*/ 2147483647 h 327"/>
                <a:gd name="T108" fmla="*/ 2147483647 w 358"/>
                <a:gd name="T109" fmla="*/ 2147483647 h 327"/>
                <a:gd name="T110" fmla="*/ 2147483647 w 358"/>
                <a:gd name="T111" fmla="*/ 2147483647 h 327"/>
                <a:gd name="T112" fmla="*/ 2147483647 w 358"/>
                <a:gd name="T113" fmla="*/ 2147483647 h 327"/>
                <a:gd name="T114" fmla="*/ 2147483647 w 358"/>
                <a:gd name="T115" fmla="*/ 2147483647 h 327"/>
                <a:gd name="T116" fmla="*/ 2147483647 w 358"/>
                <a:gd name="T117" fmla="*/ 2147483647 h 327"/>
                <a:gd name="T118" fmla="*/ 2147483647 w 358"/>
                <a:gd name="T119" fmla="*/ 2147483647 h 327"/>
                <a:gd name="T120" fmla="*/ 2147483647 w 358"/>
                <a:gd name="T121" fmla="*/ 2147483647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58"/>
                <a:gd name="T184" fmla="*/ 0 h 327"/>
                <a:gd name="T185" fmla="*/ 358 w 358"/>
                <a:gd name="T186" fmla="*/ 327 h 32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7" name="Freeform 34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5607997" y="2175436"/>
              <a:ext cx="114268" cy="52134"/>
            </a:xfrm>
            <a:custGeom>
              <a:avLst/>
              <a:gdLst>
                <a:gd name="T0" fmla="*/ 2147483647 w 292"/>
                <a:gd name="T1" fmla="*/ 0 h 99"/>
                <a:gd name="T2" fmla="*/ 2147483647 w 292"/>
                <a:gd name="T3" fmla="*/ 0 h 99"/>
                <a:gd name="T4" fmla="*/ 2147483647 w 292"/>
                <a:gd name="T5" fmla="*/ 2147483647 h 99"/>
                <a:gd name="T6" fmla="*/ 2147483647 w 292"/>
                <a:gd name="T7" fmla="*/ 2147483647 h 99"/>
                <a:gd name="T8" fmla="*/ 2147483647 w 292"/>
                <a:gd name="T9" fmla="*/ 2147483647 h 99"/>
                <a:gd name="T10" fmla="*/ 2147483647 w 292"/>
                <a:gd name="T11" fmla="*/ 2147483647 h 99"/>
                <a:gd name="T12" fmla="*/ 2147483647 w 292"/>
                <a:gd name="T13" fmla="*/ 2147483647 h 99"/>
                <a:gd name="T14" fmla="*/ 2147483647 w 292"/>
                <a:gd name="T15" fmla="*/ 2147483647 h 99"/>
                <a:gd name="T16" fmla="*/ 2147483647 w 292"/>
                <a:gd name="T17" fmla="*/ 2147483647 h 99"/>
                <a:gd name="T18" fmla="*/ 2147483647 w 292"/>
                <a:gd name="T19" fmla="*/ 2147483647 h 99"/>
                <a:gd name="T20" fmla="*/ 2147483647 w 292"/>
                <a:gd name="T21" fmla="*/ 2147483647 h 99"/>
                <a:gd name="T22" fmla="*/ 2147483647 w 292"/>
                <a:gd name="T23" fmla="*/ 2147483647 h 99"/>
                <a:gd name="T24" fmla="*/ 2147483647 w 292"/>
                <a:gd name="T25" fmla="*/ 2147483647 h 99"/>
                <a:gd name="T26" fmla="*/ 2147483647 w 292"/>
                <a:gd name="T27" fmla="*/ 2147483647 h 99"/>
                <a:gd name="T28" fmla="*/ 2147483647 w 292"/>
                <a:gd name="T29" fmla="*/ 2147483647 h 99"/>
                <a:gd name="T30" fmla="*/ 2147483647 w 292"/>
                <a:gd name="T31" fmla="*/ 2147483647 h 99"/>
                <a:gd name="T32" fmla="*/ 2147483647 w 292"/>
                <a:gd name="T33" fmla="*/ 2147483647 h 99"/>
                <a:gd name="T34" fmla="*/ 2147483647 w 292"/>
                <a:gd name="T35" fmla="*/ 2147483647 h 99"/>
                <a:gd name="T36" fmla="*/ 0 w 292"/>
                <a:gd name="T37" fmla="*/ 2147483647 h 99"/>
                <a:gd name="T38" fmla="*/ 2147483647 w 292"/>
                <a:gd name="T39" fmla="*/ 2147483647 h 99"/>
                <a:gd name="T40" fmla="*/ 2147483647 w 292"/>
                <a:gd name="T41" fmla="*/ 2147483647 h 99"/>
                <a:gd name="T42" fmla="*/ 2147483647 w 292"/>
                <a:gd name="T43" fmla="*/ 2147483647 h 99"/>
                <a:gd name="T44" fmla="*/ 2147483647 w 292"/>
                <a:gd name="T45" fmla="*/ 2147483647 h 99"/>
                <a:gd name="T46" fmla="*/ 2147483647 w 292"/>
                <a:gd name="T47" fmla="*/ 2147483647 h 99"/>
                <a:gd name="T48" fmla="*/ 2147483647 w 292"/>
                <a:gd name="T49" fmla="*/ 2147483647 h 99"/>
                <a:gd name="T50" fmla="*/ 2147483647 w 292"/>
                <a:gd name="T51" fmla="*/ 2147483647 h 99"/>
                <a:gd name="T52" fmla="*/ 2147483647 w 292"/>
                <a:gd name="T53" fmla="*/ 2147483647 h 99"/>
                <a:gd name="T54" fmla="*/ 2147483647 w 292"/>
                <a:gd name="T55" fmla="*/ 2147483647 h 99"/>
                <a:gd name="T56" fmla="*/ 2147483647 w 292"/>
                <a:gd name="T57" fmla="*/ 2147483647 h 99"/>
                <a:gd name="T58" fmla="*/ 2147483647 w 292"/>
                <a:gd name="T59" fmla="*/ 2147483647 h 99"/>
                <a:gd name="T60" fmla="*/ 2147483647 w 292"/>
                <a:gd name="T61" fmla="*/ 2147483647 h 99"/>
                <a:gd name="T62" fmla="*/ 2147483647 w 292"/>
                <a:gd name="T63" fmla="*/ 2147483647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92"/>
                <a:gd name="T97" fmla="*/ 0 h 99"/>
                <a:gd name="T98" fmla="*/ 292 w 292"/>
                <a:gd name="T99" fmla="*/ 99 h 99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8" name="Freeform 35"/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6394854" y="2832898"/>
              <a:ext cx="17357" cy="52134"/>
            </a:xfrm>
            <a:custGeom>
              <a:avLst/>
              <a:gdLst>
                <a:gd name="T0" fmla="*/ 2147483647 w 43"/>
                <a:gd name="T1" fmla="*/ 2147483647 h 93"/>
                <a:gd name="T2" fmla="*/ 2147483647 w 43"/>
                <a:gd name="T3" fmla="*/ 2147483647 h 93"/>
                <a:gd name="T4" fmla="*/ 2147483647 w 43"/>
                <a:gd name="T5" fmla="*/ 2147483647 h 93"/>
                <a:gd name="T6" fmla="*/ 2147483647 w 43"/>
                <a:gd name="T7" fmla="*/ 2147483647 h 93"/>
                <a:gd name="T8" fmla="*/ 2147483647 w 43"/>
                <a:gd name="T9" fmla="*/ 2147483647 h 93"/>
                <a:gd name="T10" fmla="*/ 2147483647 w 43"/>
                <a:gd name="T11" fmla="*/ 2147483647 h 93"/>
                <a:gd name="T12" fmla="*/ 2147483647 w 43"/>
                <a:gd name="T13" fmla="*/ 2147483647 h 93"/>
                <a:gd name="T14" fmla="*/ 2147483647 w 43"/>
                <a:gd name="T15" fmla="*/ 2147483647 h 93"/>
                <a:gd name="T16" fmla="*/ 2147483647 w 43"/>
                <a:gd name="T17" fmla="*/ 2147483647 h 93"/>
                <a:gd name="T18" fmla="*/ 2147483647 w 43"/>
                <a:gd name="T19" fmla="*/ 2147483647 h 93"/>
                <a:gd name="T20" fmla="*/ 2147483647 w 43"/>
                <a:gd name="T21" fmla="*/ 2147483647 h 93"/>
                <a:gd name="T22" fmla="*/ 2147483647 w 43"/>
                <a:gd name="T23" fmla="*/ 2147483647 h 93"/>
                <a:gd name="T24" fmla="*/ 2147483647 w 43"/>
                <a:gd name="T25" fmla="*/ 2147483647 h 93"/>
                <a:gd name="T26" fmla="*/ 2147483647 w 43"/>
                <a:gd name="T27" fmla="*/ 2147483647 h 93"/>
                <a:gd name="T28" fmla="*/ 0 w 43"/>
                <a:gd name="T29" fmla="*/ 2147483647 h 93"/>
                <a:gd name="T30" fmla="*/ 2147483647 w 43"/>
                <a:gd name="T31" fmla="*/ 2147483647 h 93"/>
                <a:gd name="T32" fmla="*/ 2147483647 w 43"/>
                <a:gd name="T33" fmla="*/ 2147483647 h 93"/>
                <a:gd name="T34" fmla="*/ 2147483647 w 43"/>
                <a:gd name="T35" fmla="*/ 2147483647 h 93"/>
                <a:gd name="T36" fmla="*/ 2147483647 w 43"/>
                <a:gd name="T37" fmla="*/ 2147483647 h 93"/>
                <a:gd name="T38" fmla="*/ 2147483647 w 43"/>
                <a:gd name="T39" fmla="*/ 2147483647 h 93"/>
                <a:gd name="T40" fmla="*/ 2147483647 w 43"/>
                <a:gd name="T41" fmla="*/ 2147483647 h 93"/>
                <a:gd name="T42" fmla="*/ 2147483647 w 43"/>
                <a:gd name="T43" fmla="*/ 2147483647 h 93"/>
                <a:gd name="T44" fmla="*/ 2147483647 w 43"/>
                <a:gd name="T45" fmla="*/ 2147483647 h 93"/>
                <a:gd name="T46" fmla="*/ 2147483647 w 43"/>
                <a:gd name="T47" fmla="*/ 2147483647 h 93"/>
                <a:gd name="T48" fmla="*/ 2147483647 w 43"/>
                <a:gd name="T49" fmla="*/ 2147483647 h 93"/>
                <a:gd name="T50" fmla="*/ 2147483647 w 43"/>
                <a:gd name="T51" fmla="*/ 2147483647 h 93"/>
                <a:gd name="T52" fmla="*/ 2147483647 w 43"/>
                <a:gd name="T53" fmla="*/ 2147483647 h 93"/>
                <a:gd name="T54" fmla="*/ 2147483647 w 43"/>
                <a:gd name="T55" fmla="*/ 0 h 93"/>
                <a:gd name="T56" fmla="*/ 2147483647 w 43"/>
                <a:gd name="T57" fmla="*/ 0 h 93"/>
                <a:gd name="T58" fmla="*/ 2147483647 w 43"/>
                <a:gd name="T59" fmla="*/ 2147483647 h 93"/>
                <a:gd name="T60" fmla="*/ 2147483647 w 43"/>
                <a:gd name="T61" fmla="*/ 2147483647 h 93"/>
                <a:gd name="T62" fmla="*/ 2147483647 w 43"/>
                <a:gd name="T63" fmla="*/ 2147483647 h 93"/>
                <a:gd name="T64" fmla="*/ 2147483647 w 43"/>
                <a:gd name="T65" fmla="*/ 2147483647 h 93"/>
                <a:gd name="T66" fmla="*/ 2147483647 w 43"/>
                <a:gd name="T67" fmla="*/ 2147483647 h 93"/>
                <a:gd name="T68" fmla="*/ 2147483647 w 43"/>
                <a:gd name="T69" fmla="*/ 2147483647 h 93"/>
                <a:gd name="T70" fmla="*/ 2147483647 w 43"/>
                <a:gd name="T71" fmla="*/ 2147483647 h 93"/>
                <a:gd name="T72" fmla="*/ 2147483647 w 43"/>
                <a:gd name="T73" fmla="*/ 2147483647 h 93"/>
                <a:gd name="T74" fmla="*/ 2147483647 w 43"/>
                <a:gd name="T75" fmla="*/ 2147483647 h 93"/>
                <a:gd name="T76" fmla="*/ 2147483647 w 43"/>
                <a:gd name="T77" fmla="*/ 2147483647 h 93"/>
                <a:gd name="T78" fmla="*/ 2147483647 w 43"/>
                <a:gd name="T79" fmla="*/ 2147483647 h 93"/>
                <a:gd name="T80" fmla="*/ 2147483647 w 43"/>
                <a:gd name="T81" fmla="*/ 2147483647 h 93"/>
                <a:gd name="T82" fmla="*/ 2147483647 w 43"/>
                <a:gd name="T83" fmla="*/ 2147483647 h 93"/>
                <a:gd name="T84" fmla="*/ 2147483647 w 43"/>
                <a:gd name="T85" fmla="*/ 2147483647 h 93"/>
                <a:gd name="T86" fmla="*/ 2147483647 w 43"/>
                <a:gd name="T87" fmla="*/ 2147483647 h 93"/>
                <a:gd name="T88" fmla="*/ 2147483647 w 43"/>
                <a:gd name="T89" fmla="*/ 2147483647 h 93"/>
                <a:gd name="T90" fmla="*/ 2147483647 w 43"/>
                <a:gd name="T91" fmla="*/ 2147483647 h 93"/>
                <a:gd name="T92" fmla="*/ 2147483647 w 43"/>
                <a:gd name="T93" fmla="*/ 2147483647 h 93"/>
                <a:gd name="T94" fmla="*/ 2147483647 w 43"/>
                <a:gd name="T95" fmla="*/ 2147483647 h 93"/>
                <a:gd name="T96" fmla="*/ 2147483647 w 43"/>
                <a:gd name="T97" fmla="*/ 2147483647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43"/>
                <a:gd name="T148" fmla="*/ 0 h 93"/>
                <a:gd name="T149" fmla="*/ 43 w 43"/>
                <a:gd name="T150" fmla="*/ 93 h 9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9" name="Freeform 36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6503336" y="2837243"/>
              <a:ext cx="13017" cy="52134"/>
            </a:xfrm>
            <a:custGeom>
              <a:avLst/>
              <a:gdLst>
                <a:gd name="T0" fmla="*/ 2147483647 w 40"/>
                <a:gd name="T1" fmla="*/ 2147483647 h 56"/>
                <a:gd name="T2" fmla="*/ 2147483647 w 40"/>
                <a:gd name="T3" fmla="*/ 2147483647 h 56"/>
                <a:gd name="T4" fmla="*/ 2147483647 w 40"/>
                <a:gd name="T5" fmla="*/ 2147483647 h 56"/>
                <a:gd name="T6" fmla="*/ 2147483647 w 40"/>
                <a:gd name="T7" fmla="*/ 2147483647 h 56"/>
                <a:gd name="T8" fmla="*/ 2147483647 w 40"/>
                <a:gd name="T9" fmla="*/ 2147483647 h 56"/>
                <a:gd name="T10" fmla="*/ 2147483647 w 40"/>
                <a:gd name="T11" fmla="*/ 2147483647 h 56"/>
                <a:gd name="T12" fmla="*/ 0 w 40"/>
                <a:gd name="T13" fmla="*/ 2147483647 h 56"/>
                <a:gd name="T14" fmla="*/ 2147483647 w 40"/>
                <a:gd name="T15" fmla="*/ 2147483647 h 56"/>
                <a:gd name="T16" fmla="*/ 2147483647 w 40"/>
                <a:gd name="T17" fmla="*/ 0 h 56"/>
                <a:gd name="T18" fmla="*/ 2147483647 w 40"/>
                <a:gd name="T19" fmla="*/ 2147483647 h 56"/>
                <a:gd name="T20" fmla="*/ 2147483647 w 40"/>
                <a:gd name="T21" fmla="*/ 2147483647 h 56"/>
                <a:gd name="T22" fmla="*/ 2147483647 w 40"/>
                <a:gd name="T23" fmla="*/ 2147483647 h 56"/>
                <a:gd name="T24" fmla="*/ 2147483647 w 40"/>
                <a:gd name="T25" fmla="*/ 2147483647 h 56"/>
                <a:gd name="T26" fmla="*/ 2147483647 w 40"/>
                <a:gd name="T27" fmla="*/ 2147483647 h 56"/>
                <a:gd name="T28" fmla="*/ 2147483647 w 40"/>
                <a:gd name="T29" fmla="*/ 2147483647 h 56"/>
                <a:gd name="T30" fmla="*/ 2147483647 w 40"/>
                <a:gd name="T31" fmla="*/ 2147483647 h 56"/>
                <a:gd name="T32" fmla="*/ 2147483647 w 40"/>
                <a:gd name="T33" fmla="*/ 2147483647 h 56"/>
                <a:gd name="T34" fmla="*/ 2147483647 w 40"/>
                <a:gd name="T35" fmla="*/ 2147483647 h 56"/>
                <a:gd name="T36" fmla="*/ 2147483647 w 40"/>
                <a:gd name="T37" fmla="*/ 2147483647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40"/>
                <a:gd name="T58" fmla="*/ 0 h 56"/>
                <a:gd name="T59" fmla="*/ 40 w 40"/>
                <a:gd name="T60" fmla="*/ 56 h 5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0" name="Freeform 37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7858640" y="3439675"/>
              <a:ext cx="40500" cy="52134"/>
            </a:xfrm>
            <a:custGeom>
              <a:avLst/>
              <a:gdLst>
                <a:gd name="T0" fmla="*/ 0 w 106"/>
                <a:gd name="T1" fmla="*/ 2147483647 h 71"/>
                <a:gd name="T2" fmla="*/ 2147483647 w 106"/>
                <a:gd name="T3" fmla="*/ 2147483647 h 71"/>
                <a:gd name="T4" fmla="*/ 2147483647 w 106"/>
                <a:gd name="T5" fmla="*/ 2147483647 h 71"/>
                <a:gd name="T6" fmla="*/ 2147483647 w 106"/>
                <a:gd name="T7" fmla="*/ 2147483647 h 71"/>
                <a:gd name="T8" fmla="*/ 2147483647 w 106"/>
                <a:gd name="T9" fmla="*/ 2147483647 h 71"/>
                <a:gd name="T10" fmla="*/ 2147483647 w 106"/>
                <a:gd name="T11" fmla="*/ 2147483647 h 71"/>
                <a:gd name="T12" fmla="*/ 2147483647 w 106"/>
                <a:gd name="T13" fmla="*/ 2147483647 h 71"/>
                <a:gd name="T14" fmla="*/ 2147483647 w 106"/>
                <a:gd name="T15" fmla="*/ 2147483647 h 71"/>
                <a:gd name="T16" fmla="*/ 2147483647 w 106"/>
                <a:gd name="T17" fmla="*/ 0 h 71"/>
                <a:gd name="T18" fmla="*/ 2147483647 w 106"/>
                <a:gd name="T19" fmla="*/ 2147483647 h 71"/>
                <a:gd name="T20" fmla="*/ 2147483647 w 106"/>
                <a:gd name="T21" fmla="*/ 2147483647 h 71"/>
                <a:gd name="T22" fmla="*/ 2147483647 w 106"/>
                <a:gd name="T23" fmla="*/ 2147483647 h 71"/>
                <a:gd name="T24" fmla="*/ 2147483647 w 106"/>
                <a:gd name="T25" fmla="*/ 2147483647 h 71"/>
                <a:gd name="T26" fmla="*/ 2147483647 w 106"/>
                <a:gd name="T27" fmla="*/ 2147483647 h 71"/>
                <a:gd name="T28" fmla="*/ 2147483647 w 106"/>
                <a:gd name="T29" fmla="*/ 2147483647 h 71"/>
                <a:gd name="T30" fmla="*/ 2147483647 w 106"/>
                <a:gd name="T31" fmla="*/ 2147483647 h 71"/>
                <a:gd name="T32" fmla="*/ 2147483647 w 106"/>
                <a:gd name="T33" fmla="*/ 2147483647 h 71"/>
                <a:gd name="T34" fmla="*/ 2147483647 w 106"/>
                <a:gd name="T35" fmla="*/ 2147483647 h 71"/>
                <a:gd name="T36" fmla="*/ 2147483647 w 106"/>
                <a:gd name="T37" fmla="*/ 2147483647 h 71"/>
                <a:gd name="T38" fmla="*/ 2147483647 w 106"/>
                <a:gd name="T39" fmla="*/ 2147483647 h 71"/>
                <a:gd name="T40" fmla="*/ 2147483647 w 106"/>
                <a:gd name="T41" fmla="*/ 2147483647 h 71"/>
                <a:gd name="T42" fmla="*/ 2147483647 w 106"/>
                <a:gd name="T43" fmla="*/ 2147483647 h 71"/>
                <a:gd name="T44" fmla="*/ 2147483647 w 106"/>
                <a:gd name="T45" fmla="*/ 2147483647 h 71"/>
                <a:gd name="T46" fmla="*/ 2147483647 w 106"/>
                <a:gd name="T47" fmla="*/ 2147483647 h 71"/>
                <a:gd name="T48" fmla="*/ 2147483647 w 106"/>
                <a:gd name="T49" fmla="*/ 2147483647 h 71"/>
                <a:gd name="T50" fmla="*/ 2147483647 w 106"/>
                <a:gd name="T51" fmla="*/ 2147483647 h 71"/>
                <a:gd name="T52" fmla="*/ 2147483647 w 106"/>
                <a:gd name="T53" fmla="*/ 2147483647 h 71"/>
                <a:gd name="T54" fmla="*/ 2147483647 w 106"/>
                <a:gd name="T55" fmla="*/ 2147483647 h 71"/>
                <a:gd name="T56" fmla="*/ 2147483647 w 106"/>
                <a:gd name="T57" fmla="*/ 2147483647 h 71"/>
                <a:gd name="T58" fmla="*/ 2147483647 w 106"/>
                <a:gd name="T59" fmla="*/ 2147483647 h 71"/>
                <a:gd name="T60" fmla="*/ 2147483647 w 106"/>
                <a:gd name="T61" fmla="*/ 2147483647 h 71"/>
                <a:gd name="T62" fmla="*/ 2147483647 w 106"/>
                <a:gd name="T63" fmla="*/ 2147483647 h 71"/>
                <a:gd name="T64" fmla="*/ 2147483647 w 106"/>
                <a:gd name="T65" fmla="*/ 2147483647 h 71"/>
                <a:gd name="T66" fmla="*/ 2147483647 w 106"/>
                <a:gd name="T67" fmla="*/ 2147483647 h 71"/>
                <a:gd name="T68" fmla="*/ 2147483647 w 106"/>
                <a:gd name="T69" fmla="*/ 2147483647 h 71"/>
                <a:gd name="T70" fmla="*/ 2147483647 w 106"/>
                <a:gd name="T71" fmla="*/ 2147483647 h 71"/>
                <a:gd name="T72" fmla="*/ 2147483647 w 106"/>
                <a:gd name="T73" fmla="*/ 2147483647 h 71"/>
                <a:gd name="T74" fmla="*/ 2147483647 w 106"/>
                <a:gd name="T75" fmla="*/ 2147483647 h 71"/>
                <a:gd name="T76" fmla="*/ 2147483647 w 106"/>
                <a:gd name="T77" fmla="*/ 2147483647 h 71"/>
                <a:gd name="T78" fmla="*/ 2147483647 w 106"/>
                <a:gd name="T79" fmla="*/ 2147483647 h 71"/>
                <a:gd name="T80" fmla="*/ 2147483647 w 106"/>
                <a:gd name="T81" fmla="*/ 2147483647 h 71"/>
                <a:gd name="T82" fmla="*/ 2147483647 w 106"/>
                <a:gd name="T83" fmla="*/ 2147483647 h 71"/>
                <a:gd name="T84" fmla="*/ 2147483647 w 106"/>
                <a:gd name="T85" fmla="*/ 2147483647 h 71"/>
                <a:gd name="T86" fmla="*/ 2147483647 w 106"/>
                <a:gd name="T87" fmla="*/ 2147483647 h 71"/>
                <a:gd name="T88" fmla="*/ 2147483647 w 106"/>
                <a:gd name="T89" fmla="*/ 2147483647 h 71"/>
                <a:gd name="T90" fmla="*/ 0 w 106"/>
                <a:gd name="T91" fmla="*/ 2147483647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06"/>
                <a:gd name="T139" fmla="*/ 0 h 71"/>
                <a:gd name="T140" fmla="*/ 106 w 106"/>
                <a:gd name="T141" fmla="*/ 71 h 71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61" name="Group 38"/>
            <p:cNvGrpSpPr>
              <a:grpSpLocks/>
            </p:cNvGrpSpPr>
            <p:nvPr>
              <p:custDataLst>
                <p:tags r:id="rId72"/>
              </p:custDataLst>
            </p:nvPr>
          </p:nvGrpSpPr>
          <p:grpSpPr bwMode="auto">
            <a:xfrm>
              <a:off x="4079122" y="5089121"/>
              <a:ext cx="59303" cy="50686"/>
              <a:chOff x="1654" y="3671"/>
              <a:chExt cx="49" cy="17"/>
            </a:xfrm>
            <a:solidFill>
              <a:schemeClr val="tx1">
                <a:lumMod val="20000"/>
                <a:lumOff val="80000"/>
              </a:schemeClr>
            </a:solidFill>
          </p:grpSpPr>
          <p:sp>
            <p:nvSpPr>
              <p:cNvPr id="562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0 w 59"/>
                  <a:gd name="T1" fmla="*/ 0 h 43"/>
                  <a:gd name="T2" fmla="*/ 0 w 59"/>
                  <a:gd name="T3" fmla="*/ 0 h 43"/>
                  <a:gd name="T4" fmla="*/ 0 w 59"/>
                  <a:gd name="T5" fmla="*/ 0 h 43"/>
                  <a:gd name="T6" fmla="*/ 0 w 59"/>
                  <a:gd name="T7" fmla="*/ 0 h 43"/>
                  <a:gd name="T8" fmla="*/ 0 w 59"/>
                  <a:gd name="T9" fmla="*/ 0 h 43"/>
                  <a:gd name="T10" fmla="*/ 0 w 59"/>
                  <a:gd name="T11" fmla="*/ 0 h 43"/>
                  <a:gd name="T12" fmla="*/ 0 w 59"/>
                  <a:gd name="T13" fmla="*/ 0 h 43"/>
                  <a:gd name="T14" fmla="*/ 0 w 59"/>
                  <a:gd name="T15" fmla="*/ 0 h 43"/>
                  <a:gd name="T16" fmla="*/ 0 w 59"/>
                  <a:gd name="T17" fmla="*/ 0 h 43"/>
                  <a:gd name="T18" fmla="*/ 0 w 59"/>
                  <a:gd name="T19" fmla="*/ 0 h 43"/>
                  <a:gd name="T20" fmla="*/ 0 w 59"/>
                  <a:gd name="T21" fmla="*/ 0 h 43"/>
                  <a:gd name="T22" fmla="*/ 0 w 59"/>
                  <a:gd name="T23" fmla="*/ 0 h 43"/>
                  <a:gd name="T24" fmla="*/ 0 w 59"/>
                  <a:gd name="T25" fmla="*/ 0 h 43"/>
                  <a:gd name="T26" fmla="*/ 0 w 59"/>
                  <a:gd name="T27" fmla="*/ 0 h 43"/>
                  <a:gd name="T28" fmla="*/ 0 w 59"/>
                  <a:gd name="T29" fmla="*/ 0 h 43"/>
                  <a:gd name="T30" fmla="*/ 0 w 59"/>
                  <a:gd name="T31" fmla="*/ 0 h 43"/>
                  <a:gd name="T32" fmla="*/ 0 w 59"/>
                  <a:gd name="T33" fmla="*/ 0 h 43"/>
                  <a:gd name="T34" fmla="*/ 0 w 59"/>
                  <a:gd name="T35" fmla="*/ 0 h 43"/>
                  <a:gd name="T36" fmla="*/ 0 w 59"/>
                  <a:gd name="T37" fmla="*/ 0 h 43"/>
                  <a:gd name="T38" fmla="*/ 0 w 59"/>
                  <a:gd name="T39" fmla="*/ 0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59"/>
                  <a:gd name="T61" fmla="*/ 0 h 43"/>
                  <a:gd name="T62" fmla="*/ 59 w 59"/>
                  <a:gd name="T63" fmla="*/ 43 h 43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013" kern="1200">
                  <a:solidFill>
                    <a:srgbClr val="E7E6E6">
                      <a:lumMod val="75000"/>
                    </a:srgbClr>
                  </a:solidFill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3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0 h 51"/>
                  <a:gd name="T2" fmla="*/ 0 w 67"/>
                  <a:gd name="T3" fmla="*/ 0 h 51"/>
                  <a:gd name="T4" fmla="*/ 0 w 67"/>
                  <a:gd name="T5" fmla="*/ 0 h 51"/>
                  <a:gd name="T6" fmla="*/ 0 w 67"/>
                  <a:gd name="T7" fmla="*/ 0 h 51"/>
                  <a:gd name="T8" fmla="*/ 0 w 67"/>
                  <a:gd name="T9" fmla="*/ 0 h 51"/>
                  <a:gd name="T10" fmla="*/ 0 w 67"/>
                  <a:gd name="T11" fmla="*/ 0 h 51"/>
                  <a:gd name="T12" fmla="*/ 0 w 67"/>
                  <a:gd name="T13" fmla="*/ 0 h 51"/>
                  <a:gd name="T14" fmla="*/ 0 w 67"/>
                  <a:gd name="T15" fmla="*/ 0 h 51"/>
                  <a:gd name="T16" fmla="*/ 0 w 67"/>
                  <a:gd name="T17" fmla="*/ 0 h 51"/>
                  <a:gd name="T18" fmla="*/ 0 w 67"/>
                  <a:gd name="T19" fmla="*/ 0 h 51"/>
                  <a:gd name="T20" fmla="*/ 0 w 67"/>
                  <a:gd name="T21" fmla="*/ 0 h 51"/>
                  <a:gd name="T22" fmla="*/ 0 w 67"/>
                  <a:gd name="T23" fmla="*/ 0 h 51"/>
                  <a:gd name="T24" fmla="*/ 0 w 67"/>
                  <a:gd name="T25" fmla="*/ 0 h 51"/>
                  <a:gd name="T26" fmla="*/ 0 w 67"/>
                  <a:gd name="T27" fmla="*/ 0 h 51"/>
                  <a:gd name="T28" fmla="*/ 0 w 67"/>
                  <a:gd name="T29" fmla="*/ 0 h 51"/>
                  <a:gd name="T30" fmla="*/ 0 w 67"/>
                  <a:gd name="T31" fmla="*/ 0 h 51"/>
                  <a:gd name="T32" fmla="*/ 0 w 67"/>
                  <a:gd name="T33" fmla="*/ 0 h 51"/>
                  <a:gd name="T34" fmla="*/ 0 w 67"/>
                  <a:gd name="T35" fmla="*/ 0 h 51"/>
                  <a:gd name="T36" fmla="*/ 0 w 67"/>
                  <a:gd name="T37" fmla="*/ 0 h 51"/>
                  <a:gd name="T38" fmla="*/ 0 w 67"/>
                  <a:gd name="T39" fmla="*/ 0 h 51"/>
                  <a:gd name="T40" fmla="*/ 0 w 67"/>
                  <a:gd name="T41" fmla="*/ 0 h 51"/>
                  <a:gd name="T42" fmla="*/ 0 w 67"/>
                  <a:gd name="T43" fmla="*/ 0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67"/>
                  <a:gd name="T67" fmla="*/ 0 h 51"/>
                  <a:gd name="T68" fmla="*/ 67 w 67"/>
                  <a:gd name="T69" fmla="*/ 51 h 51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013" kern="1200">
                  <a:solidFill>
                    <a:srgbClr val="E7E6E6">
                      <a:lumMod val="75000"/>
                    </a:srgbClr>
                  </a:solidFill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564" name="Freeform 41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3758015" y="3077637"/>
              <a:ext cx="28929" cy="53581"/>
            </a:xfrm>
            <a:custGeom>
              <a:avLst/>
              <a:gdLst>
                <a:gd name="T0" fmla="*/ 0 w 80"/>
                <a:gd name="T1" fmla="*/ 2147483647 h 34"/>
                <a:gd name="T2" fmla="*/ 2147483647 w 80"/>
                <a:gd name="T3" fmla="*/ 2147483647 h 34"/>
                <a:gd name="T4" fmla="*/ 2147483647 w 80"/>
                <a:gd name="T5" fmla="*/ 2147483647 h 34"/>
                <a:gd name="T6" fmla="*/ 2147483647 w 80"/>
                <a:gd name="T7" fmla="*/ 2147483647 h 34"/>
                <a:gd name="T8" fmla="*/ 2147483647 w 80"/>
                <a:gd name="T9" fmla="*/ 2147483647 h 34"/>
                <a:gd name="T10" fmla="*/ 2147483647 w 80"/>
                <a:gd name="T11" fmla="*/ 2147483647 h 34"/>
                <a:gd name="T12" fmla="*/ 2147483647 w 80"/>
                <a:gd name="T13" fmla="*/ 2147483647 h 34"/>
                <a:gd name="T14" fmla="*/ 2147483647 w 80"/>
                <a:gd name="T15" fmla="*/ 2147483647 h 34"/>
                <a:gd name="T16" fmla="*/ 2147483647 w 80"/>
                <a:gd name="T17" fmla="*/ 2147483647 h 34"/>
                <a:gd name="T18" fmla="*/ 2147483647 w 80"/>
                <a:gd name="T19" fmla="*/ 2147483647 h 34"/>
                <a:gd name="T20" fmla="*/ 2147483647 w 80"/>
                <a:gd name="T21" fmla="*/ 2147483647 h 34"/>
                <a:gd name="T22" fmla="*/ 2147483647 w 80"/>
                <a:gd name="T23" fmla="*/ 2147483647 h 34"/>
                <a:gd name="T24" fmla="*/ 2147483647 w 80"/>
                <a:gd name="T25" fmla="*/ 2147483647 h 34"/>
                <a:gd name="T26" fmla="*/ 2147483647 w 80"/>
                <a:gd name="T27" fmla="*/ 2147483647 h 34"/>
                <a:gd name="T28" fmla="*/ 2147483647 w 80"/>
                <a:gd name="T29" fmla="*/ 2147483647 h 34"/>
                <a:gd name="T30" fmla="*/ 2147483647 w 80"/>
                <a:gd name="T31" fmla="*/ 2147483647 h 34"/>
                <a:gd name="T32" fmla="*/ 2147483647 w 80"/>
                <a:gd name="T33" fmla="*/ 2147483647 h 34"/>
                <a:gd name="T34" fmla="*/ 2147483647 w 80"/>
                <a:gd name="T35" fmla="*/ 2147483647 h 34"/>
                <a:gd name="T36" fmla="*/ 2147483647 w 80"/>
                <a:gd name="T37" fmla="*/ 2147483647 h 34"/>
                <a:gd name="T38" fmla="*/ 2147483647 w 80"/>
                <a:gd name="T39" fmla="*/ 0 h 34"/>
                <a:gd name="T40" fmla="*/ 2147483647 w 80"/>
                <a:gd name="T41" fmla="*/ 0 h 34"/>
                <a:gd name="T42" fmla="*/ 2147483647 w 80"/>
                <a:gd name="T43" fmla="*/ 2147483647 h 34"/>
                <a:gd name="T44" fmla="*/ 2147483647 w 80"/>
                <a:gd name="T45" fmla="*/ 2147483647 h 34"/>
                <a:gd name="T46" fmla="*/ 2147483647 w 80"/>
                <a:gd name="T47" fmla="*/ 2147483647 h 34"/>
                <a:gd name="T48" fmla="*/ 2147483647 w 80"/>
                <a:gd name="T49" fmla="*/ 2147483647 h 34"/>
                <a:gd name="T50" fmla="*/ 2147483647 w 80"/>
                <a:gd name="T51" fmla="*/ 2147483647 h 34"/>
                <a:gd name="T52" fmla="*/ 2147483647 w 80"/>
                <a:gd name="T53" fmla="*/ 2147483647 h 34"/>
                <a:gd name="T54" fmla="*/ 2147483647 w 80"/>
                <a:gd name="T55" fmla="*/ 2147483647 h 34"/>
                <a:gd name="T56" fmla="*/ 2147483647 w 80"/>
                <a:gd name="T57" fmla="*/ 2147483647 h 34"/>
                <a:gd name="T58" fmla="*/ 2147483647 w 80"/>
                <a:gd name="T59" fmla="*/ 2147483647 h 34"/>
                <a:gd name="T60" fmla="*/ 0 w 80"/>
                <a:gd name="T61" fmla="*/ 2147483647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80"/>
                <a:gd name="T94" fmla="*/ 0 h 34"/>
                <a:gd name="T95" fmla="*/ 80 w 80"/>
                <a:gd name="T96" fmla="*/ 34 h 3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5" name="Freeform 42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3808640" y="3083429"/>
              <a:ext cx="1447" cy="53581"/>
            </a:xfrm>
            <a:custGeom>
              <a:avLst/>
              <a:gdLst>
                <a:gd name="T0" fmla="*/ 0 w 7"/>
                <a:gd name="T1" fmla="*/ 0 h 13"/>
                <a:gd name="T2" fmla="*/ 2147483647 w 7"/>
                <a:gd name="T3" fmla="*/ 2147483647 h 13"/>
                <a:gd name="T4" fmla="*/ 2147483647 w 7"/>
                <a:gd name="T5" fmla="*/ 2147483647 h 13"/>
                <a:gd name="T6" fmla="*/ 0 60000 65536"/>
                <a:gd name="T7" fmla="*/ 0 60000 65536"/>
                <a:gd name="T8" fmla="*/ 0 60000 65536"/>
                <a:gd name="T9" fmla="*/ 0 w 7"/>
                <a:gd name="T10" fmla="*/ 0 h 13"/>
                <a:gd name="T11" fmla="*/ 7 w 7"/>
                <a:gd name="T12" fmla="*/ 13 h 1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6" name="Freeform 43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3820211" y="3084877"/>
              <a:ext cx="5786" cy="53582"/>
            </a:xfrm>
            <a:custGeom>
              <a:avLst/>
              <a:gdLst>
                <a:gd name="T0" fmla="*/ 0 w 20"/>
                <a:gd name="T1" fmla="*/ 0 h 6"/>
                <a:gd name="T2" fmla="*/ 2147483647 w 20"/>
                <a:gd name="T3" fmla="*/ 2147483647 h 6"/>
                <a:gd name="T4" fmla="*/ 2147483647 w 20"/>
                <a:gd name="T5" fmla="*/ 2147483647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6"/>
                <a:gd name="T14" fmla="*/ 20 w 20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7" name="Freeform 44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3833229" y="3076188"/>
              <a:ext cx="7232" cy="52134"/>
            </a:xfrm>
            <a:custGeom>
              <a:avLst/>
              <a:gdLst>
                <a:gd name="T0" fmla="*/ 0 w 14"/>
                <a:gd name="T1" fmla="*/ 2147483647 h 12"/>
                <a:gd name="T2" fmla="*/ 2147483647 w 14"/>
                <a:gd name="T3" fmla="*/ 0 h 12"/>
                <a:gd name="T4" fmla="*/ 0 w 14"/>
                <a:gd name="T5" fmla="*/ 2147483647 h 12"/>
                <a:gd name="T6" fmla="*/ 0 60000 65536"/>
                <a:gd name="T7" fmla="*/ 0 60000 65536"/>
                <a:gd name="T8" fmla="*/ 0 60000 65536"/>
                <a:gd name="T9" fmla="*/ 0 w 14"/>
                <a:gd name="T10" fmla="*/ 0 h 12"/>
                <a:gd name="T11" fmla="*/ 14 w 14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8" name="Freeform 45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3814425" y="3068948"/>
              <a:ext cx="10125" cy="53581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2147483647 h 7"/>
                <a:gd name="T4" fmla="*/ 2147483647 w 27"/>
                <a:gd name="T5" fmla="*/ 2147483647 h 7"/>
                <a:gd name="T6" fmla="*/ 2147483647 w 27"/>
                <a:gd name="T7" fmla="*/ 2147483647 h 7"/>
                <a:gd name="T8" fmla="*/ 2147483647 w 27"/>
                <a:gd name="T9" fmla="*/ 2147483647 h 7"/>
                <a:gd name="T10" fmla="*/ 2147483647 w 27"/>
                <a:gd name="T11" fmla="*/ 2147483647 h 7"/>
                <a:gd name="T12" fmla="*/ 2147483647 w 27"/>
                <a:gd name="T13" fmla="*/ 2147483647 h 7"/>
                <a:gd name="T14" fmla="*/ 2147483647 w 27"/>
                <a:gd name="T15" fmla="*/ 2147483647 h 7"/>
                <a:gd name="T16" fmla="*/ 2147483647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7"/>
                <a:gd name="T32" fmla="*/ 27 w 2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9" name="Freeform 46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3859265" y="3095014"/>
              <a:ext cx="13017" cy="55030"/>
            </a:xfrm>
            <a:custGeom>
              <a:avLst/>
              <a:gdLst>
                <a:gd name="T0" fmla="*/ 0 w 27"/>
                <a:gd name="T1" fmla="*/ 0 h 6"/>
                <a:gd name="T2" fmla="*/ 2147483647 w 27"/>
                <a:gd name="T3" fmla="*/ 2147483647 h 6"/>
                <a:gd name="T4" fmla="*/ 2147483647 w 27"/>
                <a:gd name="T5" fmla="*/ 2147483647 h 6"/>
                <a:gd name="T6" fmla="*/ 0 60000 65536"/>
                <a:gd name="T7" fmla="*/ 0 60000 65536"/>
                <a:gd name="T8" fmla="*/ 0 60000 65536"/>
                <a:gd name="T9" fmla="*/ 0 w 27"/>
                <a:gd name="T10" fmla="*/ 0 h 6"/>
                <a:gd name="T11" fmla="*/ 27 w 27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0" name="Line 47"/>
            <p:cNvSpPr>
              <a:spLocks noChangeShapeType="1"/>
            </p:cNvSpPr>
            <p:nvPr>
              <p:custDataLst>
                <p:tags r:id="rId79"/>
              </p:custDataLst>
            </p:nvPr>
          </p:nvSpPr>
          <p:spPr bwMode="auto">
            <a:xfrm flipH="1" flipV="1">
              <a:off x="3866497" y="3092118"/>
              <a:ext cx="5786" cy="8689"/>
            </a:xfrm>
            <a:prstGeom prst="line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1" name="Line 48"/>
            <p:cNvSpPr>
              <a:spLocks noChangeShapeType="1"/>
            </p:cNvSpPr>
            <p:nvPr>
              <p:custDataLst>
                <p:tags r:id="rId80"/>
              </p:custDataLst>
            </p:nvPr>
          </p:nvSpPr>
          <p:spPr bwMode="auto">
            <a:xfrm flipH="1">
              <a:off x="3866497" y="3115288"/>
              <a:ext cx="5786" cy="10137"/>
            </a:xfrm>
            <a:prstGeom prst="line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2" name="Freeform 49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3866497" y="3110944"/>
              <a:ext cx="10125" cy="53582"/>
            </a:xfrm>
            <a:custGeom>
              <a:avLst/>
              <a:gdLst>
                <a:gd name="T0" fmla="*/ 0 w 20"/>
                <a:gd name="T1" fmla="*/ 2147483647 h 24"/>
                <a:gd name="T2" fmla="*/ 2147483647 w 20"/>
                <a:gd name="T3" fmla="*/ 2147483647 h 24"/>
                <a:gd name="T4" fmla="*/ 2147483647 w 20"/>
                <a:gd name="T5" fmla="*/ 2147483647 h 24"/>
                <a:gd name="T6" fmla="*/ 2147483647 w 20"/>
                <a:gd name="T7" fmla="*/ 2147483647 h 24"/>
                <a:gd name="T8" fmla="*/ 2147483647 w 20"/>
                <a:gd name="T9" fmla="*/ 2147483647 h 24"/>
                <a:gd name="T10" fmla="*/ 2147483647 w 20"/>
                <a:gd name="T11" fmla="*/ 2147483647 h 24"/>
                <a:gd name="T12" fmla="*/ 2147483647 w 20"/>
                <a:gd name="T13" fmla="*/ 2147483647 h 24"/>
                <a:gd name="T14" fmla="*/ 2147483647 w 20"/>
                <a:gd name="T15" fmla="*/ 2147483647 h 24"/>
                <a:gd name="T16" fmla="*/ 2147483647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24"/>
                <a:gd name="T29" fmla="*/ 20 w 20"/>
                <a:gd name="T30" fmla="*/ 24 h 2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3" name="Freeform 50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3872282" y="3137010"/>
              <a:ext cx="15911" cy="50686"/>
            </a:xfrm>
            <a:custGeom>
              <a:avLst/>
              <a:gdLst>
                <a:gd name="T0" fmla="*/ 2147483647 w 33"/>
                <a:gd name="T1" fmla="*/ 2147483647 h 25"/>
                <a:gd name="T2" fmla="*/ 0 w 33"/>
                <a:gd name="T3" fmla="*/ 2147483647 h 25"/>
                <a:gd name="T4" fmla="*/ 2147483647 w 33"/>
                <a:gd name="T5" fmla="*/ 2147483647 h 25"/>
                <a:gd name="T6" fmla="*/ 2147483647 w 33"/>
                <a:gd name="T7" fmla="*/ 2147483647 h 25"/>
                <a:gd name="T8" fmla="*/ 2147483647 w 33"/>
                <a:gd name="T9" fmla="*/ 2147483647 h 25"/>
                <a:gd name="T10" fmla="*/ 2147483647 w 33"/>
                <a:gd name="T11" fmla="*/ 2147483647 h 25"/>
                <a:gd name="T12" fmla="*/ 2147483647 w 33"/>
                <a:gd name="T13" fmla="*/ 0 h 25"/>
                <a:gd name="T14" fmla="*/ 2147483647 w 33"/>
                <a:gd name="T15" fmla="*/ 0 h 25"/>
                <a:gd name="T16" fmla="*/ 2147483647 w 33"/>
                <a:gd name="T17" fmla="*/ 214748364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25"/>
                <a:gd name="T29" fmla="*/ 33 w 33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4" name="Freeform 51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3878068" y="3180455"/>
              <a:ext cx="14464" cy="52134"/>
            </a:xfrm>
            <a:custGeom>
              <a:avLst/>
              <a:gdLst>
                <a:gd name="T0" fmla="*/ 0 w 40"/>
                <a:gd name="T1" fmla="*/ 0 h 18"/>
                <a:gd name="T2" fmla="*/ 2147483647 w 40"/>
                <a:gd name="T3" fmla="*/ 2147483647 h 18"/>
                <a:gd name="T4" fmla="*/ 2147483647 w 40"/>
                <a:gd name="T5" fmla="*/ 2147483647 h 18"/>
                <a:gd name="T6" fmla="*/ 2147483647 w 40"/>
                <a:gd name="T7" fmla="*/ 2147483647 h 18"/>
                <a:gd name="T8" fmla="*/ 2147483647 w 40"/>
                <a:gd name="T9" fmla="*/ 2147483647 h 18"/>
                <a:gd name="T10" fmla="*/ 2147483647 w 40"/>
                <a:gd name="T11" fmla="*/ 2147483647 h 18"/>
                <a:gd name="T12" fmla="*/ 2147483647 w 40"/>
                <a:gd name="T13" fmla="*/ 2147483647 h 18"/>
                <a:gd name="T14" fmla="*/ 2147483647 w 40"/>
                <a:gd name="T15" fmla="*/ 0 h 18"/>
                <a:gd name="T16" fmla="*/ 2147483647 w 40"/>
                <a:gd name="T17" fmla="*/ 0 h 18"/>
                <a:gd name="T18" fmla="*/ 2147483647 w 40"/>
                <a:gd name="T19" fmla="*/ 0 h 18"/>
                <a:gd name="T20" fmla="*/ 2147483647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0"/>
                <a:gd name="T37" fmla="*/ 0 h 18"/>
                <a:gd name="T38" fmla="*/ 40 w 40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5" name="Freeform 52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3886747" y="3203625"/>
              <a:ext cx="2893" cy="52134"/>
            </a:xfrm>
            <a:custGeom>
              <a:avLst/>
              <a:gdLst>
                <a:gd name="T0" fmla="*/ 2147483647 w 11"/>
                <a:gd name="T1" fmla="*/ 2147483647 h 32"/>
                <a:gd name="T2" fmla="*/ 2147483647 w 11"/>
                <a:gd name="T3" fmla="*/ 2147483647 h 32"/>
                <a:gd name="T4" fmla="*/ 2147483647 w 11"/>
                <a:gd name="T5" fmla="*/ 2147483647 h 32"/>
                <a:gd name="T6" fmla="*/ 2147483647 w 11"/>
                <a:gd name="T7" fmla="*/ 2147483647 h 32"/>
                <a:gd name="T8" fmla="*/ 2147483647 w 11"/>
                <a:gd name="T9" fmla="*/ 2147483647 h 32"/>
                <a:gd name="T10" fmla="*/ 2147483647 w 11"/>
                <a:gd name="T11" fmla="*/ 2147483647 h 32"/>
                <a:gd name="T12" fmla="*/ 2147483647 w 11"/>
                <a:gd name="T13" fmla="*/ 0 h 32"/>
                <a:gd name="T14" fmla="*/ 2147483647 w 11"/>
                <a:gd name="T15" fmla="*/ 2147483647 h 32"/>
                <a:gd name="T16" fmla="*/ 2147483647 w 11"/>
                <a:gd name="T17" fmla="*/ 2147483647 h 32"/>
                <a:gd name="T18" fmla="*/ 2147483647 w 11"/>
                <a:gd name="T19" fmla="*/ 2147483647 h 32"/>
                <a:gd name="T20" fmla="*/ 0 w 11"/>
                <a:gd name="T21" fmla="*/ 2147483647 h 32"/>
                <a:gd name="T22" fmla="*/ 0 w 11"/>
                <a:gd name="T23" fmla="*/ 2147483647 h 32"/>
                <a:gd name="T24" fmla="*/ 2147483647 w 11"/>
                <a:gd name="T25" fmla="*/ 2147483647 h 32"/>
                <a:gd name="T26" fmla="*/ 2147483647 w 11"/>
                <a:gd name="T27" fmla="*/ 2147483647 h 32"/>
                <a:gd name="T28" fmla="*/ 2147483647 w 11"/>
                <a:gd name="T29" fmla="*/ 2147483647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1"/>
                <a:gd name="T46" fmla="*/ 0 h 32"/>
                <a:gd name="T47" fmla="*/ 11 w 11"/>
                <a:gd name="T48" fmla="*/ 32 h 3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6" name="Freeform 53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906997" y="3231141"/>
              <a:ext cx="1447" cy="50685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147483647 h 24"/>
                <a:gd name="T4" fmla="*/ 2147483647 w 14"/>
                <a:gd name="T5" fmla="*/ 2147483647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4"/>
                <a:gd name="T13" fmla="*/ 0 h 24"/>
                <a:gd name="T14" fmla="*/ 14 w 14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7" name="Freeform 54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3872282" y="3242726"/>
              <a:ext cx="14464" cy="53581"/>
            </a:xfrm>
            <a:custGeom>
              <a:avLst/>
              <a:gdLst>
                <a:gd name="T0" fmla="*/ 0 w 27"/>
                <a:gd name="T1" fmla="*/ 2147483647 h 18"/>
                <a:gd name="T2" fmla="*/ 2147483647 w 27"/>
                <a:gd name="T3" fmla="*/ 2147483647 h 18"/>
                <a:gd name="T4" fmla="*/ 2147483647 w 27"/>
                <a:gd name="T5" fmla="*/ 2147483647 h 18"/>
                <a:gd name="T6" fmla="*/ 2147483647 w 27"/>
                <a:gd name="T7" fmla="*/ 2147483647 h 18"/>
                <a:gd name="T8" fmla="*/ 2147483647 w 27"/>
                <a:gd name="T9" fmla="*/ 0 h 18"/>
                <a:gd name="T10" fmla="*/ 2147483647 w 27"/>
                <a:gd name="T11" fmla="*/ 0 h 18"/>
                <a:gd name="T12" fmla="*/ 2147483647 w 27"/>
                <a:gd name="T13" fmla="*/ 2147483647 h 18"/>
                <a:gd name="T14" fmla="*/ 2147483647 w 27"/>
                <a:gd name="T15" fmla="*/ 2147483647 h 18"/>
                <a:gd name="T16" fmla="*/ 2147483647 w 27"/>
                <a:gd name="T17" fmla="*/ 2147483647 h 18"/>
                <a:gd name="T18" fmla="*/ 2147483647 w 27"/>
                <a:gd name="T19" fmla="*/ 2147483647 h 18"/>
                <a:gd name="T20" fmla="*/ 0 w 27"/>
                <a:gd name="T21" fmla="*/ 2147483647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7"/>
                <a:gd name="T34" fmla="*/ 0 h 18"/>
                <a:gd name="T35" fmla="*/ 27 w 27"/>
                <a:gd name="T36" fmla="*/ 18 h 1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8" name="Freeform 55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3859265" y="3302100"/>
              <a:ext cx="21696" cy="52134"/>
            </a:xfrm>
            <a:custGeom>
              <a:avLst/>
              <a:gdLst>
                <a:gd name="T0" fmla="*/ 0 w 47"/>
                <a:gd name="T1" fmla="*/ 2147483647 h 49"/>
                <a:gd name="T2" fmla="*/ 2147483647 w 47"/>
                <a:gd name="T3" fmla="*/ 2147483647 h 49"/>
                <a:gd name="T4" fmla="*/ 2147483647 w 47"/>
                <a:gd name="T5" fmla="*/ 2147483647 h 49"/>
                <a:gd name="T6" fmla="*/ 2147483647 w 47"/>
                <a:gd name="T7" fmla="*/ 2147483647 h 49"/>
                <a:gd name="T8" fmla="*/ 2147483647 w 47"/>
                <a:gd name="T9" fmla="*/ 2147483647 h 49"/>
                <a:gd name="T10" fmla="*/ 2147483647 w 47"/>
                <a:gd name="T11" fmla="*/ 2147483647 h 49"/>
                <a:gd name="T12" fmla="*/ 2147483647 w 47"/>
                <a:gd name="T13" fmla="*/ 2147483647 h 49"/>
                <a:gd name="T14" fmla="*/ 2147483647 w 47"/>
                <a:gd name="T15" fmla="*/ 2147483647 h 49"/>
                <a:gd name="T16" fmla="*/ 2147483647 w 47"/>
                <a:gd name="T17" fmla="*/ 2147483647 h 49"/>
                <a:gd name="T18" fmla="*/ 2147483647 w 47"/>
                <a:gd name="T19" fmla="*/ 2147483647 h 49"/>
                <a:gd name="T20" fmla="*/ 2147483647 w 47"/>
                <a:gd name="T21" fmla="*/ 2147483647 h 49"/>
                <a:gd name="T22" fmla="*/ 2147483647 w 47"/>
                <a:gd name="T23" fmla="*/ 2147483647 h 49"/>
                <a:gd name="T24" fmla="*/ 2147483647 w 47"/>
                <a:gd name="T25" fmla="*/ 2147483647 h 49"/>
                <a:gd name="T26" fmla="*/ 2147483647 w 47"/>
                <a:gd name="T27" fmla="*/ 2147483647 h 49"/>
                <a:gd name="T28" fmla="*/ 2147483647 w 47"/>
                <a:gd name="T29" fmla="*/ 2147483647 h 49"/>
                <a:gd name="T30" fmla="*/ 2147483647 w 47"/>
                <a:gd name="T31" fmla="*/ 2147483647 h 49"/>
                <a:gd name="T32" fmla="*/ 2147483647 w 47"/>
                <a:gd name="T33" fmla="*/ 0 h 49"/>
                <a:gd name="T34" fmla="*/ 2147483647 w 47"/>
                <a:gd name="T35" fmla="*/ 0 h 49"/>
                <a:gd name="T36" fmla="*/ 2147483647 w 47"/>
                <a:gd name="T37" fmla="*/ 2147483647 h 49"/>
                <a:gd name="T38" fmla="*/ 2147483647 w 47"/>
                <a:gd name="T39" fmla="*/ 2147483647 h 49"/>
                <a:gd name="T40" fmla="*/ 2147483647 w 47"/>
                <a:gd name="T41" fmla="*/ 2147483647 h 49"/>
                <a:gd name="T42" fmla="*/ 2147483647 w 47"/>
                <a:gd name="T43" fmla="*/ 2147483647 h 49"/>
                <a:gd name="T44" fmla="*/ 2147483647 w 47"/>
                <a:gd name="T45" fmla="*/ 2147483647 h 49"/>
                <a:gd name="T46" fmla="*/ 0 w 47"/>
                <a:gd name="T47" fmla="*/ 2147483647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7"/>
                <a:gd name="T73" fmla="*/ 0 h 49"/>
                <a:gd name="T74" fmla="*/ 47 w 47"/>
                <a:gd name="T75" fmla="*/ 49 h 49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9" name="Freeform 56"/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3876622" y="3280378"/>
              <a:ext cx="11571" cy="52134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147483647 h 9"/>
                <a:gd name="T4" fmla="*/ 2147483647 w 26"/>
                <a:gd name="T5" fmla="*/ 2147483647 h 9"/>
                <a:gd name="T6" fmla="*/ 2147483647 w 26"/>
                <a:gd name="T7" fmla="*/ 2147483647 h 9"/>
                <a:gd name="T8" fmla="*/ 2147483647 w 26"/>
                <a:gd name="T9" fmla="*/ 2147483647 h 9"/>
                <a:gd name="T10" fmla="*/ 2147483647 w 26"/>
                <a:gd name="T11" fmla="*/ 2147483647 h 9"/>
                <a:gd name="T12" fmla="*/ 2147483647 w 26"/>
                <a:gd name="T13" fmla="*/ 2147483647 h 9"/>
                <a:gd name="T14" fmla="*/ 2147483647 w 26"/>
                <a:gd name="T15" fmla="*/ 2147483647 h 9"/>
                <a:gd name="T16" fmla="*/ 2147483647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9"/>
                <a:gd name="T32" fmla="*/ 26 w 2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0" name="Freeform 57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3405086" y="2980610"/>
              <a:ext cx="14464" cy="52134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2147483647 h 18"/>
                <a:gd name="T4" fmla="*/ 2147483647 w 39"/>
                <a:gd name="T5" fmla="*/ 2147483647 h 18"/>
                <a:gd name="T6" fmla="*/ 2147483647 w 39"/>
                <a:gd name="T7" fmla="*/ 2147483647 h 18"/>
                <a:gd name="T8" fmla="*/ 2147483647 w 39"/>
                <a:gd name="T9" fmla="*/ 2147483647 h 18"/>
                <a:gd name="T10" fmla="*/ 2147483647 w 39"/>
                <a:gd name="T11" fmla="*/ 2147483647 h 18"/>
                <a:gd name="T12" fmla="*/ 2147483647 w 39"/>
                <a:gd name="T13" fmla="*/ 2147483647 h 18"/>
                <a:gd name="T14" fmla="*/ 2147483647 w 39"/>
                <a:gd name="T15" fmla="*/ 2147483647 h 18"/>
                <a:gd name="T16" fmla="*/ 2147483647 w 39"/>
                <a:gd name="T17" fmla="*/ 2147483647 h 18"/>
                <a:gd name="T18" fmla="*/ 2147483647 w 39"/>
                <a:gd name="T19" fmla="*/ 2147483647 h 18"/>
                <a:gd name="T20" fmla="*/ 2147483647 w 39"/>
                <a:gd name="T21" fmla="*/ 2147483647 h 18"/>
                <a:gd name="T22" fmla="*/ 2147483647 w 39"/>
                <a:gd name="T23" fmla="*/ 2147483647 h 18"/>
                <a:gd name="T24" fmla="*/ 2147483647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9"/>
                <a:gd name="T43" fmla="*/ 0 h 18"/>
                <a:gd name="T44" fmla="*/ 39 w 39"/>
                <a:gd name="T45" fmla="*/ 18 h 1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2" name="Freeform 59"/>
            <p:cNvSpPr>
              <a:spLocks/>
            </p:cNvSpPr>
            <p:nvPr/>
          </p:nvSpPr>
          <p:spPr bwMode="auto">
            <a:xfrm>
              <a:off x="3612179" y="2995091"/>
              <a:ext cx="19803" cy="11585"/>
            </a:xfrm>
            <a:custGeom>
              <a:avLst/>
              <a:gdLst>
                <a:gd name="T0" fmla="*/ 0 w 52"/>
                <a:gd name="T1" fmla="*/ 0 h 25"/>
                <a:gd name="T2" fmla="*/ 0 w 52"/>
                <a:gd name="T3" fmla="*/ 0 h 25"/>
                <a:gd name="T4" fmla="*/ 0 w 52"/>
                <a:gd name="T5" fmla="*/ 0 h 25"/>
                <a:gd name="T6" fmla="*/ 0 w 52"/>
                <a:gd name="T7" fmla="*/ 0 h 25"/>
                <a:gd name="T8" fmla="*/ 0 w 52"/>
                <a:gd name="T9" fmla="*/ 0 h 25"/>
                <a:gd name="T10" fmla="*/ 0 w 52"/>
                <a:gd name="T11" fmla="*/ 0 h 25"/>
                <a:gd name="T12" fmla="*/ 0 w 52"/>
                <a:gd name="T13" fmla="*/ 0 h 25"/>
                <a:gd name="T14" fmla="*/ 0 w 52"/>
                <a:gd name="T15" fmla="*/ 0 h 25"/>
                <a:gd name="T16" fmla="*/ 0 w 52"/>
                <a:gd name="T17" fmla="*/ 0 h 25"/>
                <a:gd name="T18" fmla="*/ 0 w 52"/>
                <a:gd name="T19" fmla="*/ 0 h 25"/>
                <a:gd name="T20" fmla="*/ 0 w 52"/>
                <a:gd name="T21" fmla="*/ 0 h 25"/>
                <a:gd name="T22" fmla="*/ 0 w 52"/>
                <a:gd name="T23" fmla="*/ 0 h 25"/>
                <a:gd name="T24" fmla="*/ 0 w 52"/>
                <a:gd name="T25" fmla="*/ 0 h 25"/>
                <a:gd name="T26" fmla="*/ 0 w 52"/>
                <a:gd name="T27" fmla="*/ 0 h 25"/>
                <a:gd name="T28" fmla="*/ 0 w 52"/>
                <a:gd name="T29" fmla="*/ 0 h 25"/>
                <a:gd name="T30" fmla="*/ 0 w 52"/>
                <a:gd name="T31" fmla="*/ 0 h 25"/>
                <a:gd name="T32" fmla="*/ 0 w 52"/>
                <a:gd name="T33" fmla="*/ 0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2"/>
                <a:gd name="T52" fmla="*/ 0 h 25"/>
                <a:gd name="T53" fmla="*/ 52 w 52"/>
                <a:gd name="T54" fmla="*/ 25 h 2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3" name="Freeform 60"/>
            <p:cNvSpPr>
              <a:spLocks/>
            </p:cNvSpPr>
            <p:nvPr/>
          </p:nvSpPr>
          <p:spPr bwMode="auto">
            <a:xfrm>
              <a:off x="3519354" y="2843035"/>
              <a:ext cx="13614" cy="5793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0 h 13"/>
                <a:gd name="T4" fmla="*/ 0 w 33"/>
                <a:gd name="T5" fmla="*/ 0 h 13"/>
                <a:gd name="T6" fmla="*/ 0 w 33"/>
                <a:gd name="T7" fmla="*/ 0 h 13"/>
                <a:gd name="T8" fmla="*/ 0 w 33"/>
                <a:gd name="T9" fmla="*/ 0 h 13"/>
                <a:gd name="T10" fmla="*/ 0 w 33"/>
                <a:gd name="T11" fmla="*/ 0 h 13"/>
                <a:gd name="T12" fmla="*/ 0 w 33"/>
                <a:gd name="T13" fmla="*/ 0 h 13"/>
                <a:gd name="T14" fmla="*/ 0 w 33"/>
                <a:gd name="T15" fmla="*/ 0 h 13"/>
                <a:gd name="T16" fmla="*/ 0 w 33"/>
                <a:gd name="T17" fmla="*/ 0 h 13"/>
                <a:gd name="T18" fmla="*/ 0 w 33"/>
                <a:gd name="T19" fmla="*/ 0 h 13"/>
                <a:gd name="T20" fmla="*/ 0 w 33"/>
                <a:gd name="T21" fmla="*/ 0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13"/>
                <a:gd name="T35" fmla="*/ 33 w 33"/>
                <a:gd name="T36" fmla="*/ 13 h 1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4" name="Freeform 61"/>
            <p:cNvSpPr>
              <a:spLocks/>
            </p:cNvSpPr>
            <p:nvPr/>
          </p:nvSpPr>
          <p:spPr bwMode="auto">
            <a:xfrm>
              <a:off x="3532968" y="2828554"/>
              <a:ext cx="24753" cy="40548"/>
            </a:xfrm>
            <a:custGeom>
              <a:avLst/>
              <a:gdLst>
                <a:gd name="T0" fmla="*/ 0 w 67"/>
                <a:gd name="T1" fmla="*/ 0 h 86"/>
                <a:gd name="T2" fmla="*/ 0 w 67"/>
                <a:gd name="T3" fmla="*/ 0 h 86"/>
                <a:gd name="T4" fmla="*/ 0 w 67"/>
                <a:gd name="T5" fmla="*/ 0 h 86"/>
                <a:gd name="T6" fmla="*/ 0 w 67"/>
                <a:gd name="T7" fmla="*/ 0 h 86"/>
                <a:gd name="T8" fmla="*/ 0 w 67"/>
                <a:gd name="T9" fmla="*/ 0 h 86"/>
                <a:gd name="T10" fmla="*/ 0 w 67"/>
                <a:gd name="T11" fmla="*/ 0 h 86"/>
                <a:gd name="T12" fmla="*/ 0 w 67"/>
                <a:gd name="T13" fmla="*/ 0 h 86"/>
                <a:gd name="T14" fmla="*/ 0 w 67"/>
                <a:gd name="T15" fmla="*/ 0 h 86"/>
                <a:gd name="T16" fmla="*/ 0 w 67"/>
                <a:gd name="T17" fmla="*/ 0 h 86"/>
                <a:gd name="T18" fmla="*/ 0 w 67"/>
                <a:gd name="T19" fmla="*/ 0 h 86"/>
                <a:gd name="T20" fmla="*/ 0 w 67"/>
                <a:gd name="T21" fmla="*/ 0 h 86"/>
                <a:gd name="T22" fmla="*/ 0 w 67"/>
                <a:gd name="T23" fmla="*/ 0 h 86"/>
                <a:gd name="T24" fmla="*/ 0 w 67"/>
                <a:gd name="T25" fmla="*/ 0 h 86"/>
                <a:gd name="T26" fmla="*/ 0 w 67"/>
                <a:gd name="T27" fmla="*/ 0 h 86"/>
                <a:gd name="T28" fmla="*/ 0 w 67"/>
                <a:gd name="T29" fmla="*/ 0 h 86"/>
                <a:gd name="T30" fmla="*/ 0 w 67"/>
                <a:gd name="T31" fmla="*/ 0 h 86"/>
                <a:gd name="T32" fmla="*/ 0 w 67"/>
                <a:gd name="T33" fmla="*/ 0 h 86"/>
                <a:gd name="T34" fmla="*/ 0 w 67"/>
                <a:gd name="T35" fmla="*/ 0 h 86"/>
                <a:gd name="T36" fmla="*/ 0 w 67"/>
                <a:gd name="T37" fmla="*/ 0 h 86"/>
                <a:gd name="T38" fmla="*/ 0 w 67"/>
                <a:gd name="T39" fmla="*/ 0 h 86"/>
                <a:gd name="T40" fmla="*/ 0 w 67"/>
                <a:gd name="T41" fmla="*/ 0 h 86"/>
                <a:gd name="T42" fmla="*/ 0 w 67"/>
                <a:gd name="T43" fmla="*/ 0 h 86"/>
                <a:gd name="T44" fmla="*/ 0 w 67"/>
                <a:gd name="T45" fmla="*/ 0 h 86"/>
                <a:gd name="T46" fmla="*/ 0 w 67"/>
                <a:gd name="T47" fmla="*/ 0 h 86"/>
                <a:gd name="T48" fmla="*/ 0 w 67"/>
                <a:gd name="T49" fmla="*/ 0 h 86"/>
                <a:gd name="T50" fmla="*/ 0 w 67"/>
                <a:gd name="T51" fmla="*/ 0 h 86"/>
                <a:gd name="T52" fmla="*/ 0 w 67"/>
                <a:gd name="T53" fmla="*/ 0 h 86"/>
                <a:gd name="T54" fmla="*/ 0 w 67"/>
                <a:gd name="T55" fmla="*/ 0 h 86"/>
                <a:gd name="T56" fmla="*/ 0 w 67"/>
                <a:gd name="T57" fmla="*/ 0 h 8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67"/>
                <a:gd name="T88" fmla="*/ 0 h 86"/>
                <a:gd name="T89" fmla="*/ 67 w 67"/>
                <a:gd name="T90" fmla="*/ 86 h 8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5" name="Freeform 62"/>
            <p:cNvSpPr>
              <a:spLocks/>
            </p:cNvSpPr>
            <p:nvPr/>
          </p:nvSpPr>
          <p:spPr bwMode="auto">
            <a:xfrm>
              <a:off x="3521829" y="2883584"/>
              <a:ext cx="19803" cy="40548"/>
            </a:xfrm>
            <a:custGeom>
              <a:avLst/>
              <a:gdLst>
                <a:gd name="T0" fmla="*/ 0 w 49"/>
                <a:gd name="T1" fmla="*/ 0 h 86"/>
                <a:gd name="T2" fmla="*/ 0 w 49"/>
                <a:gd name="T3" fmla="*/ 0 h 86"/>
                <a:gd name="T4" fmla="*/ 0 w 49"/>
                <a:gd name="T5" fmla="*/ 0 h 86"/>
                <a:gd name="T6" fmla="*/ 0 w 49"/>
                <a:gd name="T7" fmla="*/ 0 h 86"/>
                <a:gd name="T8" fmla="*/ 0 w 49"/>
                <a:gd name="T9" fmla="*/ 0 h 86"/>
                <a:gd name="T10" fmla="*/ 0 w 49"/>
                <a:gd name="T11" fmla="*/ 0 h 86"/>
                <a:gd name="T12" fmla="*/ 0 w 49"/>
                <a:gd name="T13" fmla="*/ 0 h 86"/>
                <a:gd name="T14" fmla="*/ 0 w 49"/>
                <a:gd name="T15" fmla="*/ 0 h 86"/>
                <a:gd name="T16" fmla="*/ 0 w 49"/>
                <a:gd name="T17" fmla="*/ 0 h 86"/>
                <a:gd name="T18" fmla="*/ 0 w 49"/>
                <a:gd name="T19" fmla="*/ 0 h 86"/>
                <a:gd name="T20" fmla="*/ 0 w 49"/>
                <a:gd name="T21" fmla="*/ 0 h 86"/>
                <a:gd name="T22" fmla="*/ 0 w 49"/>
                <a:gd name="T23" fmla="*/ 0 h 86"/>
                <a:gd name="T24" fmla="*/ 0 w 49"/>
                <a:gd name="T25" fmla="*/ 0 h 86"/>
                <a:gd name="T26" fmla="*/ 0 w 49"/>
                <a:gd name="T27" fmla="*/ 0 h 86"/>
                <a:gd name="T28" fmla="*/ 0 w 49"/>
                <a:gd name="T29" fmla="*/ 0 h 86"/>
                <a:gd name="T30" fmla="*/ 0 w 49"/>
                <a:gd name="T31" fmla="*/ 0 h 86"/>
                <a:gd name="T32" fmla="*/ 0 w 49"/>
                <a:gd name="T33" fmla="*/ 0 h 86"/>
                <a:gd name="T34" fmla="*/ 0 w 49"/>
                <a:gd name="T35" fmla="*/ 0 h 86"/>
                <a:gd name="T36" fmla="*/ 0 w 49"/>
                <a:gd name="T37" fmla="*/ 0 h 86"/>
                <a:gd name="T38" fmla="*/ 0 w 49"/>
                <a:gd name="T39" fmla="*/ 0 h 86"/>
                <a:gd name="T40" fmla="*/ 0 w 49"/>
                <a:gd name="T41" fmla="*/ 0 h 86"/>
                <a:gd name="T42" fmla="*/ 0 w 49"/>
                <a:gd name="T43" fmla="*/ 0 h 86"/>
                <a:gd name="T44" fmla="*/ 0 w 49"/>
                <a:gd name="T45" fmla="*/ 0 h 86"/>
                <a:gd name="T46" fmla="*/ 0 w 49"/>
                <a:gd name="T47" fmla="*/ 0 h 86"/>
                <a:gd name="T48" fmla="*/ 0 w 49"/>
                <a:gd name="T49" fmla="*/ 0 h 86"/>
                <a:gd name="T50" fmla="*/ 0 w 49"/>
                <a:gd name="T51" fmla="*/ 0 h 86"/>
                <a:gd name="T52" fmla="*/ 0 w 49"/>
                <a:gd name="T53" fmla="*/ 0 h 8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9"/>
                <a:gd name="T82" fmla="*/ 0 h 86"/>
                <a:gd name="T83" fmla="*/ 49 w 49"/>
                <a:gd name="T84" fmla="*/ 86 h 8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6" name="Freeform 63"/>
            <p:cNvSpPr>
              <a:spLocks/>
            </p:cNvSpPr>
            <p:nvPr/>
          </p:nvSpPr>
          <p:spPr bwMode="auto">
            <a:xfrm>
              <a:off x="3552771" y="2886480"/>
              <a:ext cx="2475" cy="5793"/>
            </a:xfrm>
            <a:custGeom>
              <a:avLst/>
              <a:gdLst>
                <a:gd name="T0" fmla="*/ 0 w 6"/>
                <a:gd name="T1" fmla="*/ 0 h 12"/>
                <a:gd name="T2" fmla="*/ 0 w 6"/>
                <a:gd name="T3" fmla="*/ 0 h 12"/>
                <a:gd name="T4" fmla="*/ 0 w 6"/>
                <a:gd name="T5" fmla="*/ 0 h 12"/>
                <a:gd name="T6" fmla="*/ 0 w 6"/>
                <a:gd name="T7" fmla="*/ 0 h 12"/>
                <a:gd name="T8" fmla="*/ 0 w 6"/>
                <a:gd name="T9" fmla="*/ 0 h 12"/>
                <a:gd name="T10" fmla="*/ 0 w 6"/>
                <a:gd name="T11" fmla="*/ 0 h 12"/>
                <a:gd name="T12" fmla="*/ 0 w 6"/>
                <a:gd name="T13" fmla="*/ 0 h 12"/>
                <a:gd name="T14" fmla="*/ 0 w 6"/>
                <a:gd name="T15" fmla="*/ 0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12"/>
                <a:gd name="T26" fmla="*/ 6 w 6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7" name="Freeform 64"/>
            <p:cNvSpPr>
              <a:spLocks/>
            </p:cNvSpPr>
            <p:nvPr/>
          </p:nvSpPr>
          <p:spPr bwMode="auto">
            <a:xfrm>
              <a:off x="3557722" y="2876343"/>
              <a:ext cx="16090" cy="21722"/>
            </a:xfrm>
            <a:custGeom>
              <a:avLst/>
              <a:gdLst>
                <a:gd name="T0" fmla="*/ 0 w 39"/>
                <a:gd name="T1" fmla="*/ 0 h 48"/>
                <a:gd name="T2" fmla="*/ 0 w 39"/>
                <a:gd name="T3" fmla="*/ 0 h 48"/>
                <a:gd name="T4" fmla="*/ 0 w 39"/>
                <a:gd name="T5" fmla="*/ 0 h 48"/>
                <a:gd name="T6" fmla="*/ 0 w 39"/>
                <a:gd name="T7" fmla="*/ 0 h 48"/>
                <a:gd name="T8" fmla="*/ 0 w 39"/>
                <a:gd name="T9" fmla="*/ 0 h 48"/>
                <a:gd name="T10" fmla="*/ 0 w 39"/>
                <a:gd name="T11" fmla="*/ 0 h 48"/>
                <a:gd name="T12" fmla="*/ 0 w 39"/>
                <a:gd name="T13" fmla="*/ 0 h 48"/>
                <a:gd name="T14" fmla="*/ 0 w 39"/>
                <a:gd name="T15" fmla="*/ 0 h 48"/>
                <a:gd name="T16" fmla="*/ 0 w 39"/>
                <a:gd name="T17" fmla="*/ 0 h 48"/>
                <a:gd name="T18" fmla="*/ 0 w 39"/>
                <a:gd name="T19" fmla="*/ 0 h 48"/>
                <a:gd name="T20" fmla="*/ 0 w 39"/>
                <a:gd name="T21" fmla="*/ 0 h 48"/>
                <a:gd name="T22" fmla="*/ 0 w 39"/>
                <a:gd name="T23" fmla="*/ 0 h 48"/>
                <a:gd name="T24" fmla="*/ 0 w 39"/>
                <a:gd name="T25" fmla="*/ 0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9"/>
                <a:gd name="T40" fmla="*/ 0 h 48"/>
                <a:gd name="T41" fmla="*/ 39 w 39"/>
                <a:gd name="T42" fmla="*/ 48 h 4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8" name="Freeform 65"/>
            <p:cNvSpPr>
              <a:spLocks/>
            </p:cNvSpPr>
            <p:nvPr/>
          </p:nvSpPr>
          <p:spPr bwMode="auto">
            <a:xfrm>
              <a:off x="3578762" y="2895169"/>
              <a:ext cx="7426" cy="20274"/>
            </a:xfrm>
            <a:custGeom>
              <a:avLst/>
              <a:gdLst>
                <a:gd name="T0" fmla="*/ 0 w 16"/>
                <a:gd name="T1" fmla="*/ 0 h 43"/>
                <a:gd name="T2" fmla="*/ 0 w 16"/>
                <a:gd name="T3" fmla="*/ 0 h 43"/>
                <a:gd name="T4" fmla="*/ 0 w 16"/>
                <a:gd name="T5" fmla="*/ 0 h 43"/>
                <a:gd name="T6" fmla="*/ 0 w 16"/>
                <a:gd name="T7" fmla="*/ 0 h 43"/>
                <a:gd name="T8" fmla="*/ 0 w 16"/>
                <a:gd name="T9" fmla="*/ 0 h 43"/>
                <a:gd name="T10" fmla="*/ 0 w 16"/>
                <a:gd name="T11" fmla="*/ 0 h 43"/>
                <a:gd name="T12" fmla="*/ 0 w 16"/>
                <a:gd name="T13" fmla="*/ 0 h 43"/>
                <a:gd name="T14" fmla="*/ 0 w 16"/>
                <a:gd name="T15" fmla="*/ 0 h 43"/>
                <a:gd name="T16" fmla="*/ 0 w 16"/>
                <a:gd name="T17" fmla="*/ 0 h 43"/>
                <a:gd name="T18" fmla="*/ 0 w 16"/>
                <a:gd name="T19" fmla="*/ 0 h 43"/>
                <a:gd name="T20" fmla="*/ 0 w 16"/>
                <a:gd name="T21" fmla="*/ 0 h 43"/>
                <a:gd name="T22" fmla="*/ 0 w 16"/>
                <a:gd name="T23" fmla="*/ 0 h 43"/>
                <a:gd name="T24" fmla="*/ 0 w 16"/>
                <a:gd name="T25" fmla="*/ 0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6"/>
                <a:gd name="T40" fmla="*/ 0 h 43"/>
                <a:gd name="T41" fmla="*/ 16 w 16"/>
                <a:gd name="T42" fmla="*/ 43 h 4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9" name="Freeform 66"/>
            <p:cNvSpPr>
              <a:spLocks/>
            </p:cNvSpPr>
            <p:nvPr/>
          </p:nvSpPr>
          <p:spPr bwMode="auto">
            <a:xfrm>
              <a:off x="3580000" y="2928476"/>
              <a:ext cx="9901" cy="17378"/>
            </a:xfrm>
            <a:custGeom>
              <a:avLst/>
              <a:gdLst>
                <a:gd name="T0" fmla="*/ 0 w 24"/>
                <a:gd name="T1" fmla="*/ 0 h 37"/>
                <a:gd name="T2" fmla="*/ 0 w 24"/>
                <a:gd name="T3" fmla="*/ 0 h 37"/>
                <a:gd name="T4" fmla="*/ 0 w 24"/>
                <a:gd name="T5" fmla="*/ 0 h 37"/>
                <a:gd name="T6" fmla="*/ 0 w 24"/>
                <a:gd name="T7" fmla="*/ 0 h 37"/>
                <a:gd name="T8" fmla="*/ 0 w 24"/>
                <a:gd name="T9" fmla="*/ 0 h 37"/>
                <a:gd name="T10" fmla="*/ 0 w 24"/>
                <a:gd name="T11" fmla="*/ 0 h 37"/>
                <a:gd name="T12" fmla="*/ 0 w 24"/>
                <a:gd name="T13" fmla="*/ 0 h 37"/>
                <a:gd name="T14" fmla="*/ 0 w 24"/>
                <a:gd name="T15" fmla="*/ 0 h 37"/>
                <a:gd name="T16" fmla="*/ 0 w 24"/>
                <a:gd name="T17" fmla="*/ 0 h 37"/>
                <a:gd name="T18" fmla="*/ 0 w 24"/>
                <a:gd name="T19" fmla="*/ 0 h 37"/>
                <a:gd name="T20" fmla="*/ 0 w 24"/>
                <a:gd name="T21" fmla="*/ 0 h 37"/>
                <a:gd name="T22" fmla="*/ 0 w 24"/>
                <a:gd name="T23" fmla="*/ 0 h 37"/>
                <a:gd name="T24" fmla="*/ 0 w 24"/>
                <a:gd name="T25" fmla="*/ 0 h 37"/>
                <a:gd name="T26" fmla="*/ 0 w 24"/>
                <a:gd name="T27" fmla="*/ 0 h 37"/>
                <a:gd name="T28" fmla="*/ 0 w 24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4"/>
                <a:gd name="T46" fmla="*/ 0 h 37"/>
                <a:gd name="T47" fmla="*/ 24 w 24"/>
                <a:gd name="T48" fmla="*/ 37 h 3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0" name="Freeform 67"/>
            <p:cNvSpPr>
              <a:spLocks/>
            </p:cNvSpPr>
            <p:nvPr/>
          </p:nvSpPr>
          <p:spPr bwMode="auto">
            <a:xfrm>
              <a:off x="3601040" y="2948750"/>
              <a:ext cx="13614" cy="24618"/>
            </a:xfrm>
            <a:custGeom>
              <a:avLst/>
              <a:gdLst>
                <a:gd name="T0" fmla="*/ 0 w 34"/>
                <a:gd name="T1" fmla="*/ 0 h 55"/>
                <a:gd name="T2" fmla="*/ 0 w 34"/>
                <a:gd name="T3" fmla="*/ 0 h 55"/>
                <a:gd name="T4" fmla="*/ 0 w 34"/>
                <a:gd name="T5" fmla="*/ 0 h 55"/>
                <a:gd name="T6" fmla="*/ 0 w 34"/>
                <a:gd name="T7" fmla="*/ 0 h 55"/>
                <a:gd name="T8" fmla="*/ 0 w 34"/>
                <a:gd name="T9" fmla="*/ 0 h 55"/>
                <a:gd name="T10" fmla="*/ 0 w 34"/>
                <a:gd name="T11" fmla="*/ 0 h 55"/>
                <a:gd name="T12" fmla="*/ 0 w 34"/>
                <a:gd name="T13" fmla="*/ 0 h 55"/>
                <a:gd name="T14" fmla="*/ 0 w 34"/>
                <a:gd name="T15" fmla="*/ 0 h 55"/>
                <a:gd name="T16" fmla="*/ 0 w 34"/>
                <a:gd name="T17" fmla="*/ 0 h 55"/>
                <a:gd name="T18" fmla="*/ 0 w 34"/>
                <a:gd name="T19" fmla="*/ 0 h 55"/>
                <a:gd name="T20" fmla="*/ 0 w 34"/>
                <a:gd name="T21" fmla="*/ 0 h 55"/>
                <a:gd name="T22" fmla="*/ 0 w 34"/>
                <a:gd name="T23" fmla="*/ 0 h 55"/>
                <a:gd name="T24" fmla="*/ 0 w 34"/>
                <a:gd name="T25" fmla="*/ 0 h 55"/>
                <a:gd name="T26" fmla="*/ 0 w 34"/>
                <a:gd name="T27" fmla="*/ 0 h 55"/>
                <a:gd name="T28" fmla="*/ 0 w 34"/>
                <a:gd name="T29" fmla="*/ 0 h 55"/>
                <a:gd name="T30" fmla="*/ 0 w 34"/>
                <a:gd name="T31" fmla="*/ 0 h 55"/>
                <a:gd name="T32" fmla="*/ 0 w 34"/>
                <a:gd name="T33" fmla="*/ 0 h 5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4"/>
                <a:gd name="T52" fmla="*/ 0 h 55"/>
                <a:gd name="T53" fmla="*/ 34 w 34"/>
                <a:gd name="T54" fmla="*/ 55 h 5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1" name="Freeform 68"/>
            <p:cNvSpPr>
              <a:spLocks/>
            </p:cNvSpPr>
            <p:nvPr/>
          </p:nvSpPr>
          <p:spPr bwMode="auto">
            <a:xfrm>
              <a:off x="3625794" y="2964680"/>
              <a:ext cx="13614" cy="5793"/>
            </a:xfrm>
            <a:custGeom>
              <a:avLst/>
              <a:gdLst>
                <a:gd name="T0" fmla="*/ 0 w 33"/>
                <a:gd name="T1" fmla="*/ 0 h 12"/>
                <a:gd name="T2" fmla="*/ 0 w 33"/>
                <a:gd name="T3" fmla="*/ 0 h 12"/>
                <a:gd name="T4" fmla="*/ 0 w 33"/>
                <a:gd name="T5" fmla="*/ 0 h 12"/>
                <a:gd name="T6" fmla="*/ 0 w 33"/>
                <a:gd name="T7" fmla="*/ 0 h 12"/>
                <a:gd name="T8" fmla="*/ 0 w 33"/>
                <a:gd name="T9" fmla="*/ 0 h 12"/>
                <a:gd name="T10" fmla="*/ 0 w 33"/>
                <a:gd name="T11" fmla="*/ 0 h 12"/>
                <a:gd name="T12" fmla="*/ 0 w 33"/>
                <a:gd name="T13" fmla="*/ 0 h 12"/>
                <a:gd name="T14" fmla="*/ 0 w 33"/>
                <a:gd name="T15" fmla="*/ 0 h 12"/>
                <a:gd name="T16" fmla="*/ 0 w 33"/>
                <a:gd name="T17" fmla="*/ 0 h 12"/>
                <a:gd name="T18" fmla="*/ 0 w 33"/>
                <a:gd name="T19" fmla="*/ 0 h 12"/>
                <a:gd name="T20" fmla="*/ 0 w 33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12"/>
                <a:gd name="T35" fmla="*/ 33 w 33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2" name="Freeform 69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8816175" y="4130444"/>
              <a:ext cx="11571" cy="52134"/>
            </a:xfrm>
            <a:custGeom>
              <a:avLst/>
              <a:gdLst>
                <a:gd name="T0" fmla="*/ 0 w 33"/>
                <a:gd name="T1" fmla="*/ 2147483647 h 62"/>
                <a:gd name="T2" fmla="*/ 0 w 33"/>
                <a:gd name="T3" fmla="*/ 2147483647 h 62"/>
                <a:gd name="T4" fmla="*/ 0 w 33"/>
                <a:gd name="T5" fmla="*/ 2147483647 h 62"/>
                <a:gd name="T6" fmla="*/ 0 w 33"/>
                <a:gd name="T7" fmla="*/ 2147483647 h 62"/>
                <a:gd name="T8" fmla="*/ 0 w 33"/>
                <a:gd name="T9" fmla="*/ 2147483647 h 62"/>
                <a:gd name="T10" fmla="*/ 0 w 33"/>
                <a:gd name="T11" fmla="*/ 2147483647 h 62"/>
                <a:gd name="T12" fmla="*/ 2147483647 w 33"/>
                <a:gd name="T13" fmla="*/ 2147483647 h 62"/>
                <a:gd name="T14" fmla="*/ 2147483647 w 33"/>
                <a:gd name="T15" fmla="*/ 2147483647 h 62"/>
                <a:gd name="T16" fmla="*/ 2147483647 w 33"/>
                <a:gd name="T17" fmla="*/ 2147483647 h 62"/>
                <a:gd name="T18" fmla="*/ 2147483647 w 33"/>
                <a:gd name="T19" fmla="*/ 2147483647 h 62"/>
                <a:gd name="T20" fmla="*/ 2147483647 w 33"/>
                <a:gd name="T21" fmla="*/ 0 h 62"/>
                <a:gd name="T22" fmla="*/ 2147483647 w 33"/>
                <a:gd name="T23" fmla="*/ 2147483647 h 62"/>
                <a:gd name="T24" fmla="*/ 2147483647 w 33"/>
                <a:gd name="T25" fmla="*/ 2147483647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3"/>
                <a:gd name="T40" fmla="*/ 0 h 62"/>
                <a:gd name="T41" fmla="*/ 33 w 33"/>
                <a:gd name="T42" fmla="*/ 62 h 6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3" name="Freeform 7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8824854" y="4212989"/>
              <a:ext cx="8679" cy="53581"/>
            </a:xfrm>
            <a:custGeom>
              <a:avLst/>
              <a:gdLst>
                <a:gd name="T0" fmla="*/ 0 w 26"/>
                <a:gd name="T1" fmla="*/ 2147483647 h 18"/>
                <a:gd name="T2" fmla="*/ 0 w 26"/>
                <a:gd name="T3" fmla="*/ 0 h 18"/>
                <a:gd name="T4" fmla="*/ 2147483647 w 26"/>
                <a:gd name="T5" fmla="*/ 0 h 18"/>
                <a:gd name="T6" fmla="*/ 2147483647 w 26"/>
                <a:gd name="T7" fmla="*/ 2147483647 h 18"/>
                <a:gd name="T8" fmla="*/ 2147483647 w 26"/>
                <a:gd name="T9" fmla="*/ 2147483647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6"/>
                <a:gd name="T16" fmla="*/ 0 h 18"/>
                <a:gd name="T17" fmla="*/ 26 w 26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4" name="Freeform 7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8928997" y="4130444"/>
              <a:ext cx="70875" cy="118749"/>
            </a:xfrm>
            <a:custGeom>
              <a:avLst/>
              <a:gdLst>
                <a:gd name="T0" fmla="*/ 2147483647 w 180"/>
                <a:gd name="T1" fmla="*/ 2147483647 h 240"/>
                <a:gd name="T2" fmla="*/ 2147483647 w 180"/>
                <a:gd name="T3" fmla="*/ 2147483647 h 240"/>
                <a:gd name="T4" fmla="*/ 2147483647 w 180"/>
                <a:gd name="T5" fmla="*/ 2147483647 h 240"/>
                <a:gd name="T6" fmla="*/ 2147483647 w 180"/>
                <a:gd name="T7" fmla="*/ 2147483647 h 240"/>
                <a:gd name="T8" fmla="*/ 2147483647 w 180"/>
                <a:gd name="T9" fmla="*/ 2147483647 h 240"/>
                <a:gd name="T10" fmla="*/ 2147483647 w 180"/>
                <a:gd name="T11" fmla="*/ 2147483647 h 240"/>
                <a:gd name="T12" fmla="*/ 2147483647 w 180"/>
                <a:gd name="T13" fmla="*/ 2147483647 h 240"/>
                <a:gd name="T14" fmla="*/ 2147483647 w 180"/>
                <a:gd name="T15" fmla="*/ 2147483647 h 240"/>
                <a:gd name="T16" fmla="*/ 2147483647 w 180"/>
                <a:gd name="T17" fmla="*/ 2147483647 h 240"/>
                <a:gd name="T18" fmla="*/ 2147483647 w 180"/>
                <a:gd name="T19" fmla="*/ 2147483647 h 240"/>
                <a:gd name="T20" fmla="*/ 2147483647 w 180"/>
                <a:gd name="T21" fmla="*/ 2147483647 h 240"/>
                <a:gd name="T22" fmla="*/ 2147483647 w 180"/>
                <a:gd name="T23" fmla="*/ 2147483647 h 240"/>
                <a:gd name="T24" fmla="*/ 2147483647 w 180"/>
                <a:gd name="T25" fmla="*/ 2147483647 h 240"/>
                <a:gd name="T26" fmla="*/ 2147483647 w 180"/>
                <a:gd name="T27" fmla="*/ 2147483647 h 240"/>
                <a:gd name="T28" fmla="*/ 2147483647 w 180"/>
                <a:gd name="T29" fmla="*/ 2147483647 h 240"/>
                <a:gd name="T30" fmla="*/ 2147483647 w 180"/>
                <a:gd name="T31" fmla="*/ 2147483647 h 240"/>
                <a:gd name="T32" fmla="*/ 2147483647 w 180"/>
                <a:gd name="T33" fmla="*/ 2147483647 h 240"/>
                <a:gd name="T34" fmla="*/ 2147483647 w 180"/>
                <a:gd name="T35" fmla="*/ 2147483647 h 240"/>
                <a:gd name="T36" fmla="*/ 2147483647 w 180"/>
                <a:gd name="T37" fmla="*/ 2147483647 h 240"/>
                <a:gd name="T38" fmla="*/ 2147483647 w 180"/>
                <a:gd name="T39" fmla="*/ 2147483647 h 240"/>
                <a:gd name="T40" fmla="*/ 2147483647 w 180"/>
                <a:gd name="T41" fmla="*/ 2147483647 h 240"/>
                <a:gd name="T42" fmla="*/ 2147483647 w 180"/>
                <a:gd name="T43" fmla="*/ 2147483647 h 240"/>
                <a:gd name="T44" fmla="*/ 2147483647 w 180"/>
                <a:gd name="T45" fmla="*/ 2147483647 h 240"/>
                <a:gd name="T46" fmla="*/ 2147483647 w 180"/>
                <a:gd name="T47" fmla="*/ 2147483647 h 240"/>
                <a:gd name="T48" fmla="*/ 2147483647 w 180"/>
                <a:gd name="T49" fmla="*/ 2147483647 h 240"/>
                <a:gd name="T50" fmla="*/ 2147483647 w 180"/>
                <a:gd name="T51" fmla="*/ 2147483647 h 240"/>
                <a:gd name="T52" fmla="*/ 2147483647 w 180"/>
                <a:gd name="T53" fmla="*/ 2147483647 h 240"/>
                <a:gd name="T54" fmla="*/ 2147483647 w 180"/>
                <a:gd name="T55" fmla="*/ 2147483647 h 240"/>
                <a:gd name="T56" fmla="*/ 0 w 180"/>
                <a:gd name="T57" fmla="*/ 2147483647 h 240"/>
                <a:gd name="T58" fmla="*/ 0 w 180"/>
                <a:gd name="T59" fmla="*/ 2147483647 h 240"/>
                <a:gd name="T60" fmla="*/ 0 w 180"/>
                <a:gd name="T61" fmla="*/ 2147483647 h 240"/>
                <a:gd name="T62" fmla="*/ 0 w 180"/>
                <a:gd name="T63" fmla="*/ 2147483647 h 240"/>
                <a:gd name="T64" fmla="*/ 0 w 180"/>
                <a:gd name="T65" fmla="*/ 0 h 240"/>
                <a:gd name="T66" fmla="*/ 2147483647 w 180"/>
                <a:gd name="T67" fmla="*/ 2147483647 h 240"/>
                <a:gd name="T68" fmla="*/ 2147483647 w 180"/>
                <a:gd name="T69" fmla="*/ 2147483647 h 240"/>
                <a:gd name="T70" fmla="*/ 2147483647 w 180"/>
                <a:gd name="T71" fmla="*/ 2147483647 h 240"/>
                <a:gd name="T72" fmla="*/ 2147483647 w 180"/>
                <a:gd name="T73" fmla="*/ 2147483647 h 240"/>
                <a:gd name="T74" fmla="*/ 2147483647 w 180"/>
                <a:gd name="T75" fmla="*/ 2147483647 h 240"/>
                <a:gd name="T76" fmla="*/ 2147483647 w 180"/>
                <a:gd name="T77" fmla="*/ 2147483647 h 240"/>
                <a:gd name="T78" fmla="*/ 2147483647 w 180"/>
                <a:gd name="T79" fmla="*/ 2147483647 h 240"/>
                <a:gd name="T80" fmla="*/ 2147483647 w 180"/>
                <a:gd name="T81" fmla="*/ 2147483647 h 240"/>
                <a:gd name="T82" fmla="*/ 2147483647 w 180"/>
                <a:gd name="T83" fmla="*/ 2147483647 h 240"/>
                <a:gd name="T84" fmla="*/ 2147483647 w 180"/>
                <a:gd name="T85" fmla="*/ 2147483647 h 240"/>
                <a:gd name="T86" fmla="*/ 2147483647 w 180"/>
                <a:gd name="T87" fmla="*/ 2147483647 h 240"/>
                <a:gd name="T88" fmla="*/ 2147483647 w 180"/>
                <a:gd name="T89" fmla="*/ 2147483647 h 240"/>
                <a:gd name="T90" fmla="*/ 2147483647 w 180"/>
                <a:gd name="T91" fmla="*/ 2147483647 h 240"/>
                <a:gd name="T92" fmla="*/ 2147483647 w 180"/>
                <a:gd name="T93" fmla="*/ 2147483647 h 240"/>
                <a:gd name="T94" fmla="*/ 2147483647 w 180"/>
                <a:gd name="T95" fmla="*/ 2147483647 h 240"/>
                <a:gd name="T96" fmla="*/ 2147483647 w 180"/>
                <a:gd name="T97" fmla="*/ 2147483647 h 240"/>
                <a:gd name="T98" fmla="*/ 2147483647 w 180"/>
                <a:gd name="T99" fmla="*/ 2147483647 h 240"/>
                <a:gd name="T100" fmla="*/ 2147483647 w 180"/>
                <a:gd name="T101" fmla="*/ 2147483647 h 240"/>
                <a:gd name="T102" fmla="*/ 2147483647 w 180"/>
                <a:gd name="T103" fmla="*/ 2147483647 h 240"/>
                <a:gd name="T104" fmla="*/ 2147483647 w 180"/>
                <a:gd name="T105" fmla="*/ 2147483647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80"/>
                <a:gd name="T160" fmla="*/ 0 h 240"/>
                <a:gd name="T161" fmla="*/ 180 w 180"/>
                <a:gd name="T162" fmla="*/ 240 h 2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0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5" name="Freeform 72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8928997" y="4105826"/>
              <a:ext cx="13018" cy="52134"/>
            </a:xfrm>
            <a:custGeom>
              <a:avLst/>
              <a:gdLst>
                <a:gd name="T0" fmla="*/ 0 w 27"/>
                <a:gd name="T1" fmla="*/ 0 h 30"/>
                <a:gd name="T2" fmla="*/ 2147483647 w 27"/>
                <a:gd name="T3" fmla="*/ 2147483647 h 30"/>
                <a:gd name="T4" fmla="*/ 2147483647 w 27"/>
                <a:gd name="T5" fmla="*/ 2147483647 h 30"/>
                <a:gd name="T6" fmla="*/ 2147483647 w 27"/>
                <a:gd name="T7" fmla="*/ 2147483647 h 30"/>
                <a:gd name="T8" fmla="*/ 2147483647 w 27"/>
                <a:gd name="T9" fmla="*/ 2147483647 h 30"/>
                <a:gd name="T10" fmla="*/ 2147483647 w 27"/>
                <a:gd name="T11" fmla="*/ 2147483647 h 30"/>
                <a:gd name="T12" fmla="*/ 0 w 27"/>
                <a:gd name="T13" fmla="*/ 2147483647 h 30"/>
                <a:gd name="T14" fmla="*/ 2147483647 w 27"/>
                <a:gd name="T15" fmla="*/ 2147483647 h 30"/>
                <a:gd name="T16" fmla="*/ 2147483647 w 27"/>
                <a:gd name="T17" fmla="*/ 2147483647 h 30"/>
                <a:gd name="T18" fmla="*/ 2147483647 w 27"/>
                <a:gd name="T19" fmla="*/ 2147483647 h 30"/>
                <a:gd name="T20" fmla="*/ 2147483647 w 27"/>
                <a:gd name="T21" fmla="*/ 2147483647 h 30"/>
                <a:gd name="T22" fmla="*/ 2147483647 w 27"/>
                <a:gd name="T23" fmla="*/ 2147483647 h 30"/>
                <a:gd name="T24" fmla="*/ 2147483647 w 27"/>
                <a:gd name="T25" fmla="*/ 2147483647 h 30"/>
                <a:gd name="T26" fmla="*/ 2147483647 w 27"/>
                <a:gd name="T27" fmla="*/ 2147483647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7"/>
                <a:gd name="T46" fmla="*/ 0 h 30"/>
                <a:gd name="T47" fmla="*/ 27 w 27"/>
                <a:gd name="T48" fmla="*/ 30 h 3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96" name="Group 73"/>
            <p:cNvGrpSpPr>
              <a:grpSpLocks/>
            </p:cNvGrpSpPr>
            <p:nvPr>
              <p:custDataLst>
                <p:tags r:id="rId94"/>
              </p:custDataLst>
            </p:nvPr>
          </p:nvGrpSpPr>
          <p:grpSpPr bwMode="auto">
            <a:xfrm>
              <a:off x="8646944" y="4580820"/>
              <a:ext cx="418017" cy="369279"/>
              <a:chOff x="5372" y="3323"/>
              <a:chExt cx="341" cy="253"/>
            </a:xfrm>
            <a:solidFill>
              <a:schemeClr val="tx1">
                <a:lumMod val="20000"/>
                <a:lumOff val="80000"/>
              </a:schemeClr>
            </a:solidFill>
          </p:grpSpPr>
          <p:sp>
            <p:nvSpPr>
              <p:cNvPr id="597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0 h 33"/>
                  <a:gd name="T2" fmla="*/ 0 w 53"/>
                  <a:gd name="T3" fmla="*/ 0 h 33"/>
                  <a:gd name="T4" fmla="*/ 0 w 53"/>
                  <a:gd name="T5" fmla="*/ 0 h 33"/>
                  <a:gd name="T6" fmla="*/ 0 w 53"/>
                  <a:gd name="T7" fmla="*/ 0 h 33"/>
                  <a:gd name="T8" fmla="*/ 0 w 53"/>
                  <a:gd name="T9" fmla="*/ 0 h 33"/>
                  <a:gd name="T10" fmla="*/ 0 w 53"/>
                  <a:gd name="T11" fmla="*/ 0 h 33"/>
                  <a:gd name="T12" fmla="*/ 0 w 53"/>
                  <a:gd name="T13" fmla="*/ 0 h 33"/>
                  <a:gd name="T14" fmla="*/ 0 w 53"/>
                  <a:gd name="T15" fmla="*/ 0 h 33"/>
                  <a:gd name="T16" fmla="*/ 0 w 53"/>
                  <a:gd name="T17" fmla="*/ 0 h 33"/>
                  <a:gd name="T18" fmla="*/ 0 w 53"/>
                  <a:gd name="T19" fmla="*/ 0 h 33"/>
                  <a:gd name="T20" fmla="*/ 0 w 53"/>
                  <a:gd name="T21" fmla="*/ 0 h 33"/>
                  <a:gd name="T22" fmla="*/ 0 w 53"/>
                  <a:gd name="T23" fmla="*/ 0 h 33"/>
                  <a:gd name="T24" fmla="*/ 0 w 53"/>
                  <a:gd name="T25" fmla="*/ 0 h 33"/>
                  <a:gd name="T26" fmla="*/ 0 w 53"/>
                  <a:gd name="T27" fmla="*/ 0 h 33"/>
                  <a:gd name="T28" fmla="*/ 0 w 53"/>
                  <a:gd name="T29" fmla="*/ 0 h 33"/>
                  <a:gd name="T30" fmla="*/ 0 w 53"/>
                  <a:gd name="T31" fmla="*/ 0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53"/>
                  <a:gd name="T49" fmla="*/ 0 h 33"/>
                  <a:gd name="T50" fmla="*/ 53 w 53"/>
                  <a:gd name="T51" fmla="*/ 33 h 33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013" kern="1200">
                  <a:solidFill>
                    <a:srgbClr val="E7E6E6">
                      <a:lumMod val="75000"/>
                    </a:srgbClr>
                  </a:solidFill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8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0 w 631"/>
                  <a:gd name="T1" fmla="*/ 0 h 358"/>
                  <a:gd name="T2" fmla="*/ 0 w 631"/>
                  <a:gd name="T3" fmla="*/ 0 h 358"/>
                  <a:gd name="T4" fmla="*/ 0 w 631"/>
                  <a:gd name="T5" fmla="*/ 0 h 358"/>
                  <a:gd name="T6" fmla="*/ 0 w 631"/>
                  <a:gd name="T7" fmla="*/ 0 h 358"/>
                  <a:gd name="T8" fmla="*/ 0 w 631"/>
                  <a:gd name="T9" fmla="*/ 0 h 358"/>
                  <a:gd name="T10" fmla="*/ 0 w 631"/>
                  <a:gd name="T11" fmla="*/ 0 h 358"/>
                  <a:gd name="T12" fmla="*/ 0 w 631"/>
                  <a:gd name="T13" fmla="*/ 0 h 358"/>
                  <a:gd name="T14" fmla="*/ 0 w 631"/>
                  <a:gd name="T15" fmla="*/ 0 h 358"/>
                  <a:gd name="T16" fmla="*/ 0 w 631"/>
                  <a:gd name="T17" fmla="*/ 0 h 358"/>
                  <a:gd name="T18" fmla="*/ 0 w 631"/>
                  <a:gd name="T19" fmla="*/ 0 h 358"/>
                  <a:gd name="T20" fmla="*/ 0 w 631"/>
                  <a:gd name="T21" fmla="*/ 0 h 358"/>
                  <a:gd name="T22" fmla="*/ 0 w 631"/>
                  <a:gd name="T23" fmla="*/ 0 h 358"/>
                  <a:gd name="T24" fmla="*/ 0 w 631"/>
                  <a:gd name="T25" fmla="*/ 0 h 358"/>
                  <a:gd name="T26" fmla="*/ 0 w 631"/>
                  <a:gd name="T27" fmla="*/ 0 h 358"/>
                  <a:gd name="T28" fmla="*/ 0 w 631"/>
                  <a:gd name="T29" fmla="*/ 0 h 358"/>
                  <a:gd name="T30" fmla="*/ 0 w 631"/>
                  <a:gd name="T31" fmla="*/ 0 h 358"/>
                  <a:gd name="T32" fmla="*/ 0 w 631"/>
                  <a:gd name="T33" fmla="*/ 0 h 358"/>
                  <a:gd name="T34" fmla="*/ 0 w 631"/>
                  <a:gd name="T35" fmla="*/ 0 h 358"/>
                  <a:gd name="T36" fmla="*/ 0 w 631"/>
                  <a:gd name="T37" fmla="*/ 0 h 358"/>
                  <a:gd name="T38" fmla="*/ 0 w 631"/>
                  <a:gd name="T39" fmla="*/ 0 h 358"/>
                  <a:gd name="T40" fmla="*/ 0 w 631"/>
                  <a:gd name="T41" fmla="*/ 0 h 358"/>
                  <a:gd name="T42" fmla="*/ 0 w 631"/>
                  <a:gd name="T43" fmla="*/ 0 h 358"/>
                  <a:gd name="T44" fmla="*/ 0 w 631"/>
                  <a:gd name="T45" fmla="*/ 0 h 358"/>
                  <a:gd name="T46" fmla="*/ 0 w 631"/>
                  <a:gd name="T47" fmla="*/ 0 h 358"/>
                  <a:gd name="T48" fmla="*/ 0 w 631"/>
                  <a:gd name="T49" fmla="*/ 0 h 358"/>
                  <a:gd name="T50" fmla="*/ 0 w 631"/>
                  <a:gd name="T51" fmla="*/ 0 h 358"/>
                  <a:gd name="T52" fmla="*/ 0 w 631"/>
                  <a:gd name="T53" fmla="*/ 0 h 358"/>
                  <a:gd name="T54" fmla="*/ 0 w 631"/>
                  <a:gd name="T55" fmla="*/ 0 h 358"/>
                  <a:gd name="T56" fmla="*/ 0 w 631"/>
                  <a:gd name="T57" fmla="*/ 0 h 358"/>
                  <a:gd name="T58" fmla="*/ 0 w 631"/>
                  <a:gd name="T59" fmla="*/ 0 h 358"/>
                  <a:gd name="T60" fmla="*/ 0 w 631"/>
                  <a:gd name="T61" fmla="*/ 0 h 358"/>
                  <a:gd name="T62" fmla="*/ 0 w 631"/>
                  <a:gd name="T63" fmla="*/ 0 h 358"/>
                  <a:gd name="T64" fmla="*/ 0 w 631"/>
                  <a:gd name="T65" fmla="*/ 0 h 358"/>
                  <a:gd name="T66" fmla="*/ 0 w 631"/>
                  <a:gd name="T67" fmla="*/ 0 h 358"/>
                  <a:gd name="T68" fmla="*/ 0 w 631"/>
                  <a:gd name="T69" fmla="*/ 0 h 358"/>
                  <a:gd name="T70" fmla="*/ 0 w 631"/>
                  <a:gd name="T71" fmla="*/ 0 h 358"/>
                  <a:gd name="T72" fmla="*/ 0 w 631"/>
                  <a:gd name="T73" fmla="*/ 0 h 358"/>
                  <a:gd name="T74" fmla="*/ 0 w 631"/>
                  <a:gd name="T75" fmla="*/ 0 h 358"/>
                  <a:gd name="T76" fmla="*/ 0 w 631"/>
                  <a:gd name="T77" fmla="*/ 0 h 358"/>
                  <a:gd name="T78" fmla="*/ 0 w 631"/>
                  <a:gd name="T79" fmla="*/ 0 h 358"/>
                  <a:gd name="T80" fmla="*/ 0 w 631"/>
                  <a:gd name="T81" fmla="*/ 0 h 358"/>
                  <a:gd name="T82" fmla="*/ 0 w 631"/>
                  <a:gd name="T83" fmla="*/ 0 h 358"/>
                  <a:gd name="T84" fmla="*/ 0 w 631"/>
                  <a:gd name="T85" fmla="*/ 0 h 358"/>
                  <a:gd name="T86" fmla="*/ 0 w 631"/>
                  <a:gd name="T87" fmla="*/ 0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631"/>
                  <a:gd name="T133" fmla="*/ 0 h 358"/>
                  <a:gd name="T134" fmla="*/ 631 w 631"/>
                  <a:gd name="T135" fmla="*/ 358 h 35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013" kern="1200">
                  <a:solidFill>
                    <a:srgbClr val="E7E6E6">
                      <a:lumMod val="75000"/>
                    </a:srgbClr>
                  </a:solidFill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9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0 w 359"/>
                  <a:gd name="T1" fmla="*/ 0 h 431"/>
                  <a:gd name="T2" fmla="*/ 0 w 359"/>
                  <a:gd name="T3" fmla="*/ 0 h 431"/>
                  <a:gd name="T4" fmla="*/ 0 w 359"/>
                  <a:gd name="T5" fmla="*/ 0 h 431"/>
                  <a:gd name="T6" fmla="*/ 0 w 359"/>
                  <a:gd name="T7" fmla="*/ 0 h 431"/>
                  <a:gd name="T8" fmla="*/ 0 w 359"/>
                  <a:gd name="T9" fmla="*/ 0 h 431"/>
                  <a:gd name="T10" fmla="*/ 0 w 359"/>
                  <a:gd name="T11" fmla="*/ 0 h 431"/>
                  <a:gd name="T12" fmla="*/ 0 w 359"/>
                  <a:gd name="T13" fmla="*/ 0 h 431"/>
                  <a:gd name="T14" fmla="*/ 0 w 359"/>
                  <a:gd name="T15" fmla="*/ 0 h 431"/>
                  <a:gd name="T16" fmla="*/ 0 w 359"/>
                  <a:gd name="T17" fmla="*/ 0 h 431"/>
                  <a:gd name="T18" fmla="*/ 0 w 359"/>
                  <a:gd name="T19" fmla="*/ 0 h 431"/>
                  <a:gd name="T20" fmla="*/ 0 w 359"/>
                  <a:gd name="T21" fmla="*/ 0 h 431"/>
                  <a:gd name="T22" fmla="*/ 0 w 359"/>
                  <a:gd name="T23" fmla="*/ 0 h 431"/>
                  <a:gd name="T24" fmla="*/ 0 w 359"/>
                  <a:gd name="T25" fmla="*/ 0 h 431"/>
                  <a:gd name="T26" fmla="*/ 0 w 359"/>
                  <a:gd name="T27" fmla="*/ 0 h 431"/>
                  <a:gd name="T28" fmla="*/ 0 w 359"/>
                  <a:gd name="T29" fmla="*/ 0 h 431"/>
                  <a:gd name="T30" fmla="*/ 0 w 359"/>
                  <a:gd name="T31" fmla="*/ 0 h 431"/>
                  <a:gd name="T32" fmla="*/ 0 w 359"/>
                  <a:gd name="T33" fmla="*/ 0 h 431"/>
                  <a:gd name="T34" fmla="*/ 0 w 359"/>
                  <a:gd name="T35" fmla="*/ 0 h 431"/>
                  <a:gd name="T36" fmla="*/ 0 w 359"/>
                  <a:gd name="T37" fmla="*/ 0 h 431"/>
                  <a:gd name="T38" fmla="*/ 0 w 359"/>
                  <a:gd name="T39" fmla="*/ 0 h 431"/>
                  <a:gd name="T40" fmla="*/ 0 w 359"/>
                  <a:gd name="T41" fmla="*/ 0 h 431"/>
                  <a:gd name="T42" fmla="*/ 0 w 359"/>
                  <a:gd name="T43" fmla="*/ 0 h 431"/>
                  <a:gd name="T44" fmla="*/ 0 w 359"/>
                  <a:gd name="T45" fmla="*/ 0 h 431"/>
                  <a:gd name="T46" fmla="*/ 0 w 359"/>
                  <a:gd name="T47" fmla="*/ 0 h 431"/>
                  <a:gd name="T48" fmla="*/ 0 w 359"/>
                  <a:gd name="T49" fmla="*/ 0 h 431"/>
                  <a:gd name="T50" fmla="*/ 0 w 359"/>
                  <a:gd name="T51" fmla="*/ 0 h 431"/>
                  <a:gd name="T52" fmla="*/ 0 w 359"/>
                  <a:gd name="T53" fmla="*/ 0 h 431"/>
                  <a:gd name="T54" fmla="*/ 0 w 359"/>
                  <a:gd name="T55" fmla="*/ 0 h 431"/>
                  <a:gd name="T56" fmla="*/ 0 w 359"/>
                  <a:gd name="T57" fmla="*/ 0 h 431"/>
                  <a:gd name="T58" fmla="*/ 0 w 359"/>
                  <a:gd name="T59" fmla="*/ 0 h 431"/>
                  <a:gd name="T60" fmla="*/ 0 w 359"/>
                  <a:gd name="T61" fmla="*/ 0 h 431"/>
                  <a:gd name="T62" fmla="*/ 0 w 359"/>
                  <a:gd name="T63" fmla="*/ 0 h 431"/>
                  <a:gd name="T64" fmla="*/ 0 w 359"/>
                  <a:gd name="T65" fmla="*/ 0 h 431"/>
                  <a:gd name="T66" fmla="*/ 0 w 359"/>
                  <a:gd name="T67" fmla="*/ 0 h 431"/>
                  <a:gd name="T68" fmla="*/ 0 w 359"/>
                  <a:gd name="T69" fmla="*/ 0 h 431"/>
                  <a:gd name="T70" fmla="*/ 0 w 359"/>
                  <a:gd name="T71" fmla="*/ 0 h 431"/>
                  <a:gd name="T72" fmla="*/ 0 w 359"/>
                  <a:gd name="T73" fmla="*/ 0 h 431"/>
                  <a:gd name="T74" fmla="*/ 0 w 359"/>
                  <a:gd name="T75" fmla="*/ 0 h 431"/>
                  <a:gd name="T76" fmla="*/ 0 w 359"/>
                  <a:gd name="T77" fmla="*/ 0 h 431"/>
                  <a:gd name="T78" fmla="*/ 0 w 359"/>
                  <a:gd name="T79" fmla="*/ 0 h 431"/>
                  <a:gd name="T80" fmla="*/ 0 w 359"/>
                  <a:gd name="T81" fmla="*/ 0 h 431"/>
                  <a:gd name="T82" fmla="*/ 0 w 359"/>
                  <a:gd name="T83" fmla="*/ 0 h 431"/>
                  <a:gd name="T84" fmla="*/ 0 w 359"/>
                  <a:gd name="T85" fmla="*/ 0 h 431"/>
                  <a:gd name="T86" fmla="*/ 0 w 359"/>
                  <a:gd name="T87" fmla="*/ 0 h 431"/>
                  <a:gd name="T88" fmla="*/ 0 w 359"/>
                  <a:gd name="T89" fmla="*/ 0 h 431"/>
                  <a:gd name="T90" fmla="*/ 0 w 359"/>
                  <a:gd name="T91" fmla="*/ 0 h 431"/>
                  <a:gd name="T92" fmla="*/ 0 w 359"/>
                  <a:gd name="T93" fmla="*/ 0 h 431"/>
                  <a:gd name="T94" fmla="*/ 0 w 359"/>
                  <a:gd name="T95" fmla="*/ 0 h 431"/>
                  <a:gd name="T96" fmla="*/ 0 w 359"/>
                  <a:gd name="T97" fmla="*/ 0 h 431"/>
                  <a:gd name="T98" fmla="*/ 0 w 359"/>
                  <a:gd name="T99" fmla="*/ 0 h 431"/>
                  <a:gd name="T100" fmla="*/ 0 w 359"/>
                  <a:gd name="T101" fmla="*/ 0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359"/>
                  <a:gd name="T154" fmla="*/ 0 h 431"/>
                  <a:gd name="T155" fmla="*/ 359 w 359"/>
                  <a:gd name="T156" fmla="*/ 431 h 431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013" kern="1200">
                  <a:solidFill>
                    <a:srgbClr val="E7E6E6">
                      <a:lumMod val="75000"/>
                    </a:srgbClr>
                  </a:solidFill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600" name="Freeform 77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8321497" y="3355682"/>
              <a:ext cx="8679" cy="52134"/>
            </a:xfrm>
            <a:custGeom>
              <a:avLst/>
              <a:gdLst>
                <a:gd name="T0" fmla="*/ 0 w 21"/>
                <a:gd name="T1" fmla="*/ 2147483647 h 62"/>
                <a:gd name="T2" fmla="*/ 2147483647 w 21"/>
                <a:gd name="T3" fmla="*/ 2147483647 h 62"/>
                <a:gd name="T4" fmla="*/ 2147483647 w 21"/>
                <a:gd name="T5" fmla="*/ 2147483647 h 62"/>
                <a:gd name="T6" fmla="*/ 2147483647 w 21"/>
                <a:gd name="T7" fmla="*/ 2147483647 h 62"/>
                <a:gd name="T8" fmla="*/ 2147483647 w 21"/>
                <a:gd name="T9" fmla="*/ 2147483647 h 62"/>
                <a:gd name="T10" fmla="*/ 2147483647 w 21"/>
                <a:gd name="T11" fmla="*/ 2147483647 h 62"/>
                <a:gd name="T12" fmla="*/ 2147483647 w 21"/>
                <a:gd name="T13" fmla="*/ 0 h 62"/>
                <a:gd name="T14" fmla="*/ 2147483647 w 21"/>
                <a:gd name="T15" fmla="*/ 2147483647 h 62"/>
                <a:gd name="T16" fmla="*/ 2147483647 w 21"/>
                <a:gd name="T17" fmla="*/ 2147483647 h 62"/>
                <a:gd name="T18" fmla="*/ 2147483647 w 21"/>
                <a:gd name="T19" fmla="*/ 2147483647 h 62"/>
                <a:gd name="T20" fmla="*/ 2147483647 w 21"/>
                <a:gd name="T21" fmla="*/ 2147483647 h 62"/>
                <a:gd name="T22" fmla="*/ 2147483647 w 21"/>
                <a:gd name="T23" fmla="*/ 2147483647 h 62"/>
                <a:gd name="T24" fmla="*/ 0 w 21"/>
                <a:gd name="T25" fmla="*/ 2147483647 h 62"/>
                <a:gd name="T26" fmla="*/ 0 w 21"/>
                <a:gd name="T27" fmla="*/ 2147483647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1"/>
                <a:gd name="T43" fmla="*/ 0 h 62"/>
                <a:gd name="T44" fmla="*/ 21 w 21"/>
                <a:gd name="T45" fmla="*/ 62 h 6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1" name="Freeform 78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8983961" y="4178233"/>
              <a:ext cx="13018" cy="52134"/>
            </a:xfrm>
            <a:custGeom>
              <a:avLst/>
              <a:gdLst>
                <a:gd name="T0" fmla="*/ 0 w 33"/>
                <a:gd name="T1" fmla="*/ 0 h 24"/>
                <a:gd name="T2" fmla="*/ 2147483647 w 33"/>
                <a:gd name="T3" fmla="*/ 2147483647 h 24"/>
                <a:gd name="T4" fmla="*/ 2147483647 w 33"/>
                <a:gd name="T5" fmla="*/ 2147483647 h 24"/>
                <a:gd name="T6" fmla="*/ 2147483647 w 33"/>
                <a:gd name="T7" fmla="*/ 2147483647 h 24"/>
                <a:gd name="T8" fmla="*/ 2147483647 w 33"/>
                <a:gd name="T9" fmla="*/ 2147483647 h 24"/>
                <a:gd name="T10" fmla="*/ 2147483647 w 33"/>
                <a:gd name="T11" fmla="*/ 2147483647 h 24"/>
                <a:gd name="T12" fmla="*/ 2147483647 w 33"/>
                <a:gd name="T13" fmla="*/ 2147483647 h 24"/>
                <a:gd name="T14" fmla="*/ 2147483647 w 33"/>
                <a:gd name="T15" fmla="*/ 0 h 24"/>
                <a:gd name="T16" fmla="*/ 2147483647 w 33"/>
                <a:gd name="T17" fmla="*/ 0 h 24"/>
                <a:gd name="T18" fmla="*/ 2147483647 w 33"/>
                <a:gd name="T19" fmla="*/ 0 h 24"/>
                <a:gd name="T20" fmla="*/ 214748364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3"/>
                <a:gd name="T37" fmla="*/ 0 h 24"/>
                <a:gd name="T38" fmla="*/ 33 w 33"/>
                <a:gd name="T39" fmla="*/ 24 h 2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2" name="Freeform 79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9004211" y="4186922"/>
              <a:ext cx="15911" cy="53581"/>
            </a:xfrm>
            <a:custGeom>
              <a:avLst/>
              <a:gdLst>
                <a:gd name="T0" fmla="*/ 2147483647 w 33"/>
                <a:gd name="T1" fmla="*/ 2147483647 h 25"/>
                <a:gd name="T2" fmla="*/ 2147483647 w 33"/>
                <a:gd name="T3" fmla="*/ 2147483647 h 25"/>
                <a:gd name="T4" fmla="*/ 2147483647 w 33"/>
                <a:gd name="T5" fmla="*/ 2147483647 h 25"/>
                <a:gd name="T6" fmla="*/ 2147483647 w 33"/>
                <a:gd name="T7" fmla="*/ 0 h 25"/>
                <a:gd name="T8" fmla="*/ 2147483647 w 33"/>
                <a:gd name="T9" fmla="*/ 0 h 25"/>
                <a:gd name="T10" fmla="*/ 2147483647 w 33"/>
                <a:gd name="T11" fmla="*/ 0 h 25"/>
                <a:gd name="T12" fmla="*/ 2147483647 w 33"/>
                <a:gd name="T13" fmla="*/ 0 h 25"/>
                <a:gd name="T14" fmla="*/ 0 w 33"/>
                <a:gd name="T15" fmla="*/ 0 h 25"/>
                <a:gd name="T16" fmla="*/ 2147483647 w 33"/>
                <a:gd name="T17" fmla="*/ 214748364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25"/>
                <a:gd name="T29" fmla="*/ 33 w 33"/>
                <a:gd name="T30" fmla="*/ 25 h 2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3" name="Freeform 80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8379354" y="3345544"/>
              <a:ext cx="1447" cy="50686"/>
            </a:xfrm>
            <a:custGeom>
              <a:avLst/>
              <a:gdLst>
                <a:gd name="T0" fmla="*/ 0 w 7"/>
                <a:gd name="T1" fmla="*/ 0 h 55563"/>
                <a:gd name="T2" fmla="*/ 2147483647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  <a:gd name="T9" fmla="*/ 0 w 7"/>
                <a:gd name="T10" fmla="*/ 0 h 55563"/>
                <a:gd name="T11" fmla="*/ 7 w 7"/>
                <a:gd name="T12" fmla="*/ 55563 h 5556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4" name="Freeform 81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8432872" y="3294860"/>
              <a:ext cx="5786" cy="52134"/>
            </a:xfrm>
            <a:custGeom>
              <a:avLst/>
              <a:gdLst>
                <a:gd name="T0" fmla="*/ 2147483647 w 16"/>
                <a:gd name="T1" fmla="*/ 0 h 25"/>
                <a:gd name="T2" fmla="*/ 2147483647 w 16"/>
                <a:gd name="T3" fmla="*/ 2147483647 h 25"/>
                <a:gd name="T4" fmla="*/ 2147483647 w 16"/>
                <a:gd name="T5" fmla="*/ 2147483647 h 25"/>
                <a:gd name="T6" fmla="*/ 2147483647 w 16"/>
                <a:gd name="T7" fmla="*/ 2147483647 h 25"/>
                <a:gd name="T8" fmla="*/ 2147483647 w 16"/>
                <a:gd name="T9" fmla="*/ 2147483647 h 25"/>
                <a:gd name="T10" fmla="*/ 2147483647 w 16"/>
                <a:gd name="T11" fmla="*/ 2147483647 h 25"/>
                <a:gd name="T12" fmla="*/ 2147483647 w 16"/>
                <a:gd name="T13" fmla="*/ 2147483647 h 25"/>
                <a:gd name="T14" fmla="*/ 2147483647 w 16"/>
                <a:gd name="T15" fmla="*/ 2147483647 h 25"/>
                <a:gd name="T16" fmla="*/ 0 w 16"/>
                <a:gd name="T17" fmla="*/ 2147483647 h 25"/>
                <a:gd name="T18" fmla="*/ 2147483647 w 16"/>
                <a:gd name="T19" fmla="*/ 2147483647 h 25"/>
                <a:gd name="T20" fmla="*/ 2147483647 w 16"/>
                <a:gd name="T21" fmla="*/ 2147483647 h 25"/>
                <a:gd name="T22" fmla="*/ 2147483647 w 16"/>
                <a:gd name="T23" fmla="*/ 2147483647 h 25"/>
                <a:gd name="T24" fmla="*/ 2147483647 w 16"/>
                <a:gd name="T25" fmla="*/ 2147483647 h 25"/>
                <a:gd name="T26" fmla="*/ 2147483647 w 16"/>
                <a:gd name="T27" fmla="*/ 2147483647 h 25"/>
                <a:gd name="T28" fmla="*/ 2147483647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6"/>
                <a:gd name="T46" fmla="*/ 0 h 25"/>
                <a:gd name="T47" fmla="*/ 16 w 16"/>
                <a:gd name="T48" fmla="*/ 25 h 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5" name="Freeform 82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8535568" y="3193489"/>
              <a:ext cx="4340" cy="52134"/>
            </a:xfrm>
            <a:custGeom>
              <a:avLst/>
              <a:gdLst>
                <a:gd name="T0" fmla="*/ 0 w 14"/>
                <a:gd name="T1" fmla="*/ 0 h 18"/>
                <a:gd name="T2" fmla="*/ 2147483647 w 14"/>
                <a:gd name="T3" fmla="*/ 2147483647 h 18"/>
                <a:gd name="T4" fmla="*/ 2147483647 w 14"/>
                <a:gd name="T5" fmla="*/ 2147483647 h 18"/>
                <a:gd name="T6" fmla="*/ 2147483647 w 14"/>
                <a:gd name="T7" fmla="*/ 2147483647 h 18"/>
                <a:gd name="T8" fmla="*/ 2147483647 w 14"/>
                <a:gd name="T9" fmla="*/ 2147483647 h 18"/>
                <a:gd name="T10" fmla="*/ 2147483647 w 14"/>
                <a:gd name="T11" fmla="*/ 2147483647 h 18"/>
                <a:gd name="T12" fmla="*/ 2147483647 w 14"/>
                <a:gd name="T13" fmla="*/ 2147483647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18"/>
                <a:gd name="T26" fmla="*/ 14 w 14"/>
                <a:gd name="T27" fmla="*/ 18 h 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6" name="Freeform 83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8674425" y="3830676"/>
              <a:ext cx="24590" cy="53581"/>
            </a:xfrm>
            <a:custGeom>
              <a:avLst/>
              <a:gdLst>
                <a:gd name="T0" fmla="*/ 0 w 67"/>
                <a:gd name="T1" fmla="*/ 0 h 74"/>
                <a:gd name="T2" fmla="*/ 2147483647 w 67"/>
                <a:gd name="T3" fmla="*/ 2147483647 h 74"/>
                <a:gd name="T4" fmla="*/ 2147483647 w 67"/>
                <a:gd name="T5" fmla="*/ 2147483647 h 74"/>
                <a:gd name="T6" fmla="*/ 2147483647 w 67"/>
                <a:gd name="T7" fmla="*/ 2147483647 h 74"/>
                <a:gd name="T8" fmla="*/ 2147483647 w 67"/>
                <a:gd name="T9" fmla="*/ 2147483647 h 74"/>
                <a:gd name="T10" fmla="*/ 2147483647 w 67"/>
                <a:gd name="T11" fmla="*/ 2147483647 h 74"/>
                <a:gd name="T12" fmla="*/ 2147483647 w 67"/>
                <a:gd name="T13" fmla="*/ 2147483647 h 74"/>
                <a:gd name="T14" fmla="*/ 2147483647 w 67"/>
                <a:gd name="T15" fmla="*/ 2147483647 h 74"/>
                <a:gd name="T16" fmla="*/ 2147483647 w 67"/>
                <a:gd name="T17" fmla="*/ 2147483647 h 74"/>
                <a:gd name="T18" fmla="*/ 2147483647 w 67"/>
                <a:gd name="T19" fmla="*/ 2147483647 h 74"/>
                <a:gd name="T20" fmla="*/ 2147483647 w 67"/>
                <a:gd name="T21" fmla="*/ 2147483647 h 74"/>
                <a:gd name="T22" fmla="*/ 2147483647 w 67"/>
                <a:gd name="T23" fmla="*/ 2147483647 h 74"/>
                <a:gd name="T24" fmla="*/ 2147483647 w 67"/>
                <a:gd name="T25" fmla="*/ 2147483647 h 74"/>
                <a:gd name="T26" fmla="*/ 2147483647 w 67"/>
                <a:gd name="T27" fmla="*/ 2147483647 h 74"/>
                <a:gd name="T28" fmla="*/ 2147483647 w 67"/>
                <a:gd name="T29" fmla="*/ 2147483647 h 74"/>
                <a:gd name="T30" fmla="*/ 2147483647 w 67"/>
                <a:gd name="T31" fmla="*/ 2147483647 h 74"/>
                <a:gd name="T32" fmla="*/ 2147483647 w 67"/>
                <a:gd name="T33" fmla="*/ 2147483647 h 74"/>
                <a:gd name="T34" fmla="*/ 2147483647 w 67"/>
                <a:gd name="T35" fmla="*/ 2147483647 h 74"/>
                <a:gd name="T36" fmla="*/ 2147483647 w 67"/>
                <a:gd name="T37" fmla="*/ 0 h 74"/>
                <a:gd name="T38" fmla="*/ 2147483647 w 67"/>
                <a:gd name="T39" fmla="*/ 0 h 74"/>
                <a:gd name="T40" fmla="*/ 2147483647 w 67"/>
                <a:gd name="T41" fmla="*/ 0 h 74"/>
                <a:gd name="T42" fmla="*/ 2147483647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7"/>
                <a:gd name="T70" fmla="*/ 0 h 74"/>
                <a:gd name="T71" fmla="*/ 67 w 67"/>
                <a:gd name="T72" fmla="*/ 74 h 7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7" name="Freeform 84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8732282" y="3843709"/>
              <a:ext cx="11571" cy="52134"/>
            </a:xfrm>
            <a:custGeom>
              <a:avLst/>
              <a:gdLst>
                <a:gd name="T0" fmla="*/ 0 w 34"/>
                <a:gd name="T1" fmla="*/ 0 h 38"/>
                <a:gd name="T2" fmla="*/ 2147483647 w 34"/>
                <a:gd name="T3" fmla="*/ 2147483647 h 38"/>
                <a:gd name="T4" fmla="*/ 2147483647 w 34"/>
                <a:gd name="T5" fmla="*/ 2147483647 h 38"/>
                <a:gd name="T6" fmla="*/ 2147483647 w 34"/>
                <a:gd name="T7" fmla="*/ 2147483647 h 38"/>
                <a:gd name="T8" fmla="*/ 2147483647 w 34"/>
                <a:gd name="T9" fmla="*/ 2147483647 h 38"/>
                <a:gd name="T10" fmla="*/ 2147483647 w 34"/>
                <a:gd name="T11" fmla="*/ 2147483647 h 38"/>
                <a:gd name="T12" fmla="*/ 2147483647 w 34"/>
                <a:gd name="T13" fmla="*/ 2147483647 h 38"/>
                <a:gd name="T14" fmla="*/ 2147483647 w 34"/>
                <a:gd name="T15" fmla="*/ 2147483647 h 38"/>
                <a:gd name="T16" fmla="*/ 2147483647 w 34"/>
                <a:gd name="T17" fmla="*/ 2147483647 h 38"/>
                <a:gd name="T18" fmla="*/ 2147483647 w 34"/>
                <a:gd name="T19" fmla="*/ 2147483647 h 38"/>
                <a:gd name="T20" fmla="*/ 2147483647 w 34"/>
                <a:gd name="T21" fmla="*/ 2147483647 h 38"/>
                <a:gd name="T22" fmla="*/ 2147483647 w 34"/>
                <a:gd name="T23" fmla="*/ 2147483647 h 38"/>
                <a:gd name="T24" fmla="*/ 2147483647 w 34"/>
                <a:gd name="T25" fmla="*/ 2147483647 h 38"/>
                <a:gd name="T26" fmla="*/ 2147483647 w 34"/>
                <a:gd name="T27" fmla="*/ 2147483647 h 38"/>
                <a:gd name="T28" fmla="*/ 2147483647 w 34"/>
                <a:gd name="T29" fmla="*/ 2147483647 h 38"/>
                <a:gd name="T30" fmla="*/ 2147483647 w 34"/>
                <a:gd name="T31" fmla="*/ 2147483647 h 38"/>
                <a:gd name="T32" fmla="*/ 2147483647 w 34"/>
                <a:gd name="T33" fmla="*/ 2147483647 h 38"/>
                <a:gd name="T34" fmla="*/ 2147483647 w 34"/>
                <a:gd name="T35" fmla="*/ 2147483647 h 38"/>
                <a:gd name="T36" fmla="*/ 2147483647 w 34"/>
                <a:gd name="T37" fmla="*/ 2147483647 h 38"/>
                <a:gd name="T38" fmla="*/ 2147483647 w 34"/>
                <a:gd name="T39" fmla="*/ 2147483647 h 38"/>
                <a:gd name="T40" fmla="*/ 2147483647 w 34"/>
                <a:gd name="T41" fmla="*/ 0 h 38"/>
                <a:gd name="T42" fmla="*/ 2147483647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4"/>
                <a:gd name="T70" fmla="*/ 0 h 38"/>
                <a:gd name="T71" fmla="*/ 34 w 34"/>
                <a:gd name="T72" fmla="*/ 38 h 3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8" name="Freeform 85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8602104" y="3639520"/>
              <a:ext cx="23143" cy="50685"/>
            </a:xfrm>
            <a:custGeom>
              <a:avLst/>
              <a:gdLst>
                <a:gd name="T0" fmla="*/ 2147483647 w 53"/>
                <a:gd name="T1" fmla="*/ 2147483647 h 23"/>
                <a:gd name="T2" fmla="*/ 2147483647 w 53"/>
                <a:gd name="T3" fmla="*/ 2147483647 h 23"/>
                <a:gd name="T4" fmla="*/ 2147483647 w 53"/>
                <a:gd name="T5" fmla="*/ 2147483647 h 23"/>
                <a:gd name="T6" fmla="*/ 2147483647 w 53"/>
                <a:gd name="T7" fmla="*/ 2147483647 h 23"/>
                <a:gd name="T8" fmla="*/ 2147483647 w 53"/>
                <a:gd name="T9" fmla="*/ 0 h 23"/>
                <a:gd name="T10" fmla="*/ 2147483647 w 53"/>
                <a:gd name="T11" fmla="*/ 0 h 23"/>
                <a:gd name="T12" fmla="*/ 2147483647 w 53"/>
                <a:gd name="T13" fmla="*/ 2147483647 h 23"/>
                <a:gd name="T14" fmla="*/ 2147483647 w 53"/>
                <a:gd name="T15" fmla="*/ 2147483647 h 23"/>
                <a:gd name="T16" fmla="*/ 2147483647 w 53"/>
                <a:gd name="T17" fmla="*/ 2147483647 h 23"/>
                <a:gd name="T18" fmla="*/ 0 w 53"/>
                <a:gd name="T19" fmla="*/ 2147483647 h 23"/>
                <a:gd name="T20" fmla="*/ 2147483647 w 53"/>
                <a:gd name="T21" fmla="*/ 2147483647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3"/>
                <a:gd name="T34" fmla="*/ 0 h 23"/>
                <a:gd name="T35" fmla="*/ 53 w 53"/>
                <a:gd name="T36" fmla="*/ 23 h 2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9" name="Freeform 86"/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8550032" y="3616350"/>
              <a:ext cx="10125" cy="52134"/>
            </a:xfrm>
            <a:custGeom>
              <a:avLst/>
              <a:gdLst>
                <a:gd name="T0" fmla="*/ 0 w 26"/>
                <a:gd name="T1" fmla="*/ 0 h 12"/>
                <a:gd name="T2" fmla="*/ 2147483647 w 26"/>
                <a:gd name="T3" fmla="*/ 2147483647 h 12"/>
                <a:gd name="T4" fmla="*/ 2147483647 w 26"/>
                <a:gd name="T5" fmla="*/ 2147483647 h 12"/>
                <a:gd name="T6" fmla="*/ 2147483647 w 26"/>
                <a:gd name="T7" fmla="*/ 2147483647 h 12"/>
                <a:gd name="T8" fmla="*/ 2147483647 w 26"/>
                <a:gd name="T9" fmla="*/ 2147483647 h 12"/>
                <a:gd name="T10" fmla="*/ 2147483647 w 26"/>
                <a:gd name="T11" fmla="*/ 2147483647 h 12"/>
                <a:gd name="T12" fmla="*/ 2147483647 w 26"/>
                <a:gd name="T13" fmla="*/ 2147483647 h 12"/>
                <a:gd name="T14" fmla="*/ 2147483647 w 26"/>
                <a:gd name="T15" fmla="*/ 2147483647 h 12"/>
                <a:gd name="T16" fmla="*/ 2147483647 w 26"/>
                <a:gd name="T17" fmla="*/ 2147483647 h 12"/>
                <a:gd name="T18" fmla="*/ 2147483647 w 26"/>
                <a:gd name="T19" fmla="*/ 2147483647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6"/>
                <a:gd name="T34" fmla="*/ 0 h 12"/>
                <a:gd name="T35" fmla="*/ 26 w 26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0" name="Freeform 87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8732282" y="3919013"/>
              <a:ext cx="28929" cy="52134"/>
            </a:xfrm>
            <a:custGeom>
              <a:avLst/>
              <a:gdLst>
                <a:gd name="T0" fmla="*/ 0 w 73"/>
                <a:gd name="T1" fmla="*/ 0 h 57150"/>
                <a:gd name="T2" fmla="*/ 2147483647 w 73"/>
                <a:gd name="T3" fmla="*/ 0 h 57150"/>
                <a:gd name="T4" fmla="*/ 2147483647 w 73"/>
                <a:gd name="T5" fmla="*/ 0 h 57150"/>
                <a:gd name="T6" fmla="*/ 2147483647 w 73"/>
                <a:gd name="T7" fmla="*/ 0 h 57150"/>
                <a:gd name="T8" fmla="*/ 2147483647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3"/>
                <a:gd name="T16" fmla="*/ 0 h 57150"/>
                <a:gd name="T17" fmla="*/ 73 w 73"/>
                <a:gd name="T18" fmla="*/ 57150 h 5715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1" name="Freeform 88"/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8691782" y="3908877"/>
              <a:ext cx="20250" cy="52134"/>
            </a:xfrm>
            <a:custGeom>
              <a:avLst/>
              <a:gdLst>
                <a:gd name="T0" fmla="*/ 0 w 53"/>
                <a:gd name="T1" fmla="*/ 0 h 3"/>
                <a:gd name="T2" fmla="*/ 2147483647 w 53"/>
                <a:gd name="T3" fmla="*/ 0 h 3"/>
                <a:gd name="T4" fmla="*/ 2147483647 w 53"/>
                <a:gd name="T5" fmla="*/ 2147483647 h 3"/>
                <a:gd name="T6" fmla="*/ 2147483647 w 53"/>
                <a:gd name="T7" fmla="*/ 2147483647 h 3"/>
                <a:gd name="T8" fmla="*/ 2147483647 w 53"/>
                <a:gd name="T9" fmla="*/ 2147483647 h 3"/>
                <a:gd name="T10" fmla="*/ 2147483647 w 53"/>
                <a:gd name="T11" fmla="*/ 2147483647 h 3"/>
                <a:gd name="T12" fmla="*/ 2147483647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3"/>
                <a:gd name="T22" fmla="*/ 0 h 3"/>
                <a:gd name="T23" fmla="*/ 53 w 53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2" name="Line 89"/>
            <p:cNvSpPr>
              <a:spLocks noChangeShapeType="1"/>
            </p:cNvSpPr>
            <p:nvPr>
              <p:custDataLst>
                <p:tags r:id="rId107"/>
              </p:custDataLst>
            </p:nvPr>
          </p:nvSpPr>
          <p:spPr bwMode="auto">
            <a:xfrm>
              <a:off x="8722158" y="3895843"/>
              <a:ext cx="18803" cy="5793"/>
            </a:xfrm>
            <a:prstGeom prst="line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3" name="Freeform 90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8740961" y="3901635"/>
              <a:ext cx="1447" cy="52134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147483647 h 13"/>
                <a:gd name="T4" fmla="*/ 0 w 1588"/>
                <a:gd name="T5" fmla="*/ 2147483647 h 13"/>
                <a:gd name="T6" fmla="*/ 0 60000 65536"/>
                <a:gd name="T7" fmla="*/ 0 60000 65536"/>
                <a:gd name="T8" fmla="*/ 0 60000 65536"/>
                <a:gd name="T9" fmla="*/ 0 w 1588"/>
                <a:gd name="T10" fmla="*/ 0 h 13"/>
                <a:gd name="T11" fmla="*/ 1588 w 1588"/>
                <a:gd name="T12" fmla="*/ 13 h 1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4" name="Freeform 91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8699015" y="3895843"/>
              <a:ext cx="13017" cy="53582"/>
            </a:xfrm>
            <a:custGeom>
              <a:avLst/>
              <a:gdLst>
                <a:gd name="T0" fmla="*/ 0 w 26"/>
                <a:gd name="T1" fmla="*/ 0 h 58738"/>
                <a:gd name="T2" fmla="*/ 2147483647 w 26"/>
                <a:gd name="T3" fmla="*/ 0 h 58738"/>
                <a:gd name="T4" fmla="*/ 2147483647 w 26"/>
                <a:gd name="T5" fmla="*/ 0 h 58738"/>
                <a:gd name="T6" fmla="*/ 0 60000 65536"/>
                <a:gd name="T7" fmla="*/ 0 60000 65536"/>
                <a:gd name="T8" fmla="*/ 0 60000 65536"/>
                <a:gd name="T9" fmla="*/ 0 w 26"/>
                <a:gd name="T10" fmla="*/ 0 h 58738"/>
                <a:gd name="T11" fmla="*/ 26 w 26"/>
                <a:gd name="T12" fmla="*/ 58738 h 5873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5" name="Freeform 92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8693229" y="3878465"/>
              <a:ext cx="5786" cy="55030"/>
            </a:xfrm>
            <a:custGeom>
              <a:avLst/>
              <a:gdLst>
                <a:gd name="T0" fmla="*/ 2147483647 w 20"/>
                <a:gd name="T1" fmla="*/ 0 h 25"/>
                <a:gd name="T2" fmla="*/ 0 w 20"/>
                <a:gd name="T3" fmla="*/ 2147483647 h 25"/>
                <a:gd name="T4" fmla="*/ 2147483647 w 20"/>
                <a:gd name="T5" fmla="*/ 2147483647 h 25"/>
                <a:gd name="T6" fmla="*/ 2147483647 w 20"/>
                <a:gd name="T7" fmla="*/ 2147483647 h 25"/>
                <a:gd name="T8" fmla="*/ 2147483647 w 20"/>
                <a:gd name="T9" fmla="*/ 2147483647 h 25"/>
                <a:gd name="T10" fmla="*/ 2147483647 w 20"/>
                <a:gd name="T11" fmla="*/ 2147483647 h 25"/>
                <a:gd name="T12" fmla="*/ 2147483647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25"/>
                <a:gd name="T23" fmla="*/ 20 w 20"/>
                <a:gd name="T24" fmla="*/ 25 h 2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6" name="Freeform 93"/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8766997" y="3629383"/>
              <a:ext cx="1447" cy="52134"/>
            </a:xfrm>
            <a:custGeom>
              <a:avLst/>
              <a:gdLst>
                <a:gd name="T0" fmla="*/ 0 w 6"/>
                <a:gd name="T1" fmla="*/ 2147483647 h 24"/>
                <a:gd name="T2" fmla="*/ 0 w 6"/>
                <a:gd name="T3" fmla="*/ 0 h 24"/>
                <a:gd name="T4" fmla="*/ 2147483647 w 6"/>
                <a:gd name="T5" fmla="*/ 2147483647 h 24"/>
                <a:gd name="T6" fmla="*/ 0 w 6"/>
                <a:gd name="T7" fmla="*/ 2147483647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24"/>
                <a:gd name="T14" fmla="*/ 6 w 6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8" name="Freeform 95"/>
            <p:cNvSpPr>
              <a:spLocks/>
            </p:cNvSpPr>
            <p:nvPr/>
          </p:nvSpPr>
          <p:spPr bwMode="auto">
            <a:xfrm>
              <a:off x="8712566" y="3367797"/>
              <a:ext cx="7327" cy="13217"/>
            </a:xfrm>
            <a:custGeom>
              <a:avLst/>
              <a:gdLst>
                <a:gd name="T0" fmla="*/ 0 w 19"/>
                <a:gd name="T1" fmla="*/ 0 h 25"/>
                <a:gd name="T2" fmla="*/ 0 w 19"/>
                <a:gd name="T3" fmla="*/ 0 h 25"/>
                <a:gd name="T4" fmla="*/ 0 w 19"/>
                <a:gd name="T5" fmla="*/ 0 h 25"/>
                <a:gd name="T6" fmla="*/ 0 w 19"/>
                <a:gd name="T7" fmla="*/ 0 h 25"/>
                <a:gd name="T8" fmla="*/ 0 w 19"/>
                <a:gd name="T9" fmla="*/ 0 h 25"/>
                <a:gd name="T10" fmla="*/ 0 w 19"/>
                <a:gd name="T11" fmla="*/ 0 h 25"/>
                <a:gd name="T12" fmla="*/ 0 w 19"/>
                <a:gd name="T13" fmla="*/ 0 h 25"/>
                <a:gd name="T14" fmla="*/ 0 w 19"/>
                <a:gd name="T15" fmla="*/ 0 h 25"/>
                <a:gd name="T16" fmla="*/ 0 w 19"/>
                <a:gd name="T17" fmla="*/ 0 h 25"/>
                <a:gd name="T18" fmla="*/ 0 w 19"/>
                <a:gd name="T19" fmla="*/ 0 h 25"/>
                <a:gd name="T20" fmla="*/ 0 w 19"/>
                <a:gd name="T21" fmla="*/ 0 h 25"/>
                <a:gd name="T22" fmla="*/ 0 w 19"/>
                <a:gd name="T23" fmla="*/ 0 h 25"/>
                <a:gd name="T24" fmla="*/ 0 w 19"/>
                <a:gd name="T25" fmla="*/ 0 h 25"/>
                <a:gd name="T26" fmla="*/ 0 w 19"/>
                <a:gd name="T27" fmla="*/ 0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9"/>
                <a:gd name="T43" fmla="*/ 0 h 25"/>
                <a:gd name="T44" fmla="*/ 19 w 19"/>
                <a:gd name="T45" fmla="*/ 25 h 2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9" name="Freeform 96"/>
            <p:cNvSpPr>
              <a:spLocks/>
            </p:cNvSpPr>
            <p:nvPr/>
          </p:nvSpPr>
          <p:spPr bwMode="auto">
            <a:xfrm>
              <a:off x="8652729" y="3386888"/>
              <a:ext cx="8548" cy="8811"/>
            </a:xfrm>
            <a:custGeom>
              <a:avLst/>
              <a:gdLst>
                <a:gd name="T0" fmla="*/ 0 w 26"/>
                <a:gd name="T1" fmla="*/ 0 h 18"/>
                <a:gd name="T2" fmla="*/ 0 w 26"/>
                <a:gd name="T3" fmla="*/ 0 h 18"/>
                <a:gd name="T4" fmla="*/ 0 w 26"/>
                <a:gd name="T5" fmla="*/ 0 h 18"/>
                <a:gd name="T6" fmla="*/ 0 w 26"/>
                <a:gd name="T7" fmla="*/ 0 h 18"/>
                <a:gd name="T8" fmla="*/ 0 w 26"/>
                <a:gd name="T9" fmla="*/ 0 h 18"/>
                <a:gd name="T10" fmla="*/ 0 w 26"/>
                <a:gd name="T11" fmla="*/ 0 h 18"/>
                <a:gd name="T12" fmla="*/ 0 w 26"/>
                <a:gd name="T13" fmla="*/ 0 h 18"/>
                <a:gd name="T14" fmla="*/ 0 w 26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6"/>
                <a:gd name="T25" fmla="*/ 0 h 18"/>
                <a:gd name="T26" fmla="*/ 26 w 26"/>
                <a:gd name="T27" fmla="*/ 18 h 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0" name="Freeform 97"/>
            <p:cNvSpPr>
              <a:spLocks/>
            </p:cNvSpPr>
            <p:nvPr/>
          </p:nvSpPr>
          <p:spPr bwMode="auto">
            <a:xfrm>
              <a:off x="8668604" y="3329615"/>
              <a:ext cx="6106" cy="8811"/>
            </a:xfrm>
            <a:custGeom>
              <a:avLst/>
              <a:gdLst>
                <a:gd name="T0" fmla="*/ 0 w 13"/>
                <a:gd name="T1" fmla="*/ 0 h 18"/>
                <a:gd name="T2" fmla="*/ 0 w 13"/>
                <a:gd name="T3" fmla="*/ 0 h 18"/>
                <a:gd name="T4" fmla="*/ 0 w 13"/>
                <a:gd name="T5" fmla="*/ 0 h 18"/>
                <a:gd name="T6" fmla="*/ 0 60000 65536"/>
                <a:gd name="T7" fmla="*/ 0 60000 65536"/>
                <a:gd name="T8" fmla="*/ 0 60000 65536"/>
                <a:gd name="T9" fmla="*/ 0 w 13"/>
                <a:gd name="T10" fmla="*/ 0 h 18"/>
                <a:gd name="T11" fmla="*/ 13 w 13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1" name="Freeform 98"/>
            <p:cNvSpPr>
              <a:spLocks/>
            </p:cNvSpPr>
            <p:nvPr/>
          </p:nvSpPr>
          <p:spPr bwMode="auto">
            <a:xfrm>
              <a:off x="8710124" y="3332552"/>
              <a:ext cx="9769" cy="11748"/>
            </a:xfrm>
            <a:custGeom>
              <a:avLst/>
              <a:gdLst>
                <a:gd name="T0" fmla="*/ 0 w 26"/>
                <a:gd name="T1" fmla="*/ 0 h 24"/>
                <a:gd name="T2" fmla="*/ 0 w 26"/>
                <a:gd name="T3" fmla="*/ 0 h 24"/>
                <a:gd name="T4" fmla="*/ 0 w 26"/>
                <a:gd name="T5" fmla="*/ 0 h 24"/>
                <a:gd name="T6" fmla="*/ 0 w 26"/>
                <a:gd name="T7" fmla="*/ 0 h 24"/>
                <a:gd name="T8" fmla="*/ 0 w 26"/>
                <a:gd name="T9" fmla="*/ 0 h 24"/>
                <a:gd name="T10" fmla="*/ 0 w 26"/>
                <a:gd name="T11" fmla="*/ 0 h 24"/>
                <a:gd name="T12" fmla="*/ 0 w 26"/>
                <a:gd name="T13" fmla="*/ 0 h 24"/>
                <a:gd name="T14" fmla="*/ 0 w 26"/>
                <a:gd name="T15" fmla="*/ 0 h 24"/>
                <a:gd name="T16" fmla="*/ 0 w 26"/>
                <a:gd name="T17" fmla="*/ 0 h 24"/>
                <a:gd name="T18" fmla="*/ 0 w 26"/>
                <a:gd name="T19" fmla="*/ 0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24"/>
                <a:gd name="T32" fmla="*/ 26 w 26"/>
                <a:gd name="T33" fmla="*/ 24 h 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2" name="Freeform 99"/>
            <p:cNvSpPr>
              <a:spLocks/>
            </p:cNvSpPr>
            <p:nvPr/>
          </p:nvSpPr>
          <p:spPr bwMode="auto">
            <a:xfrm>
              <a:off x="8788278" y="3364860"/>
              <a:ext cx="13433" cy="2937"/>
            </a:xfrm>
            <a:custGeom>
              <a:avLst/>
              <a:gdLst>
                <a:gd name="T0" fmla="*/ 0 w 34"/>
                <a:gd name="T1" fmla="*/ 0 h 6"/>
                <a:gd name="T2" fmla="*/ 0 w 34"/>
                <a:gd name="T3" fmla="*/ 0 h 6"/>
                <a:gd name="T4" fmla="*/ 0 w 34"/>
                <a:gd name="T5" fmla="*/ 0 h 6"/>
                <a:gd name="T6" fmla="*/ 0 w 34"/>
                <a:gd name="T7" fmla="*/ 0 h 6"/>
                <a:gd name="T8" fmla="*/ 0 w 3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6"/>
                <a:gd name="T17" fmla="*/ 34 w 3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3" name="Line 100"/>
            <p:cNvSpPr>
              <a:spLocks noChangeShapeType="1"/>
            </p:cNvSpPr>
            <p:nvPr/>
          </p:nvSpPr>
          <p:spPr bwMode="auto">
            <a:xfrm flipH="1">
              <a:off x="8794384" y="3364860"/>
              <a:ext cx="7327" cy="1469"/>
            </a:xfrm>
            <a:prstGeom prst="line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4" name="Freeform 101"/>
            <p:cNvSpPr>
              <a:spLocks/>
            </p:cNvSpPr>
            <p:nvPr/>
          </p:nvSpPr>
          <p:spPr bwMode="auto">
            <a:xfrm>
              <a:off x="8756528" y="3423602"/>
              <a:ext cx="1221" cy="10280"/>
            </a:xfrm>
            <a:custGeom>
              <a:avLst/>
              <a:gdLst>
                <a:gd name="T0" fmla="*/ 0 w 1"/>
                <a:gd name="T1" fmla="*/ 0 h 19"/>
                <a:gd name="T2" fmla="*/ 0 w 1"/>
                <a:gd name="T3" fmla="*/ 0 h 19"/>
                <a:gd name="T4" fmla="*/ 0 w 1"/>
                <a:gd name="T5" fmla="*/ 0 h 19"/>
                <a:gd name="T6" fmla="*/ 0 60000 65536"/>
                <a:gd name="T7" fmla="*/ 0 60000 65536"/>
                <a:gd name="T8" fmla="*/ 0 60000 65536"/>
                <a:gd name="T9" fmla="*/ 0 w 1"/>
                <a:gd name="T10" fmla="*/ 0 h 19"/>
                <a:gd name="T11" fmla="*/ 1 w 1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5" name="Line 102"/>
            <p:cNvSpPr>
              <a:spLocks noChangeShapeType="1"/>
            </p:cNvSpPr>
            <p:nvPr/>
          </p:nvSpPr>
          <p:spPr bwMode="auto">
            <a:xfrm>
              <a:off x="8756528" y="3423602"/>
              <a:ext cx="7327" cy="1469"/>
            </a:xfrm>
            <a:prstGeom prst="line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6" name="Freeform 103"/>
            <p:cNvSpPr>
              <a:spLocks/>
            </p:cNvSpPr>
            <p:nvPr/>
          </p:nvSpPr>
          <p:spPr bwMode="auto">
            <a:xfrm>
              <a:off x="8758970" y="3423602"/>
              <a:ext cx="4885" cy="2937"/>
            </a:xfrm>
            <a:custGeom>
              <a:avLst/>
              <a:gdLst>
                <a:gd name="T0" fmla="*/ 0 w 14"/>
                <a:gd name="T1" fmla="*/ 0 h 6"/>
                <a:gd name="T2" fmla="*/ 0 w 14"/>
                <a:gd name="T3" fmla="*/ 0 h 6"/>
                <a:gd name="T4" fmla="*/ 0 w 14"/>
                <a:gd name="T5" fmla="*/ 0 h 6"/>
                <a:gd name="T6" fmla="*/ 0 60000 65536"/>
                <a:gd name="T7" fmla="*/ 0 60000 65536"/>
                <a:gd name="T8" fmla="*/ 0 60000 65536"/>
                <a:gd name="T9" fmla="*/ 0 w 14"/>
                <a:gd name="T10" fmla="*/ 0 h 6"/>
                <a:gd name="T11" fmla="*/ 14 w 14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7" name="Freeform 104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7362515" y="3203625"/>
              <a:ext cx="5786" cy="52134"/>
            </a:xfrm>
            <a:custGeom>
              <a:avLst/>
              <a:gdLst>
                <a:gd name="T0" fmla="*/ 2147483647 w 26"/>
                <a:gd name="T1" fmla="*/ 2147483647 h 111"/>
                <a:gd name="T2" fmla="*/ 2147483647 w 26"/>
                <a:gd name="T3" fmla="*/ 2147483647 h 111"/>
                <a:gd name="T4" fmla="*/ 2147483647 w 26"/>
                <a:gd name="T5" fmla="*/ 2147483647 h 111"/>
                <a:gd name="T6" fmla="*/ 2147483647 w 26"/>
                <a:gd name="T7" fmla="*/ 2147483647 h 111"/>
                <a:gd name="T8" fmla="*/ 2147483647 w 26"/>
                <a:gd name="T9" fmla="*/ 2147483647 h 111"/>
                <a:gd name="T10" fmla="*/ 0 w 26"/>
                <a:gd name="T11" fmla="*/ 2147483647 h 111"/>
                <a:gd name="T12" fmla="*/ 0 w 26"/>
                <a:gd name="T13" fmla="*/ 2147483647 h 111"/>
                <a:gd name="T14" fmla="*/ 0 w 26"/>
                <a:gd name="T15" fmla="*/ 2147483647 h 111"/>
                <a:gd name="T16" fmla="*/ 2147483647 w 26"/>
                <a:gd name="T17" fmla="*/ 2147483647 h 111"/>
                <a:gd name="T18" fmla="*/ 2147483647 w 26"/>
                <a:gd name="T19" fmla="*/ 2147483647 h 111"/>
                <a:gd name="T20" fmla="*/ 2147483647 w 26"/>
                <a:gd name="T21" fmla="*/ 2147483647 h 111"/>
                <a:gd name="T22" fmla="*/ 2147483647 w 26"/>
                <a:gd name="T23" fmla="*/ 2147483647 h 111"/>
                <a:gd name="T24" fmla="*/ 2147483647 w 26"/>
                <a:gd name="T25" fmla="*/ 2147483647 h 111"/>
                <a:gd name="T26" fmla="*/ 2147483647 w 26"/>
                <a:gd name="T27" fmla="*/ 2147483647 h 111"/>
                <a:gd name="T28" fmla="*/ 2147483647 w 26"/>
                <a:gd name="T29" fmla="*/ 0 h 111"/>
                <a:gd name="T30" fmla="*/ 2147483647 w 26"/>
                <a:gd name="T31" fmla="*/ 2147483647 h 111"/>
                <a:gd name="T32" fmla="*/ 2147483647 w 26"/>
                <a:gd name="T33" fmla="*/ 2147483647 h 111"/>
                <a:gd name="T34" fmla="*/ 2147483647 w 26"/>
                <a:gd name="T35" fmla="*/ 2147483647 h 111"/>
                <a:gd name="T36" fmla="*/ 2147483647 w 26"/>
                <a:gd name="T37" fmla="*/ 2147483647 h 111"/>
                <a:gd name="T38" fmla="*/ 2147483647 w 26"/>
                <a:gd name="T39" fmla="*/ 2147483647 h 111"/>
                <a:gd name="T40" fmla="*/ 2147483647 w 26"/>
                <a:gd name="T41" fmla="*/ 2147483647 h 111"/>
                <a:gd name="T42" fmla="*/ 2147483647 w 26"/>
                <a:gd name="T43" fmla="*/ 2147483647 h 111"/>
                <a:gd name="T44" fmla="*/ 2147483647 w 26"/>
                <a:gd name="T45" fmla="*/ 2147483647 h 111"/>
                <a:gd name="T46" fmla="*/ 2147483647 w 26"/>
                <a:gd name="T47" fmla="*/ 2147483647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6"/>
                <a:gd name="T73" fmla="*/ 0 h 111"/>
                <a:gd name="T74" fmla="*/ 26 w 26"/>
                <a:gd name="T75" fmla="*/ 111 h 11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8" name="Freeform 105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4537640" y="5155736"/>
              <a:ext cx="49179" cy="53582"/>
            </a:xfrm>
            <a:custGeom>
              <a:avLst/>
              <a:gdLst>
                <a:gd name="T0" fmla="*/ 0 w 126"/>
                <a:gd name="T1" fmla="*/ 2147483647 h 62"/>
                <a:gd name="T2" fmla="*/ 2147483647 w 126"/>
                <a:gd name="T3" fmla="*/ 2147483647 h 62"/>
                <a:gd name="T4" fmla="*/ 2147483647 w 126"/>
                <a:gd name="T5" fmla="*/ 2147483647 h 62"/>
                <a:gd name="T6" fmla="*/ 2147483647 w 126"/>
                <a:gd name="T7" fmla="*/ 2147483647 h 62"/>
                <a:gd name="T8" fmla="*/ 2147483647 w 126"/>
                <a:gd name="T9" fmla="*/ 2147483647 h 62"/>
                <a:gd name="T10" fmla="*/ 2147483647 w 126"/>
                <a:gd name="T11" fmla="*/ 2147483647 h 62"/>
                <a:gd name="T12" fmla="*/ 2147483647 w 126"/>
                <a:gd name="T13" fmla="*/ 2147483647 h 62"/>
                <a:gd name="T14" fmla="*/ 2147483647 w 126"/>
                <a:gd name="T15" fmla="*/ 2147483647 h 62"/>
                <a:gd name="T16" fmla="*/ 2147483647 w 126"/>
                <a:gd name="T17" fmla="*/ 2147483647 h 62"/>
                <a:gd name="T18" fmla="*/ 2147483647 w 126"/>
                <a:gd name="T19" fmla="*/ 2147483647 h 62"/>
                <a:gd name="T20" fmla="*/ 2147483647 w 126"/>
                <a:gd name="T21" fmla="*/ 2147483647 h 62"/>
                <a:gd name="T22" fmla="*/ 2147483647 w 126"/>
                <a:gd name="T23" fmla="*/ 2147483647 h 62"/>
                <a:gd name="T24" fmla="*/ 2147483647 w 126"/>
                <a:gd name="T25" fmla="*/ 2147483647 h 62"/>
                <a:gd name="T26" fmla="*/ 2147483647 w 126"/>
                <a:gd name="T27" fmla="*/ 2147483647 h 62"/>
                <a:gd name="T28" fmla="*/ 2147483647 w 126"/>
                <a:gd name="T29" fmla="*/ 2147483647 h 62"/>
                <a:gd name="T30" fmla="*/ 2147483647 w 126"/>
                <a:gd name="T31" fmla="*/ 2147483647 h 62"/>
                <a:gd name="T32" fmla="*/ 2147483647 w 126"/>
                <a:gd name="T33" fmla="*/ 2147483647 h 62"/>
                <a:gd name="T34" fmla="*/ 2147483647 w 126"/>
                <a:gd name="T35" fmla="*/ 2147483647 h 62"/>
                <a:gd name="T36" fmla="*/ 2147483647 w 126"/>
                <a:gd name="T37" fmla="*/ 2147483647 h 62"/>
                <a:gd name="T38" fmla="*/ 2147483647 w 126"/>
                <a:gd name="T39" fmla="*/ 2147483647 h 62"/>
                <a:gd name="T40" fmla="*/ 2147483647 w 126"/>
                <a:gd name="T41" fmla="*/ 2147483647 h 62"/>
                <a:gd name="T42" fmla="*/ 2147483647 w 126"/>
                <a:gd name="T43" fmla="*/ 2147483647 h 62"/>
                <a:gd name="T44" fmla="*/ 2147483647 w 126"/>
                <a:gd name="T45" fmla="*/ 2147483647 h 62"/>
                <a:gd name="T46" fmla="*/ 2147483647 w 126"/>
                <a:gd name="T47" fmla="*/ 2147483647 h 62"/>
                <a:gd name="T48" fmla="*/ 2147483647 w 126"/>
                <a:gd name="T49" fmla="*/ 0 h 62"/>
                <a:gd name="T50" fmla="*/ 0 w 126"/>
                <a:gd name="T51" fmla="*/ 0 h 62"/>
                <a:gd name="T52" fmla="*/ 0 w 126"/>
                <a:gd name="T53" fmla="*/ 2147483647 h 62"/>
                <a:gd name="T54" fmla="*/ 0 w 126"/>
                <a:gd name="T55" fmla="*/ 2147483647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26"/>
                <a:gd name="T85" fmla="*/ 0 h 62"/>
                <a:gd name="T86" fmla="*/ 126 w 126"/>
                <a:gd name="T87" fmla="*/ 62 h 6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9" name="Freeform 106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6634961" y="5008025"/>
              <a:ext cx="27483" cy="50686"/>
            </a:xfrm>
            <a:custGeom>
              <a:avLst/>
              <a:gdLst>
                <a:gd name="T0" fmla="*/ 0 w 66"/>
                <a:gd name="T1" fmla="*/ 0 h 44"/>
                <a:gd name="T2" fmla="*/ 2147483647 w 66"/>
                <a:gd name="T3" fmla="*/ 2147483647 h 44"/>
                <a:gd name="T4" fmla="*/ 2147483647 w 66"/>
                <a:gd name="T5" fmla="*/ 2147483647 h 44"/>
                <a:gd name="T6" fmla="*/ 2147483647 w 66"/>
                <a:gd name="T7" fmla="*/ 2147483647 h 44"/>
                <a:gd name="T8" fmla="*/ 2147483647 w 66"/>
                <a:gd name="T9" fmla="*/ 2147483647 h 44"/>
                <a:gd name="T10" fmla="*/ 2147483647 w 66"/>
                <a:gd name="T11" fmla="*/ 2147483647 h 44"/>
                <a:gd name="T12" fmla="*/ 2147483647 w 66"/>
                <a:gd name="T13" fmla="*/ 2147483647 h 44"/>
                <a:gd name="T14" fmla="*/ 2147483647 w 66"/>
                <a:gd name="T15" fmla="*/ 2147483647 h 44"/>
                <a:gd name="T16" fmla="*/ 2147483647 w 66"/>
                <a:gd name="T17" fmla="*/ 2147483647 h 44"/>
                <a:gd name="T18" fmla="*/ 2147483647 w 66"/>
                <a:gd name="T19" fmla="*/ 2147483647 h 44"/>
                <a:gd name="T20" fmla="*/ 2147483647 w 66"/>
                <a:gd name="T21" fmla="*/ 2147483647 h 44"/>
                <a:gd name="T22" fmla="*/ 2147483647 w 66"/>
                <a:gd name="T23" fmla="*/ 2147483647 h 44"/>
                <a:gd name="T24" fmla="*/ 2147483647 w 66"/>
                <a:gd name="T25" fmla="*/ 2147483647 h 44"/>
                <a:gd name="T26" fmla="*/ 2147483647 w 66"/>
                <a:gd name="T27" fmla="*/ 2147483647 h 44"/>
                <a:gd name="T28" fmla="*/ 2147483647 w 66"/>
                <a:gd name="T29" fmla="*/ 2147483647 h 44"/>
                <a:gd name="T30" fmla="*/ 2147483647 w 66"/>
                <a:gd name="T31" fmla="*/ 2147483647 h 44"/>
                <a:gd name="T32" fmla="*/ 2147483647 w 66"/>
                <a:gd name="T33" fmla="*/ 2147483647 h 44"/>
                <a:gd name="T34" fmla="*/ 2147483647 w 66"/>
                <a:gd name="T35" fmla="*/ 2147483647 h 44"/>
                <a:gd name="T36" fmla="*/ 0 w 66"/>
                <a:gd name="T37" fmla="*/ 2147483647 h 44"/>
                <a:gd name="T38" fmla="*/ 0 w 66"/>
                <a:gd name="T39" fmla="*/ 2147483647 h 44"/>
                <a:gd name="T40" fmla="*/ 0 w 66"/>
                <a:gd name="T41" fmla="*/ 2147483647 h 44"/>
                <a:gd name="T42" fmla="*/ 0 w 66"/>
                <a:gd name="T43" fmla="*/ 2147483647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6"/>
                <a:gd name="T70" fmla="*/ 0 h 44"/>
                <a:gd name="T71" fmla="*/ 66 w 66"/>
                <a:gd name="T72" fmla="*/ 44 h 4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0" name="Freeform 107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8597765" y="2062480"/>
              <a:ext cx="18803" cy="52134"/>
            </a:xfrm>
            <a:custGeom>
              <a:avLst/>
              <a:gdLst>
                <a:gd name="T0" fmla="*/ 2147483647 w 46"/>
                <a:gd name="T1" fmla="*/ 0 h 16"/>
                <a:gd name="T2" fmla="*/ 2147483647 w 46"/>
                <a:gd name="T3" fmla="*/ 2147483647 h 16"/>
                <a:gd name="T4" fmla="*/ 2147483647 w 46"/>
                <a:gd name="T5" fmla="*/ 2147483647 h 16"/>
                <a:gd name="T6" fmla="*/ 2147483647 w 46"/>
                <a:gd name="T7" fmla="*/ 2147483647 h 16"/>
                <a:gd name="T8" fmla="*/ 2147483647 w 46"/>
                <a:gd name="T9" fmla="*/ 2147483647 h 16"/>
                <a:gd name="T10" fmla="*/ 2147483647 w 46"/>
                <a:gd name="T11" fmla="*/ 2147483647 h 16"/>
                <a:gd name="T12" fmla="*/ 2147483647 w 46"/>
                <a:gd name="T13" fmla="*/ 2147483647 h 16"/>
                <a:gd name="T14" fmla="*/ 2147483647 w 46"/>
                <a:gd name="T15" fmla="*/ 2147483647 h 16"/>
                <a:gd name="T16" fmla="*/ 2147483647 w 46"/>
                <a:gd name="T17" fmla="*/ 2147483647 h 16"/>
                <a:gd name="T18" fmla="*/ 2147483647 w 46"/>
                <a:gd name="T19" fmla="*/ 2147483647 h 16"/>
                <a:gd name="T20" fmla="*/ 0 w 46"/>
                <a:gd name="T21" fmla="*/ 0 h 16"/>
                <a:gd name="T22" fmla="*/ 214748364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6"/>
                <a:gd name="T37" fmla="*/ 0 h 16"/>
                <a:gd name="T38" fmla="*/ 46 w 46"/>
                <a:gd name="T39" fmla="*/ 16 h 1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1" name="Freeform 108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8758318" y="2092892"/>
              <a:ext cx="14464" cy="52134"/>
            </a:xfrm>
            <a:custGeom>
              <a:avLst/>
              <a:gdLst>
                <a:gd name="T0" fmla="*/ 2147483647 w 39"/>
                <a:gd name="T1" fmla="*/ 2147483647 h 26"/>
                <a:gd name="T2" fmla="*/ 2147483647 w 39"/>
                <a:gd name="T3" fmla="*/ 2147483647 h 26"/>
                <a:gd name="T4" fmla="*/ 2147483647 w 39"/>
                <a:gd name="T5" fmla="*/ 2147483647 h 26"/>
                <a:gd name="T6" fmla="*/ 2147483647 w 39"/>
                <a:gd name="T7" fmla="*/ 2147483647 h 26"/>
                <a:gd name="T8" fmla="*/ 2147483647 w 39"/>
                <a:gd name="T9" fmla="*/ 2147483647 h 26"/>
                <a:gd name="T10" fmla="*/ 2147483647 w 39"/>
                <a:gd name="T11" fmla="*/ 2147483647 h 26"/>
                <a:gd name="T12" fmla="*/ 2147483647 w 39"/>
                <a:gd name="T13" fmla="*/ 2147483647 h 26"/>
                <a:gd name="T14" fmla="*/ 2147483647 w 39"/>
                <a:gd name="T15" fmla="*/ 2147483647 h 26"/>
                <a:gd name="T16" fmla="*/ 2147483647 w 39"/>
                <a:gd name="T17" fmla="*/ 2147483647 h 26"/>
                <a:gd name="T18" fmla="*/ 2147483647 w 39"/>
                <a:gd name="T19" fmla="*/ 2147483647 h 26"/>
                <a:gd name="T20" fmla="*/ 0 w 39"/>
                <a:gd name="T21" fmla="*/ 0 h 26"/>
                <a:gd name="T22" fmla="*/ 2147483647 w 39"/>
                <a:gd name="T23" fmla="*/ 2147483647 h 26"/>
                <a:gd name="T24" fmla="*/ 2147483647 w 39"/>
                <a:gd name="T25" fmla="*/ 2147483647 h 26"/>
                <a:gd name="T26" fmla="*/ 2147483647 w 39"/>
                <a:gd name="T27" fmla="*/ 2147483647 h 26"/>
                <a:gd name="T28" fmla="*/ 2147483647 w 39"/>
                <a:gd name="T29" fmla="*/ 2147483647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9"/>
                <a:gd name="T46" fmla="*/ 0 h 26"/>
                <a:gd name="T47" fmla="*/ 39 w 39"/>
                <a:gd name="T48" fmla="*/ 26 h 2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2" name="Freeform 109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8256408" y="2302874"/>
              <a:ext cx="4339" cy="53582"/>
            </a:xfrm>
            <a:custGeom>
              <a:avLst/>
              <a:gdLst>
                <a:gd name="T0" fmla="*/ 2147483647 w 11"/>
                <a:gd name="T1" fmla="*/ 0 h 25"/>
                <a:gd name="T2" fmla="*/ 2147483647 w 11"/>
                <a:gd name="T3" fmla="*/ 2147483647 h 25"/>
                <a:gd name="T4" fmla="*/ 2147483647 w 11"/>
                <a:gd name="T5" fmla="*/ 2147483647 h 25"/>
                <a:gd name="T6" fmla="*/ 2147483647 w 11"/>
                <a:gd name="T7" fmla="*/ 2147483647 h 25"/>
                <a:gd name="T8" fmla="*/ 2147483647 w 11"/>
                <a:gd name="T9" fmla="*/ 2147483647 h 25"/>
                <a:gd name="T10" fmla="*/ 2147483647 w 11"/>
                <a:gd name="T11" fmla="*/ 2147483647 h 25"/>
                <a:gd name="T12" fmla="*/ 2147483647 w 11"/>
                <a:gd name="T13" fmla="*/ 2147483647 h 25"/>
                <a:gd name="T14" fmla="*/ 0 w 11"/>
                <a:gd name="T15" fmla="*/ 2147483647 h 25"/>
                <a:gd name="T16" fmla="*/ 0 w 11"/>
                <a:gd name="T17" fmla="*/ 2147483647 h 25"/>
                <a:gd name="T18" fmla="*/ 2147483647 w 11"/>
                <a:gd name="T19" fmla="*/ 2147483647 h 25"/>
                <a:gd name="T20" fmla="*/ 2147483647 w 11"/>
                <a:gd name="T21" fmla="*/ 2147483647 h 25"/>
                <a:gd name="T22" fmla="*/ 2147483647 w 11"/>
                <a:gd name="T23" fmla="*/ 2147483647 h 25"/>
                <a:gd name="T24" fmla="*/ 2147483647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1"/>
                <a:gd name="T40" fmla="*/ 0 h 25"/>
                <a:gd name="T41" fmla="*/ 11 w 11"/>
                <a:gd name="T42" fmla="*/ 25 h 2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3" name="Freeform 110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8087175" y="2815520"/>
              <a:ext cx="13018" cy="53582"/>
            </a:xfrm>
            <a:custGeom>
              <a:avLst/>
              <a:gdLst>
                <a:gd name="T0" fmla="*/ 2147483647 w 20"/>
                <a:gd name="T1" fmla="*/ 0 h 31"/>
                <a:gd name="T2" fmla="*/ 2147483647 w 20"/>
                <a:gd name="T3" fmla="*/ 2147483647 h 31"/>
                <a:gd name="T4" fmla="*/ 2147483647 w 20"/>
                <a:gd name="T5" fmla="*/ 2147483647 h 31"/>
                <a:gd name="T6" fmla="*/ 2147483647 w 20"/>
                <a:gd name="T7" fmla="*/ 2147483647 h 31"/>
                <a:gd name="T8" fmla="*/ 0 w 20"/>
                <a:gd name="T9" fmla="*/ 2147483647 h 31"/>
                <a:gd name="T10" fmla="*/ 0 w 20"/>
                <a:gd name="T11" fmla="*/ 2147483647 h 31"/>
                <a:gd name="T12" fmla="*/ 2147483647 w 20"/>
                <a:gd name="T13" fmla="*/ 2147483647 h 31"/>
                <a:gd name="T14" fmla="*/ 2147483647 w 20"/>
                <a:gd name="T15" fmla="*/ 2147483647 h 31"/>
                <a:gd name="T16" fmla="*/ 2147483647 w 20"/>
                <a:gd name="T17" fmla="*/ 2147483647 h 31"/>
                <a:gd name="T18" fmla="*/ 2147483647 w 20"/>
                <a:gd name="T19" fmla="*/ 2147483647 h 31"/>
                <a:gd name="T20" fmla="*/ 2147483647 w 20"/>
                <a:gd name="T21" fmla="*/ 2147483647 h 31"/>
                <a:gd name="T22" fmla="*/ 2147483647 w 20"/>
                <a:gd name="T23" fmla="*/ 0 h 31"/>
                <a:gd name="T24" fmla="*/ 2147483647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"/>
                <a:gd name="T40" fmla="*/ 0 h 31"/>
                <a:gd name="T41" fmla="*/ 20 w 20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4" name="Freeform 111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8103086" y="2756146"/>
              <a:ext cx="14464" cy="52134"/>
            </a:xfrm>
            <a:custGeom>
              <a:avLst/>
              <a:gdLst>
                <a:gd name="T0" fmla="*/ 2147483647 w 26"/>
                <a:gd name="T1" fmla="*/ 2147483647 h 37"/>
                <a:gd name="T2" fmla="*/ 0 w 26"/>
                <a:gd name="T3" fmla="*/ 2147483647 h 37"/>
                <a:gd name="T4" fmla="*/ 2147483647 w 26"/>
                <a:gd name="T5" fmla="*/ 2147483647 h 37"/>
                <a:gd name="T6" fmla="*/ 2147483647 w 26"/>
                <a:gd name="T7" fmla="*/ 2147483647 h 37"/>
                <a:gd name="T8" fmla="*/ 2147483647 w 26"/>
                <a:gd name="T9" fmla="*/ 2147483647 h 37"/>
                <a:gd name="T10" fmla="*/ 2147483647 w 26"/>
                <a:gd name="T11" fmla="*/ 0 h 37"/>
                <a:gd name="T12" fmla="*/ 2147483647 w 26"/>
                <a:gd name="T13" fmla="*/ 2147483647 h 37"/>
                <a:gd name="T14" fmla="*/ 2147483647 w 26"/>
                <a:gd name="T15" fmla="*/ 2147483647 h 37"/>
                <a:gd name="T16" fmla="*/ 2147483647 w 26"/>
                <a:gd name="T17" fmla="*/ 2147483647 h 37"/>
                <a:gd name="T18" fmla="*/ 2147483647 w 26"/>
                <a:gd name="T19" fmla="*/ 2147483647 h 37"/>
                <a:gd name="T20" fmla="*/ 2147483647 w 26"/>
                <a:gd name="T21" fmla="*/ 2147483647 h 37"/>
                <a:gd name="T22" fmla="*/ 2147483647 w 26"/>
                <a:gd name="T23" fmla="*/ 2147483647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37"/>
                <a:gd name="T38" fmla="*/ 26 w 26"/>
                <a:gd name="T39" fmla="*/ 37 h 3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5" name="Freeform 112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8001836" y="2618571"/>
              <a:ext cx="1446" cy="55030"/>
            </a:xfrm>
            <a:custGeom>
              <a:avLst/>
              <a:gdLst>
                <a:gd name="T0" fmla="*/ 0 w 7"/>
                <a:gd name="T1" fmla="*/ 2147483647 h 18"/>
                <a:gd name="T2" fmla="*/ 0 w 7"/>
                <a:gd name="T3" fmla="*/ 0 h 18"/>
                <a:gd name="T4" fmla="*/ 2147483647 w 7"/>
                <a:gd name="T5" fmla="*/ 2147483647 h 18"/>
                <a:gd name="T6" fmla="*/ 0 w 7"/>
                <a:gd name="T7" fmla="*/ 2147483647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18"/>
                <a:gd name="T14" fmla="*/ 7 w 7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6" name="Freeform 113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5133568" y="1822087"/>
              <a:ext cx="8679" cy="52134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2147483647 w 33"/>
                <a:gd name="T19" fmla="*/ 2147483647 h 31"/>
                <a:gd name="T20" fmla="*/ 2147483647 w 33"/>
                <a:gd name="T21" fmla="*/ 2147483647 h 31"/>
                <a:gd name="T22" fmla="*/ 0 w 33"/>
                <a:gd name="T23" fmla="*/ 2147483647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3"/>
                <a:gd name="T37" fmla="*/ 0 h 31"/>
                <a:gd name="T38" fmla="*/ 33 w 33"/>
                <a:gd name="T39" fmla="*/ 31 h 3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7" name="Freeform 114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5120551" y="1610656"/>
              <a:ext cx="2893" cy="52134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2147483647 w 14"/>
                <a:gd name="T5" fmla="*/ 0 h 6"/>
                <a:gd name="T6" fmla="*/ 0 60000 65536"/>
                <a:gd name="T7" fmla="*/ 0 60000 65536"/>
                <a:gd name="T8" fmla="*/ 0 60000 65536"/>
                <a:gd name="T9" fmla="*/ 0 w 14"/>
                <a:gd name="T10" fmla="*/ 0 h 6"/>
                <a:gd name="T11" fmla="*/ 14 w 14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8" name="Freeform 115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6470068" y="3232588"/>
              <a:ext cx="23143" cy="50686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2147483647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2147483647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0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2147483647 w 59"/>
                <a:gd name="T41" fmla="*/ 0 h 31"/>
                <a:gd name="T42" fmla="*/ 2147483647 w 59"/>
                <a:gd name="T43" fmla="*/ 0 h 31"/>
                <a:gd name="T44" fmla="*/ 2147483647 w 59"/>
                <a:gd name="T45" fmla="*/ 2147483647 h 31"/>
                <a:gd name="T46" fmla="*/ 2147483647 w 59"/>
                <a:gd name="T47" fmla="*/ 2147483647 h 31"/>
                <a:gd name="T48" fmla="*/ 2147483647 w 59"/>
                <a:gd name="T49" fmla="*/ 214748364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9"/>
                <a:gd name="T76" fmla="*/ 0 h 31"/>
                <a:gd name="T77" fmla="*/ 59 w 59"/>
                <a:gd name="T78" fmla="*/ 31 h 3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9" name="Freeform 116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6199586" y="3106600"/>
              <a:ext cx="17357" cy="53581"/>
            </a:xfrm>
            <a:custGeom>
              <a:avLst/>
              <a:gdLst>
                <a:gd name="T0" fmla="*/ 2147483647 w 47"/>
                <a:gd name="T1" fmla="*/ 0 h 68"/>
                <a:gd name="T2" fmla="*/ 2147483647 w 47"/>
                <a:gd name="T3" fmla="*/ 2147483647 h 68"/>
                <a:gd name="T4" fmla="*/ 2147483647 w 47"/>
                <a:gd name="T5" fmla="*/ 2147483647 h 68"/>
                <a:gd name="T6" fmla="*/ 2147483647 w 47"/>
                <a:gd name="T7" fmla="*/ 2147483647 h 68"/>
                <a:gd name="T8" fmla="*/ 0 w 47"/>
                <a:gd name="T9" fmla="*/ 2147483647 h 68"/>
                <a:gd name="T10" fmla="*/ 0 w 47"/>
                <a:gd name="T11" fmla="*/ 2147483647 h 68"/>
                <a:gd name="T12" fmla="*/ 2147483647 w 47"/>
                <a:gd name="T13" fmla="*/ 2147483647 h 68"/>
                <a:gd name="T14" fmla="*/ 2147483647 w 47"/>
                <a:gd name="T15" fmla="*/ 2147483647 h 68"/>
                <a:gd name="T16" fmla="*/ 2147483647 w 47"/>
                <a:gd name="T17" fmla="*/ 2147483647 h 68"/>
                <a:gd name="T18" fmla="*/ 2147483647 w 47"/>
                <a:gd name="T19" fmla="*/ 2147483647 h 68"/>
                <a:gd name="T20" fmla="*/ 2147483647 w 47"/>
                <a:gd name="T21" fmla="*/ 2147483647 h 68"/>
                <a:gd name="T22" fmla="*/ 2147483647 w 47"/>
                <a:gd name="T23" fmla="*/ 2147483647 h 68"/>
                <a:gd name="T24" fmla="*/ 2147483647 w 47"/>
                <a:gd name="T25" fmla="*/ 2147483647 h 68"/>
                <a:gd name="T26" fmla="*/ 2147483647 w 47"/>
                <a:gd name="T27" fmla="*/ 2147483647 h 68"/>
                <a:gd name="T28" fmla="*/ 2147483647 w 47"/>
                <a:gd name="T29" fmla="*/ 2147483647 h 68"/>
                <a:gd name="T30" fmla="*/ 2147483647 w 47"/>
                <a:gd name="T31" fmla="*/ 2147483647 h 68"/>
                <a:gd name="T32" fmla="*/ 2147483647 w 47"/>
                <a:gd name="T33" fmla="*/ 2147483647 h 68"/>
                <a:gd name="T34" fmla="*/ 2147483647 w 47"/>
                <a:gd name="T35" fmla="*/ 2147483647 h 68"/>
                <a:gd name="T36" fmla="*/ 2147483647 w 47"/>
                <a:gd name="T37" fmla="*/ 2147483647 h 68"/>
                <a:gd name="T38" fmla="*/ 2147483647 w 47"/>
                <a:gd name="T39" fmla="*/ 2147483647 h 68"/>
                <a:gd name="T40" fmla="*/ 2147483647 w 47"/>
                <a:gd name="T41" fmla="*/ 2147483647 h 68"/>
                <a:gd name="T42" fmla="*/ 2147483647 w 47"/>
                <a:gd name="T43" fmla="*/ 2147483647 h 68"/>
                <a:gd name="T44" fmla="*/ 2147483647 w 47"/>
                <a:gd name="T45" fmla="*/ 2147483647 h 68"/>
                <a:gd name="T46" fmla="*/ 2147483647 w 47"/>
                <a:gd name="T47" fmla="*/ 2147483647 h 68"/>
                <a:gd name="T48" fmla="*/ 2147483647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7"/>
                <a:gd name="T76" fmla="*/ 0 h 68"/>
                <a:gd name="T77" fmla="*/ 47 w 47"/>
                <a:gd name="T78" fmla="*/ 68 h 6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1" name="Freeform 118"/>
            <p:cNvSpPr>
              <a:spLocks/>
            </p:cNvSpPr>
            <p:nvPr/>
          </p:nvSpPr>
          <p:spPr bwMode="auto">
            <a:xfrm>
              <a:off x="6931680" y="3610483"/>
              <a:ext cx="6991" cy="8763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6 h 20"/>
                <a:gd name="T4" fmla="*/ 6 w 19"/>
                <a:gd name="T5" fmla="*/ 4 h 20"/>
                <a:gd name="T6" fmla="*/ 4 w 19"/>
                <a:gd name="T7" fmla="*/ 2 h 20"/>
                <a:gd name="T8" fmla="*/ 3 w 19"/>
                <a:gd name="T9" fmla="*/ 1 h 20"/>
                <a:gd name="T10" fmla="*/ 1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20"/>
                <a:gd name="T23" fmla="*/ 19 w 19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2" name="Freeform 119"/>
            <p:cNvSpPr>
              <a:spLocks/>
            </p:cNvSpPr>
            <p:nvPr/>
          </p:nvSpPr>
          <p:spPr bwMode="auto">
            <a:xfrm>
              <a:off x="6931680" y="3590035"/>
              <a:ext cx="6991" cy="5842"/>
            </a:xfrm>
            <a:custGeom>
              <a:avLst/>
              <a:gdLst>
                <a:gd name="T0" fmla="*/ 4 w 19"/>
                <a:gd name="T1" fmla="*/ 4 h 12"/>
                <a:gd name="T2" fmla="*/ 6 w 19"/>
                <a:gd name="T3" fmla="*/ 0 h 12"/>
                <a:gd name="T4" fmla="*/ 0 w 19"/>
                <a:gd name="T5" fmla="*/ 0 h 12"/>
                <a:gd name="T6" fmla="*/ 4 w 19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2"/>
                <a:gd name="T14" fmla="*/ 19 w 19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3" name="Freeform 120"/>
            <p:cNvSpPr>
              <a:spLocks/>
            </p:cNvSpPr>
            <p:nvPr/>
          </p:nvSpPr>
          <p:spPr bwMode="auto">
            <a:xfrm>
              <a:off x="6931680" y="3579812"/>
              <a:ext cx="6991" cy="1461"/>
            </a:xfrm>
            <a:custGeom>
              <a:avLst/>
              <a:gdLst>
                <a:gd name="T0" fmla="*/ 0 w 19"/>
                <a:gd name="T1" fmla="*/ 0 h 1"/>
                <a:gd name="T2" fmla="*/ 3 w 19"/>
                <a:gd name="T3" fmla="*/ 0 h 1"/>
                <a:gd name="T4" fmla="*/ 6 w 19"/>
                <a:gd name="T5" fmla="*/ 0 h 1"/>
                <a:gd name="T6" fmla="*/ 3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"/>
                <a:gd name="T17" fmla="*/ 19 w 19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4" name="Rectangle 121"/>
            <p:cNvSpPr>
              <a:spLocks noChangeArrowheads="1"/>
            </p:cNvSpPr>
            <p:nvPr/>
          </p:nvSpPr>
          <p:spPr bwMode="auto">
            <a:xfrm>
              <a:off x="6931680" y="3572509"/>
              <a:ext cx="9321" cy="2921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5" name="Line 122"/>
            <p:cNvSpPr>
              <a:spLocks noChangeShapeType="1"/>
            </p:cNvSpPr>
            <p:nvPr/>
          </p:nvSpPr>
          <p:spPr bwMode="auto">
            <a:xfrm flipV="1">
              <a:off x="6928185" y="3518469"/>
              <a:ext cx="5826" cy="5842"/>
            </a:xfrm>
            <a:prstGeom prst="line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6" name="Freeform 123"/>
            <p:cNvSpPr>
              <a:spLocks/>
            </p:cNvSpPr>
            <p:nvPr/>
          </p:nvSpPr>
          <p:spPr bwMode="auto">
            <a:xfrm>
              <a:off x="6931680" y="3518469"/>
              <a:ext cx="2330" cy="1461"/>
            </a:xfrm>
            <a:custGeom>
              <a:avLst/>
              <a:gdLst>
                <a:gd name="T0" fmla="*/ 2 w 6"/>
                <a:gd name="T1" fmla="*/ 0 h 3"/>
                <a:gd name="T2" fmla="*/ 2 w 6"/>
                <a:gd name="T3" fmla="*/ 0 h 3"/>
                <a:gd name="T4" fmla="*/ 1 w 6"/>
                <a:gd name="T5" fmla="*/ 1 h 3"/>
                <a:gd name="T6" fmla="*/ 0 w 6"/>
                <a:gd name="T7" fmla="*/ 1 h 3"/>
                <a:gd name="T8" fmla="*/ 0 w 6"/>
                <a:gd name="T9" fmla="*/ 1 h 3"/>
                <a:gd name="T10" fmla="*/ 0 w 6"/>
                <a:gd name="T11" fmla="*/ 1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3"/>
                <a:gd name="T23" fmla="*/ 6 w 6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7" name="Freeform 124"/>
            <p:cNvSpPr>
              <a:spLocks/>
            </p:cNvSpPr>
            <p:nvPr/>
          </p:nvSpPr>
          <p:spPr bwMode="auto">
            <a:xfrm>
              <a:off x="6938671" y="3460048"/>
              <a:ext cx="5826" cy="11684"/>
            </a:xfrm>
            <a:custGeom>
              <a:avLst/>
              <a:gdLst>
                <a:gd name="T0" fmla="*/ 5 w 14"/>
                <a:gd name="T1" fmla="*/ 0 h 24"/>
                <a:gd name="T2" fmla="*/ 5 w 14"/>
                <a:gd name="T3" fmla="*/ 2 h 24"/>
                <a:gd name="T4" fmla="*/ 3 w 14"/>
                <a:gd name="T5" fmla="*/ 4 h 24"/>
                <a:gd name="T6" fmla="*/ 2 w 14"/>
                <a:gd name="T7" fmla="*/ 6 h 24"/>
                <a:gd name="T8" fmla="*/ 0 w 14"/>
                <a:gd name="T9" fmla="*/ 8 h 24"/>
                <a:gd name="T10" fmla="*/ 0 w 14"/>
                <a:gd name="T11" fmla="*/ 5 h 24"/>
                <a:gd name="T12" fmla="*/ 0 w 14"/>
                <a:gd name="T13" fmla="*/ 4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24"/>
                <a:gd name="T23" fmla="*/ 14 w 14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8" name="Line 125"/>
            <p:cNvSpPr>
              <a:spLocks noChangeShapeType="1"/>
            </p:cNvSpPr>
            <p:nvPr/>
          </p:nvSpPr>
          <p:spPr bwMode="auto">
            <a:xfrm>
              <a:off x="6938671" y="3465890"/>
              <a:ext cx="2330" cy="1461"/>
            </a:xfrm>
            <a:prstGeom prst="line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9" name="Freeform 126"/>
            <p:cNvSpPr>
              <a:spLocks/>
            </p:cNvSpPr>
            <p:nvPr/>
          </p:nvSpPr>
          <p:spPr bwMode="auto">
            <a:xfrm>
              <a:off x="6934011" y="3484877"/>
              <a:ext cx="4661" cy="4382"/>
            </a:xfrm>
            <a:custGeom>
              <a:avLst/>
              <a:gdLst>
                <a:gd name="T0" fmla="*/ 4 w 13"/>
                <a:gd name="T1" fmla="*/ 3 h 12"/>
                <a:gd name="T2" fmla="*/ 0 w 13"/>
                <a:gd name="T3" fmla="*/ 0 h 12"/>
                <a:gd name="T4" fmla="*/ 4 w 13"/>
                <a:gd name="T5" fmla="*/ 3 h 12"/>
                <a:gd name="T6" fmla="*/ 0 60000 65536"/>
                <a:gd name="T7" fmla="*/ 0 60000 65536"/>
                <a:gd name="T8" fmla="*/ 0 60000 65536"/>
                <a:gd name="T9" fmla="*/ 0 w 13"/>
                <a:gd name="T10" fmla="*/ 0 h 12"/>
                <a:gd name="T11" fmla="*/ 13 w 13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0" name="Freeform 127"/>
            <p:cNvSpPr>
              <a:spLocks/>
            </p:cNvSpPr>
            <p:nvPr/>
          </p:nvSpPr>
          <p:spPr bwMode="auto">
            <a:xfrm>
              <a:off x="6938671" y="3503864"/>
              <a:ext cx="2330" cy="8763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6 h 19"/>
                <a:gd name="T4" fmla="*/ 0 w 7"/>
                <a:gd name="T5" fmla="*/ 0 h 19"/>
                <a:gd name="T6" fmla="*/ 2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19"/>
                <a:gd name="T14" fmla="*/ 7 w 7"/>
                <a:gd name="T15" fmla="*/ 19 h 1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1" name="Line 128"/>
            <p:cNvSpPr>
              <a:spLocks noChangeShapeType="1"/>
            </p:cNvSpPr>
            <p:nvPr/>
          </p:nvSpPr>
          <p:spPr bwMode="auto">
            <a:xfrm flipV="1">
              <a:off x="6938671" y="3524312"/>
              <a:ext cx="1165" cy="5842"/>
            </a:xfrm>
            <a:prstGeom prst="line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2" name="Freeform 129"/>
            <p:cNvSpPr>
              <a:spLocks/>
            </p:cNvSpPr>
            <p:nvPr/>
          </p:nvSpPr>
          <p:spPr bwMode="auto">
            <a:xfrm>
              <a:off x="6925854" y="3445443"/>
              <a:ext cx="2330" cy="8763"/>
            </a:xfrm>
            <a:custGeom>
              <a:avLst/>
              <a:gdLst>
                <a:gd name="T0" fmla="*/ 0 w 8"/>
                <a:gd name="T1" fmla="*/ 6 h 18"/>
                <a:gd name="T2" fmla="*/ 2 w 8"/>
                <a:gd name="T3" fmla="*/ 2 h 18"/>
                <a:gd name="T4" fmla="*/ 0 w 8"/>
                <a:gd name="T5" fmla="*/ 0 h 18"/>
                <a:gd name="T6" fmla="*/ 0 w 8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8"/>
                <a:gd name="T14" fmla="*/ 8 w 8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3" name="Freeform 130"/>
            <p:cNvSpPr>
              <a:spLocks/>
            </p:cNvSpPr>
            <p:nvPr/>
          </p:nvSpPr>
          <p:spPr bwMode="auto">
            <a:xfrm>
              <a:off x="6923524" y="3426456"/>
              <a:ext cx="2330" cy="10224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7 h 19"/>
                <a:gd name="T4" fmla="*/ 2 w 6"/>
                <a:gd name="T5" fmla="*/ 5 h 19"/>
                <a:gd name="T6" fmla="*/ 0 60000 65536"/>
                <a:gd name="T7" fmla="*/ 0 60000 65536"/>
                <a:gd name="T8" fmla="*/ 0 60000 65536"/>
                <a:gd name="T9" fmla="*/ 0 w 6"/>
                <a:gd name="T10" fmla="*/ 0 h 19"/>
                <a:gd name="T11" fmla="*/ 6 w 6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4" name="Freeform 131"/>
            <p:cNvSpPr>
              <a:spLocks/>
            </p:cNvSpPr>
            <p:nvPr/>
          </p:nvSpPr>
          <p:spPr bwMode="auto">
            <a:xfrm>
              <a:off x="6920029" y="3398706"/>
              <a:ext cx="11652" cy="7303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5 h 19"/>
                <a:gd name="T4" fmla="*/ 10 w 28"/>
                <a:gd name="T5" fmla="*/ 5 h 19"/>
                <a:gd name="T6" fmla="*/ 0 60000 65536"/>
                <a:gd name="T7" fmla="*/ 0 60000 65536"/>
                <a:gd name="T8" fmla="*/ 0 60000 65536"/>
                <a:gd name="T9" fmla="*/ 0 w 28"/>
                <a:gd name="T10" fmla="*/ 0 h 19"/>
                <a:gd name="T11" fmla="*/ 28 w 28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5" name="Freeform 132"/>
            <p:cNvSpPr>
              <a:spLocks/>
            </p:cNvSpPr>
            <p:nvPr/>
          </p:nvSpPr>
          <p:spPr bwMode="auto">
            <a:xfrm>
              <a:off x="6925854" y="3398706"/>
              <a:ext cx="5826" cy="7303"/>
            </a:xfrm>
            <a:custGeom>
              <a:avLst/>
              <a:gdLst>
                <a:gd name="T0" fmla="*/ 5 w 15"/>
                <a:gd name="T1" fmla="*/ 5 h 19"/>
                <a:gd name="T2" fmla="*/ 3 w 15"/>
                <a:gd name="T3" fmla="*/ 2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  <a:gd name="T9" fmla="*/ 0 w 15"/>
                <a:gd name="T10" fmla="*/ 0 h 19"/>
                <a:gd name="T11" fmla="*/ 15 w 15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6" name="Freeform 133"/>
            <p:cNvSpPr>
              <a:spLocks/>
            </p:cNvSpPr>
            <p:nvPr/>
          </p:nvSpPr>
          <p:spPr bwMode="auto">
            <a:xfrm>
              <a:off x="6931680" y="3610483"/>
              <a:ext cx="6991" cy="8763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6 h 20"/>
                <a:gd name="T4" fmla="*/ 6 w 19"/>
                <a:gd name="T5" fmla="*/ 4 h 20"/>
                <a:gd name="T6" fmla="*/ 4 w 19"/>
                <a:gd name="T7" fmla="*/ 2 h 20"/>
                <a:gd name="T8" fmla="*/ 3 w 19"/>
                <a:gd name="T9" fmla="*/ 1 h 20"/>
                <a:gd name="T10" fmla="*/ 1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20"/>
                <a:gd name="T23" fmla="*/ 19 w 19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7" name="Freeform 134"/>
            <p:cNvSpPr>
              <a:spLocks/>
            </p:cNvSpPr>
            <p:nvPr/>
          </p:nvSpPr>
          <p:spPr bwMode="auto">
            <a:xfrm>
              <a:off x="6931680" y="3590035"/>
              <a:ext cx="6991" cy="5842"/>
            </a:xfrm>
            <a:custGeom>
              <a:avLst/>
              <a:gdLst>
                <a:gd name="T0" fmla="*/ 4 w 19"/>
                <a:gd name="T1" fmla="*/ 4 h 12"/>
                <a:gd name="T2" fmla="*/ 6 w 19"/>
                <a:gd name="T3" fmla="*/ 0 h 12"/>
                <a:gd name="T4" fmla="*/ 0 w 19"/>
                <a:gd name="T5" fmla="*/ 0 h 12"/>
                <a:gd name="T6" fmla="*/ 4 w 19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2"/>
                <a:gd name="T14" fmla="*/ 19 w 19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8" name="Freeform 135"/>
            <p:cNvSpPr>
              <a:spLocks/>
            </p:cNvSpPr>
            <p:nvPr/>
          </p:nvSpPr>
          <p:spPr bwMode="auto">
            <a:xfrm>
              <a:off x="6931680" y="3579812"/>
              <a:ext cx="6991" cy="1461"/>
            </a:xfrm>
            <a:custGeom>
              <a:avLst/>
              <a:gdLst>
                <a:gd name="T0" fmla="*/ 0 w 19"/>
                <a:gd name="T1" fmla="*/ 0 h 1"/>
                <a:gd name="T2" fmla="*/ 3 w 19"/>
                <a:gd name="T3" fmla="*/ 0 h 1"/>
                <a:gd name="T4" fmla="*/ 6 w 19"/>
                <a:gd name="T5" fmla="*/ 0 h 1"/>
                <a:gd name="T6" fmla="*/ 3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"/>
                <a:gd name="T17" fmla="*/ 19 w 19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9" name="Rectangle 136"/>
            <p:cNvSpPr>
              <a:spLocks noChangeArrowheads="1"/>
            </p:cNvSpPr>
            <p:nvPr/>
          </p:nvSpPr>
          <p:spPr bwMode="auto">
            <a:xfrm>
              <a:off x="6931680" y="3572509"/>
              <a:ext cx="9321" cy="2921"/>
            </a:xfrm>
            <a:prstGeom prst="rect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0" name="Line 137"/>
            <p:cNvSpPr>
              <a:spLocks noChangeShapeType="1"/>
            </p:cNvSpPr>
            <p:nvPr/>
          </p:nvSpPr>
          <p:spPr bwMode="auto">
            <a:xfrm flipV="1">
              <a:off x="6928185" y="3518469"/>
              <a:ext cx="5826" cy="5842"/>
            </a:xfrm>
            <a:prstGeom prst="line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1" name="Freeform 138"/>
            <p:cNvSpPr>
              <a:spLocks/>
            </p:cNvSpPr>
            <p:nvPr/>
          </p:nvSpPr>
          <p:spPr bwMode="auto">
            <a:xfrm>
              <a:off x="6931680" y="3518469"/>
              <a:ext cx="2330" cy="1461"/>
            </a:xfrm>
            <a:custGeom>
              <a:avLst/>
              <a:gdLst>
                <a:gd name="T0" fmla="*/ 2 w 6"/>
                <a:gd name="T1" fmla="*/ 0 h 3"/>
                <a:gd name="T2" fmla="*/ 2 w 6"/>
                <a:gd name="T3" fmla="*/ 0 h 3"/>
                <a:gd name="T4" fmla="*/ 1 w 6"/>
                <a:gd name="T5" fmla="*/ 1 h 3"/>
                <a:gd name="T6" fmla="*/ 0 w 6"/>
                <a:gd name="T7" fmla="*/ 1 h 3"/>
                <a:gd name="T8" fmla="*/ 0 w 6"/>
                <a:gd name="T9" fmla="*/ 1 h 3"/>
                <a:gd name="T10" fmla="*/ 0 w 6"/>
                <a:gd name="T11" fmla="*/ 1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3"/>
                <a:gd name="T23" fmla="*/ 6 w 6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2" name="Freeform 139"/>
            <p:cNvSpPr>
              <a:spLocks/>
            </p:cNvSpPr>
            <p:nvPr/>
          </p:nvSpPr>
          <p:spPr bwMode="auto">
            <a:xfrm>
              <a:off x="6938671" y="3460048"/>
              <a:ext cx="5826" cy="11684"/>
            </a:xfrm>
            <a:custGeom>
              <a:avLst/>
              <a:gdLst>
                <a:gd name="T0" fmla="*/ 5 w 14"/>
                <a:gd name="T1" fmla="*/ 0 h 24"/>
                <a:gd name="T2" fmla="*/ 5 w 14"/>
                <a:gd name="T3" fmla="*/ 2 h 24"/>
                <a:gd name="T4" fmla="*/ 3 w 14"/>
                <a:gd name="T5" fmla="*/ 4 h 24"/>
                <a:gd name="T6" fmla="*/ 2 w 14"/>
                <a:gd name="T7" fmla="*/ 6 h 24"/>
                <a:gd name="T8" fmla="*/ 0 w 14"/>
                <a:gd name="T9" fmla="*/ 8 h 24"/>
                <a:gd name="T10" fmla="*/ 0 w 14"/>
                <a:gd name="T11" fmla="*/ 5 h 24"/>
                <a:gd name="T12" fmla="*/ 0 w 14"/>
                <a:gd name="T13" fmla="*/ 4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24"/>
                <a:gd name="T23" fmla="*/ 14 w 14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3" name="Line 140"/>
            <p:cNvSpPr>
              <a:spLocks noChangeShapeType="1"/>
            </p:cNvSpPr>
            <p:nvPr/>
          </p:nvSpPr>
          <p:spPr bwMode="auto">
            <a:xfrm>
              <a:off x="6938671" y="3465890"/>
              <a:ext cx="2330" cy="1461"/>
            </a:xfrm>
            <a:prstGeom prst="line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4" name="Freeform 141"/>
            <p:cNvSpPr>
              <a:spLocks/>
            </p:cNvSpPr>
            <p:nvPr/>
          </p:nvSpPr>
          <p:spPr bwMode="auto">
            <a:xfrm>
              <a:off x="6934011" y="3484877"/>
              <a:ext cx="4661" cy="4382"/>
            </a:xfrm>
            <a:custGeom>
              <a:avLst/>
              <a:gdLst>
                <a:gd name="T0" fmla="*/ 4 w 13"/>
                <a:gd name="T1" fmla="*/ 3 h 12"/>
                <a:gd name="T2" fmla="*/ 0 w 13"/>
                <a:gd name="T3" fmla="*/ 0 h 12"/>
                <a:gd name="T4" fmla="*/ 4 w 13"/>
                <a:gd name="T5" fmla="*/ 3 h 12"/>
                <a:gd name="T6" fmla="*/ 0 60000 65536"/>
                <a:gd name="T7" fmla="*/ 0 60000 65536"/>
                <a:gd name="T8" fmla="*/ 0 60000 65536"/>
                <a:gd name="T9" fmla="*/ 0 w 13"/>
                <a:gd name="T10" fmla="*/ 0 h 12"/>
                <a:gd name="T11" fmla="*/ 13 w 13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5" name="Freeform 142"/>
            <p:cNvSpPr>
              <a:spLocks/>
            </p:cNvSpPr>
            <p:nvPr/>
          </p:nvSpPr>
          <p:spPr bwMode="auto">
            <a:xfrm>
              <a:off x="6938671" y="3503864"/>
              <a:ext cx="2330" cy="8763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6 h 19"/>
                <a:gd name="T4" fmla="*/ 0 w 7"/>
                <a:gd name="T5" fmla="*/ 0 h 19"/>
                <a:gd name="T6" fmla="*/ 2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19"/>
                <a:gd name="T14" fmla="*/ 7 w 7"/>
                <a:gd name="T15" fmla="*/ 19 h 1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6" name="Line 143"/>
            <p:cNvSpPr>
              <a:spLocks noChangeShapeType="1"/>
            </p:cNvSpPr>
            <p:nvPr/>
          </p:nvSpPr>
          <p:spPr bwMode="auto">
            <a:xfrm flipV="1">
              <a:off x="6938671" y="3524312"/>
              <a:ext cx="1165" cy="5842"/>
            </a:xfrm>
            <a:prstGeom prst="line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7" name="Freeform 144"/>
            <p:cNvSpPr>
              <a:spLocks/>
            </p:cNvSpPr>
            <p:nvPr/>
          </p:nvSpPr>
          <p:spPr bwMode="auto">
            <a:xfrm>
              <a:off x="6925854" y="3445443"/>
              <a:ext cx="2330" cy="8763"/>
            </a:xfrm>
            <a:custGeom>
              <a:avLst/>
              <a:gdLst>
                <a:gd name="T0" fmla="*/ 0 w 8"/>
                <a:gd name="T1" fmla="*/ 6 h 18"/>
                <a:gd name="T2" fmla="*/ 2 w 8"/>
                <a:gd name="T3" fmla="*/ 2 h 18"/>
                <a:gd name="T4" fmla="*/ 0 w 8"/>
                <a:gd name="T5" fmla="*/ 0 h 18"/>
                <a:gd name="T6" fmla="*/ 0 w 8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8"/>
                <a:gd name="T14" fmla="*/ 8 w 8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8" name="Freeform 145"/>
            <p:cNvSpPr>
              <a:spLocks/>
            </p:cNvSpPr>
            <p:nvPr/>
          </p:nvSpPr>
          <p:spPr bwMode="auto">
            <a:xfrm>
              <a:off x="6923524" y="3426456"/>
              <a:ext cx="2330" cy="10224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7 h 19"/>
                <a:gd name="T4" fmla="*/ 2 w 6"/>
                <a:gd name="T5" fmla="*/ 5 h 19"/>
                <a:gd name="T6" fmla="*/ 0 60000 65536"/>
                <a:gd name="T7" fmla="*/ 0 60000 65536"/>
                <a:gd name="T8" fmla="*/ 0 60000 65536"/>
                <a:gd name="T9" fmla="*/ 0 w 6"/>
                <a:gd name="T10" fmla="*/ 0 h 19"/>
                <a:gd name="T11" fmla="*/ 6 w 6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9" name="Freeform 146"/>
            <p:cNvSpPr>
              <a:spLocks/>
            </p:cNvSpPr>
            <p:nvPr/>
          </p:nvSpPr>
          <p:spPr bwMode="auto">
            <a:xfrm>
              <a:off x="6920029" y="3398706"/>
              <a:ext cx="11652" cy="7303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5 h 19"/>
                <a:gd name="T4" fmla="*/ 10 w 28"/>
                <a:gd name="T5" fmla="*/ 5 h 19"/>
                <a:gd name="T6" fmla="*/ 0 60000 65536"/>
                <a:gd name="T7" fmla="*/ 0 60000 65536"/>
                <a:gd name="T8" fmla="*/ 0 60000 65536"/>
                <a:gd name="T9" fmla="*/ 0 w 28"/>
                <a:gd name="T10" fmla="*/ 0 h 19"/>
                <a:gd name="T11" fmla="*/ 28 w 28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0" name="Freeform 147"/>
            <p:cNvSpPr>
              <a:spLocks/>
            </p:cNvSpPr>
            <p:nvPr/>
          </p:nvSpPr>
          <p:spPr bwMode="auto">
            <a:xfrm>
              <a:off x="6925854" y="3398706"/>
              <a:ext cx="5826" cy="7303"/>
            </a:xfrm>
            <a:custGeom>
              <a:avLst/>
              <a:gdLst>
                <a:gd name="T0" fmla="*/ 5 w 15"/>
                <a:gd name="T1" fmla="*/ 5 h 19"/>
                <a:gd name="T2" fmla="*/ 3 w 15"/>
                <a:gd name="T3" fmla="*/ 2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  <a:gd name="T9" fmla="*/ 0 w 15"/>
                <a:gd name="T10" fmla="*/ 0 h 19"/>
                <a:gd name="T11" fmla="*/ 15 w 15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1" name="Freeform 148"/>
            <p:cNvSpPr>
              <a:spLocks/>
            </p:cNvSpPr>
            <p:nvPr/>
          </p:nvSpPr>
          <p:spPr bwMode="auto">
            <a:xfrm>
              <a:off x="6902551" y="3277482"/>
              <a:ext cx="8156" cy="8763"/>
            </a:xfrm>
            <a:custGeom>
              <a:avLst/>
              <a:gdLst>
                <a:gd name="T0" fmla="*/ 5 w 20"/>
                <a:gd name="T1" fmla="*/ 6 h 18"/>
                <a:gd name="T2" fmla="*/ 7 w 20"/>
                <a:gd name="T3" fmla="*/ 0 h 18"/>
                <a:gd name="T4" fmla="*/ 0 w 20"/>
                <a:gd name="T5" fmla="*/ 0 h 18"/>
                <a:gd name="T6" fmla="*/ 5 w 20"/>
                <a:gd name="T7" fmla="*/ 6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18"/>
                <a:gd name="T14" fmla="*/ 20 w 20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3" name="Freeform 150"/>
            <p:cNvSpPr>
              <a:spLocks/>
            </p:cNvSpPr>
            <p:nvPr/>
          </p:nvSpPr>
          <p:spPr bwMode="auto">
            <a:xfrm>
              <a:off x="8918999" y="3826957"/>
              <a:ext cx="16059" cy="41470"/>
            </a:xfrm>
            <a:custGeom>
              <a:avLst/>
              <a:gdLst>
                <a:gd name="T0" fmla="*/ 0 w 40"/>
                <a:gd name="T1" fmla="*/ 10 h 87"/>
                <a:gd name="T2" fmla="*/ 0 w 40"/>
                <a:gd name="T3" fmla="*/ 14 h 87"/>
                <a:gd name="T4" fmla="*/ 1 w 40"/>
                <a:gd name="T5" fmla="*/ 16 h 87"/>
                <a:gd name="T6" fmla="*/ 2 w 40"/>
                <a:gd name="T7" fmla="*/ 19 h 87"/>
                <a:gd name="T8" fmla="*/ 3 w 40"/>
                <a:gd name="T9" fmla="*/ 21 h 87"/>
                <a:gd name="T10" fmla="*/ 5 w 40"/>
                <a:gd name="T11" fmla="*/ 23 h 87"/>
                <a:gd name="T12" fmla="*/ 7 w 40"/>
                <a:gd name="T13" fmla="*/ 25 h 87"/>
                <a:gd name="T14" fmla="*/ 10 w 40"/>
                <a:gd name="T15" fmla="*/ 26 h 87"/>
                <a:gd name="T16" fmla="*/ 13 w 40"/>
                <a:gd name="T17" fmla="*/ 28 h 87"/>
                <a:gd name="T18" fmla="*/ 11 w 40"/>
                <a:gd name="T19" fmla="*/ 26 h 87"/>
                <a:gd name="T20" fmla="*/ 10 w 40"/>
                <a:gd name="T21" fmla="*/ 25 h 87"/>
                <a:gd name="T22" fmla="*/ 9 w 40"/>
                <a:gd name="T23" fmla="*/ 23 h 87"/>
                <a:gd name="T24" fmla="*/ 8 w 40"/>
                <a:gd name="T25" fmla="*/ 21 h 87"/>
                <a:gd name="T26" fmla="*/ 7 w 40"/>
                <a:gd name="T27" fmla="*/ 17 h 87"/>
                <a:gd name="T28" fmla="*/ 7 w 40"/>
                <a:gd name="T29" fmla="*/ 13 h 87"/>
                <a:gd name="T30" fmla="*/ 6 w 40"/>
                <a:gd name="T31" fmla="*/ 9 h 87"/>
                <a:gd name="T32" fmla="*/ 4 w 40"/>
                <a:gd name="T33" fmla="*/ 5 h 87"/>
                <a:gd name="T34" fmla="*/ 4 w 40"/>
                <a:gd name="T35" fmla="*/ 4 h 87"/>
                <a:gd name="T36" fmla="*/ 3 w 40"/>
                <a:gd name="T37" fmla="*/ 2 h 87"/>
                <a:gd name="T38" fmla="*/ 1 w 40"/>
                <a:gd name="T39" fmla="*/ 1 h 87"/>
                <a:gd name="T40" fmla="*/ 0 w 40"/>
                <a:gd name="T41" fmla="*/ 0 h 87"/>
                <a:gd name="T42" fmla="*/ 0 w 40"/>
                <a:gd name="T43" fmla="*/ 3 h 87"/>
                <a:gd name="T44" fmla="*/ 0 w 40"/>
                <a:gd name="T45" fmla="*/ 5 h 87"/>
                <a:gd name="T46" fmla="*/ 0 w 40"/>
                <a:gd name="T47" fmla="*/ 7 h 87"/>
                <a:gd name="T48" fmla="*/ 0 w 40"/>
                <a:gd name="T49" fmla="*/ 10 h 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0"/>
                <a:gd name="T76" fmla="*/ 0 h 87"/>
                <a:gd name="T77" fmla="*/ 40 w 40"/>
                <a:gd name="T78" fmla="*/ 87 h 8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solidFill>
              <a:srgbClr val="FFC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4" name="Freeform 151"/>
            <p:cNvSpPr>
              <a:spLocks/>
            </p:cNvSpPr>
            <p:nvPr/>
          </p:nvSpPr>
          <p:spPr bwMode="auto">
            <a:xfrm>
              <a:off x="8928881" y="3880276"/>
              <a:ext cx="24706" cy="17773"/>
            </a:xfrm>
            <a:custGeom>
              <a:avLst/>
              <a:gdLst>
                <a:gd name="T0" fmla="*/ 0 w 61"/>
                <a:gd name="T1" fmla="*/ 10 h 37"/>
                <a:gd name="T2" fmla="*/ 6 w 61"/>
                <a:gd name="T3" fmla="*/ 10 h 37"/>
                <a:gd name="T4" fmla="*/ 11 w 61"/>
                <a:gd name="T5" fmla="*/ 11 h 37"/>
                <a:gd name="T6" fmla="*/ 16 w 61"/>
                <a:gd name="T7" fmla="*/ 12 h 37"/>
                <a:gd name="T8" fmla="*/ 20 w 61"/>
                <a:gd name="T9" fmla="*/ 12 h 37"/>
                <a:gd name="T10" fmla="*/ 18 w 61"/>
                <a:gd name="T11" fmla="*/ 9 h 37"/>
                <a:gd name="T12" fmla="*/ 16 w 61"/>
                <a:gd name="T13" fmla="*/ 7 h 37"/>
                <a:gd name="T14" fmla="*/ 14 w 61"/>
                <a:gd name="T15" fmla="*/ 6 h 37"/>
                <a:gd name="T16" fmla="*/ 11 w 61"/>
                <a:gd name="T17" fmla="*/ 4 h 37"/>
                <a:gd name="T18" fmla="*/ 9 w 61"/>
                <a:gd name="T19" fmla="*/ 3 h 37"/>
                <a:gd name="T20" fmla="*/ 6 w 61"/>
                <a:gd name="T21" fmla="*/ 2 h 37"/>
                <a:gd name="T22" fmla="*/ 3 w 61"/>
                <a:gd name="T23" fmla="*/ 1 h 37"/>
                <a:gd name="T24" fmla="*/ 0 w 61"/>
                <a:gd name="T25" fmla="*/ 0 h 37"/>
                <a:gd name="T26" fmla="*/ 0 w 61"/>
                <a:gd name="T27" fmla="*/ 10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1"/>
                <a:gd name="T43" fmla="*/ 0 h 37"/>
                <a:gd name="T44" fmla="*/ 61 w 61"/>
                <a:gd name="T45" fmla="*/ 37 h 3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0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5" name="Freeform 152"/>
            <p:cNvSpPr>
              <a:spLocks/>
            </p:cNvSpPr>
            <p:nvPr/>
          </p:nvSpPr>
          <p:spPr bwMode="auto">
            <a:xfrm>
              <a:off x="8885647" y="3914340"/>
              <a:ext cx="16059" cy="14811"/>
            </a:xfrm>
            <a:custGeom>
              <a:avLst/>
              <a:gdLst>
                <a:gd name="T0" fmla="*/ 13 w 40"/>
                <a:gd name="T1" fmla="*/ 10 h 30"/>
                <a:gd name="T2" fmla="*/ 11 w 40"/>
                <a:gd name="T3" fmla="*/ 9 h 30"/>
                <a:gd name="T4" fmla="*/ 8 w 40"/>
                <a:gd name="T5" fmla="*/ 8 h 30"/>
                <a:gd name="T6" fmla="*/ 7 w 40"/>
                <a:gd name="T7" fmla="*/ 7 h 30"/>
                <a:gd name="T8" fmla="*/ 5 w 40"/>
                <a:gd name="T9" fmla="*/ 6 h 30"/>
                <a:gd name="T10" fmla="*/ 4 w 40"/>
                <a:gd name="T11" fmla="*/ 5 h 30"/>
                <a:gd name="T12" fmla="*/ 2 w 40"/>
                <a:gd name="T13" fmla="*/ 4 h 30"/>
                <a:gd name="T14" fmla="*/ 1 w 40"/>
                <a:gd name="T15" fmla="*/ 2 h 30"/>
                <a:gd name="T16" fmla="*/ 0 w 40"/>
                <a:gd name="T17" fmla="*/ 0 h 30"/>
                <a:gd name="T18" fmla="*/ 3 w 40"/>
                <a:gd name="T19" fmla="*/ 1 h 30"/>
                <a:gd name="T20" fmla="*/ 5 w 40"/>
                <a:gd name="T21" fmla="*/ 2 h 30"/>
                <a:gd name="T22" fmla="*/ 7 w 40"/>
                <a:gd name="T23" fmla="*/ 3 h 30"/>
                <a:gd name="T24" fmla="*/ 9 w 40"/>
                <a:gd name="T25" fmla="*/ 5 h 30"/>
                <a:gd name="T26" fmla="*/ 11 w 40"/>
                <a:gd name="T27" fmla="*/ 6 h 30"/>
                <a:gd name="T28" fmla="*/ 12 w 40"/>
                <a:gd name="T29" fmla="*/ 8 h 30"/>
                <a:gd name="T30" fmla="*/ 13 w 40"/>
                <a:gd name="T31" fmla="*/ 9 h 30"/>
                <a:gd name="T32" fmla="*/ 13 w 40"/>
                <a:gd name="T33" fmla="*/ 10 h 3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0"/>
                <a:gd name="T52" fmla="*/ 0 h 30"/>
                <a:gd name="T53" fmla="*/ 40 w 40"/>
                <a:gd name="T54" fmla="*/ 30 h 3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solidFill>
              <a:srgbClr val="FFC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6" name="Freeform 153"/>
            <p:cNvSpPr>
              <a:spLocks/>
            </p:cNvSpPr>
            <p:nvPr/>
          </p:nvSpPr>
          <p:spPr bwMode="auto">
            <a:xfrm>
              <a:off x="8820177" y="3801779"/>
              <a:ext cx="29647" cy="38508"/>
            </a:xfrm>
            <a:custGeom>
              <a:avLst/>
              <a:gdLst>
                <a:gd name="T0" fmla="*/ 24 w 74"/>
                <a:gd name="T1" fmla="*/ 26 h 80"/>
                <a:gd name="T2" fmla="*/ 23 w 74"/>
                <a:gd name="T3" fmla="*/ 24 h 80"/>
                <a:gd name="T4" fmla="*/ 23 w 74"/>
                <a:gd name="T5" fmla="*/ 21 h 80"/>
                <a:gd name="T6" fmla="*/ 22 w 74"/>
                <a:gd name="T7" fmla="*/ 19 h 80"/>
                <a:gd name="T8" fmla="*/ 21 w 74"/>
                <a:gd name="T9" fmla="*/ 17 h 80"/>
                <a:gd name="T10" fmla="*/ 19 w 74"/>
                <a:gd name="T11" fmla="*/ 14 h 80"/>
                <a:gd name="T12" fmla="*/ 16 w 74"/>
                <a:gd name="T13" fmla="*/ 11 h 80"/>
                <a:gd name="T14" fmla="*/ 12 w 74"/>
                <a:gd name="T15" fmla="*/ 8 h 80"/>
                <a:gd name="T16" fmla="*/ 9 w 74"/>
                <a:gd name="T17" fmla="*/ 6 h 80"/>
                <a:gd name="T18" fmla="*/ 6 w 74"/>
                <a:gd name="T19" fmla="*/ 3 h 80"/>
                <a:gd name="T20" fmla="*/ 4 w 74"/>
                <a:gd name="T21" fmla="*/ 0 h 80"/>
                <a:gd name="T22" fmla="*/ 3 w 74"/>
                <a:gd name="T23" fmla="*/ 2 h 80"/>
                <a:gd name="T24" fmla="*/ 1 w 74"/>
                <a:gd name="T25" fmla="*/ 3 h 80"/>
                <a:gd name="T26" fmla="*/ 0 w 74"/>
                <a:gd name="T27" fmla="*/ 5 h 80"/>
                <a:gd name="T28" fmla="*/ 0 w 74"/>
                <a:gd name="T29" fmla="*/ 6 h 80"/>
                <a:gd name="T30" fmla="*/ 0 w 74"/>
                <a:gd name="T31" fmla="*/ 8 h 80"/>
                <a:gd name="T32" fmla="*/ 1 w 74"/>
                <a:gd name="T33" fmla="*/ 10 h 80"/>
                <a:gd name="T34" fmla="*/ 1 w 74"/>
                <a:gd name="T35" fmla="*/ 12 h 80"/>
                <a:gd name="T36" fmla="*/ 2 w 74"/>
                <a:gd name="T37" fmla="*/ 13 h 80"/>
                <a:gd name="T38" fmla="*/ 3 w 74"/>
                <a:gd name="T39" fmla="*/ 15 h 80"/>
                <a:gd name="T40" fmla="*/ 5 w 74"/>
                <a:gd name="T41" fmla="*/ 17 h 80"/>
                <a:gd name="T42" fmla="*/ 6 w 74"/>
                <a:gd name="T43" fmla="*/ 18 h 80"/>
                <a:gd name="T44" fmla="*/ 8 w 74"/>
                <a:gd name="T45" fmla="*/ 20 h 80"/>
                <a:gd name="T46" fmla="*/ 10 w 74"/>
                <a:gd name="T47" fmla="*/ 21 h 80"/>
                <a:gd name="T48" fmla="*/ 11 w 74"/>
                <a:gd name="T49" fmla="*/ 22 h 80"/>
                <a:gd name="T50" fmla="*/ 14 w 74"/>
                <a:gd name="T51" fmla="*/ 23 h 80"/>
                <a:gd name="T52" fmla="*/ 15 w 74"/>
                <a:gd name="T53" fmla="*/ 24 h 80"/>
                <a:gd name="T54" fmla="*/ 18 w 74"/>
                <a:gd name="T55" fmla="*/ 25 h 80"/>
                <a:gd name="T56" fmla="*/ 19 w 74"/>
                <a:gd name="T57" fmla="*/ 26 h 80"/>
                <a:gd name="T58" fmla="*/ 22 w 74"/>
                <a:gd name="T59" fmla="*/ 26 h 80"/>
                <a:gd name="T60" fmla="*/ 24 w 74"/>
                <a:gd name="T61" fmla="*/ 26 h 8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4"/>
                <a:gd name="T94" fmla="*/ 0 h 80"/>
                <a:gd name="T95" fmla="*/ 74 w 74"/>
                <a:gd name="T96" fmla="*/ 80 h 8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solidFill>
              <a:srgbClr val="C00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7" name="Freeform 154"/>
            <p:cNvSpPr>
              <a:spLocks/>
            </p:cNvSpPr>
            <p:nvPr/>
          </p:nvSpPr>
          <p:spPr bwMode="auto">
            <a:xfrm>
              <a:off x="8869588" y="3795855"/>
              <a:ext cx="32117" cy="39989"/>
            </a:xfrm>
            <a:custGeom>
              <a:avLst/>
              <a:gdLst>
                <a:gd name="T0" fmla="*/ 16 w 86"/>
                <a:gd name="T1" fmla="*/ 27 h 80"/>
                <a:gd name="T2" fmla="*/ 26 w 86"/>
                <a:gd name="T3" fmla="*/ 27 h 80"/>
                <a:gd name="T4" fmla="*/ 26 w 86"/>
                <a:gd name="T5" fmla="*/ 21 h 80"/>
                <a:gd name="T6" fmla="*/ 24 w 86"/>
                <a:gd name="T7" fmla="*/ 20 h 80"/>
                <a:gd name="T8" fmla="*/ 22 w 86"/>
                <a:gd name="T9" fmla="*/ 19 h 80"/>
                <a:gd name="T10" fmla="*/ 20 w 86"/>
                <a:gd name="T11" fmla="*/ 18 h 80"/>
                <a:gd name="T12" fmla="*/ 18 w 86"/>
                <a:gd name="T13" fmla="*/ 17 h 80"/>
                <a:gd name="T14" fmla="*/ 15 w 86"/>
                <a:gd name="T15" fmla="*/ 14 h 80"/>
                <a:gd name="T16" fmla="*/ 13 w 86"/>
                <a:gd name="T17" fmla="*/ 11 h 80"/>
                <a:gd name="T18" fmla="*/ 10 w 86"/>
                <a:gd name="T19" fmla="*/ 8 h 80"/>
                <a:gd name="T20" fmla="*/ 7 w 86"/>
                <a:gd name="T21" fmla="*/ 5 h 80"/>
                <a:gd name="T22" fmla="*/ 4 w 86"/>
                <a:gd name="T23" fmla="*/ 2 h 80"/>
                <a:gd name="T24" fmla="*/ 0 w 86"/>
                <a:gd name="T25" fmla="*/ 0 h 80"/>
                <a:gd name="T26" fmla="*/ 0 w 86"/>
                <a:gd name="T27" fmla="*/ 3 h 80"/>
                <a:gd name="T28" fmla="*/ 2 w 86"/>
                <a:gd name="T29" fmla="*/ 7 h 80"/>
                <a:gd name="T30" fmla="*/ 3 w 86"/>
                <a:gd name="T31" fmla="*/ 11 h 80"/>
                <a:gd name="T32" fmla="*/ 5 w 86"/>
                <a:gd name="T33" fmla="*/ 15 h 80"/>
                <a:gd name="T34" fmla="*/ 8 w 86"/>
                <a:gd name="T35" fmla="*/ 19 h 80"/>
                <a:gd name="T36" fmla="*/ 11 w 86"/>
                <a:gd name="T37" fmla="*/ 23 h 80"/>
                <a:gd name="T38" fmla="*/ 12 w 86"/>
                <a:gd name="T39" fmla="*/ 24 h 80"/>
                <a:gd name="T40" fmla="*/ 14 w 86"/>
                <a:gd name="T41" fmla="*/ 26 h 80"/>
                <a:gd name="T42" fmla="*/ 15 w 86"/>
                <a:gd name="T43" fmla="*/ 27 h 80"/>
                <a:gd name="T44" fmla="*/ 16 w 86"/>
                <a:gd name="T45" fmla="*/ 27 h 8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6"/>
                <a:gd name="T70" fmla="*/ 0 h 80"/>
                <a:gd name="T71" fmla="*/ 86 w 86"/>
                <a:gd name="T72" fmla="*/ 80 h 8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solidFill>
              <a:srgbClr val="C00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8" name="Freeform 155"/>
            <p:cNvSpPr>
              <a:spLocks/>
            </p:cNvSpPr>
            <p:nvPr/>
          </p:nvSpPr>
          <p:spPr bwMode="auto">
            <a:xfrm>
              <a:off x="8888117" y="3855098"/>
              <a:ext cx="30882" cy="16292"/>
            </a:xfrm>
            <a:custGeom>
              <a:avLst/>
              <a:gdLst>
                <a:gd name="T0" fmla="*/ 0 w 74"/>
                <a:gd name="T1" fmla="*/ 2 h 31"/>
                <a:gd name="T2" fmla="*/ 1 w 74"/>
                <a:gd name="T3" fmla="*/ 4 h 31"/>
                <a:gd name="T4" fmla="*/ 2 w 74"/>
                <a:gd name="T5" fmla="*/ 5 h 31"/>
                <a:gd name="T6" fmla="*/ 3 w 74"/>
                <a:gd name="T7" fmla="*/ 6 h 31"/>
                <a:gd name="T8" fmla="*/ 5 w 74"/>
                <a:gd name="T9" fmla="*/ 7 h 31"/>
                <a:gd name="T10" fmla="*/ 6 w 74"/>
                <a:gd name="T11" fmla="*/ 9 h 31"/>
                <a:gd name="T12" fmla="*/ 8 w 74"/>
                <a:gd name="T13" fmla="*/ 9 h 31"/>
                <a:gd name="T14" fmla="*/ 10 w 74"/>
                <a:gd name="T15" fmla="*/ 10 h 31"/>
                <a:gd name="T16" fmla="*/ 11 w 74"/>
                <a:gd name="T17" fmla="*/ 10 h 31"/>
                <a:gd name="T18" fmla="*/ 16 w 74"/>
                <a:gd name="T19" fmla="*/ 11 h 31"/>
                <a:gd name="T20" fmla="*/ 20 w 74"/>
                <a:gd name="T21" fmla="*/ 11 h 31"/>
                <a:gd name="T22" fmla="*/ 21 w 74"/>
                <a:gd name="T23" fmla="*/ 11 h 31"/>
                <a:gd name="T24" fmla="*/ 23 w 74"/>
                <a:gd name="T25" fmla="*/ 10 h 31"/>
                <a:gd name="T26" fmla="*/ 24 w 74"/>
                <a:gd name="T27" fmla="*/ 10 h 31"/>
                <a:gd name="T28" fmla="*/ 25 w 74"/>
                <a:gd name="T29" fmla="*/ 9 h 31"/>
                <a:gd name="T30" fmla="*/ 22 w 74"/>
                <a:gd name="T31" fmla="*/ 6 h 31"/>
                <a:gd name="T32" fmla="*/ 19 w 74"/>
                <a:gd name="T33" fmla="*/ 5 h 31"/>
                <a:gd name="T34" fmla="*/ 17 w 74"/>
                <a:gd name="T35" fmla="*/ 4 h 31"/>
                <a:gd name="T36" fmla="*/ 16 w 74"/>
                <a:gd name="T37" fmla="*/ 3 h 31"/>
                <a:gd name="T38" fmla="*/ 15 w 74"/>
                <a:gd name="T39" fmla="*/ 2 h 31"/>
                <a:gd name="T40" fmla="*/ 14 w 74"/>
                <a:gd name="T41" fmla="*/ 0 h 31"/>
                <a:gd name="T42" fmla="*/ 11 w 74"/>
                <a:gd name="T43" fmla="*/ 0 h 31"/>
                <a:gd name="T44" fmla="*/ 9 w 74"/>
                <a:gd name="T45" fmla="*/ 0 h 31"/>
                <a:gd name="T46" fmla="*/ 7 w 74"/>
                <a:gd name="T47" fmla="*/ 0 h 31"/>
                <a:gd name="T48" fmla="*/ 6 w 74"/>
                <a:gd name="T49" fmla="*/ 0 h 31"/>
                <a:gd name="T50" fmla="*/ 5 w 74"/>
                <a:gd name="T51" fmla="*/ 0 h 31"/>
                <a:gd name="T52" fmla="*/ 3 w 74"/>
                <a:gd name="T53" fmla="*/ 0 h 31"/>
                <a:gd name="T54" fmla="*/ 2 w 74"/>
                <a:gd name="T55" fmla="*/ 1 h 31"/>
                <a:gd name="T56" fmla="*/ 0 w 74"/>
                <a:gd name="T57" fmla="*/ 2 h 3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74"/>
                <a:gd name="T88" fmla="*/ 0 h 31"/>
                <a:gd name="T89" fmla="*/ 74 w 74"/>
                <a:gd name="T90" fmla="*/ 31 h 31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solidFill>
              <a:srgbClr val="C00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9" name="Freeform 156"/>
            <p:cNvSpPr>
              <a:spLocks/>
            </p:cNvSpPr>
            <p:nvPr/>
          </p:nvSpPr>
          <p:spPr bwMode="auto">
            <a:xfrm>
              <a:off x="8878235" y="3846211"/>
              <a:ext cx="7412" cy="1481"/>
            </a:xfrm>
            <a:custGeom>
              <a:avLst/>
              <a:gdLst>
                <a:gd name="T0" fmla="*/ 6 w 20"/>
                <a:gd name="T1" fmla="*/ 0 h 1"/>
                <a:gd name="T2" fmla="*/ 0 w 20"/>
                <a:gd name="T3" fmla="*/ 0 h 1"/>
                <a:gd name="T4" fmla="*/ 3 w 20"/>
                <a:gd name="T5" fmla="*/ 0 h 1"/>
                <a:gd name="T6" fmla="*/ 6 w 20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1"/>
                <a:gd name="T14" fmla="*/ 20 w 20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1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0" name="Freeform 157"/>
            <p:cNvSpPr>
              <a:spLocks/>
            </p:cNvSpPr>
            <p:nvPr/>
          </p:nvSpPr>
          <p:spPr bwMode="auto">
            <a:xfrm>
              <a:off x="8812765" y="3772158"/>
              <a:ext cx="39529" cy="31102"/>
            </a:xfrm>
            <a:custGeom>
              <a:avLst/>
              <a:gdLst>
                <a:gd name="T0" fmla="*/ 2 w 100"/>
                <a:gd name="T1" fmla="*/ 8 h 65"/>
                <a:gd name="T2" fmla="*/ 11 w 100"/>
                <a:gd name="T3" fmla="*/ 13 h 65"/>
                <a:gd name="T4" fmla="*/ 20 w 100"/>
                <a:gd name="T5" fmla="*/ 18 h 65"/>
                <a:gd name="T6" fmla="*/ 23 w 100"/>
                <a:gd name="T7" fmla="*/ 19 h 65"/>
                <a:gd name="T8" fmla="*/ 27 w 100"/>
                <a:gd name="T9" fmla="*/ 21 h 65"/>
                <a:gd name="T10" fmla="*/ 28 w 100"/>
                <a:gd name="T11" fmla="*/ 21 h 65"/>
                <a:gd name="T12" fmla="*/ 29 w 100"/>
                <a:gd name="T13" fmla="*/ 21 h 65"/>
                <a:gd name="T14" fmla="*/ 31 w 100"/>
                <a:gd name="T15" fmla="*/ 21 h 65"/>
                <a:gd name="T16" fmla="*/ 32 w 100"/>
                <a:gd name="T17" fmla="*/ 20 h 65"/>
                <a:gd name="T18" fmla="*/ 30 w 100"/>
                <a:gd name="T19" fmla="*/ 19 h 65"/>
                <a:gd name="T20" fmla="*/ 28 w 100"/>
                <a:gd name="T21" fmla="*/ 18 h 65"/>
                <a:gd name="T22" fmla="*/ 27 w 100"/>
                <a:gd name="T23" fmla="*/ 17 h 65"/>
                <a:gd name="T24" fmla="*/ 25 w 100"/>
                <a:gd name="T25" fmla="*/ 15 h 65"/>
                <a:gd name="T26" fmla="*/ 21 w 100"/>
                <a:gd name="T27" fmla="*/ 11 h 65"/>
                <a:gd name="T28" fmla="*/ 18 w 100"/>
                <a:gd name="T29" fmla="*/ 7 h 65"/>
                <a:gd name="T30" fmla="*/ 17 w 100"/>
                <a:gd name="T31" fmla="*/ 5 h 65"/>
                <a:gd name="T32" fmla="*/ 15 w 100"/>
                <a:gd name="T33" fmla="*/ 3 h 65"/>
                <a:gd name="T34" fmla="*/ 13 w 100"/>
                <a:gd name="T35" fmla="*/ 1 h 65"/>
                <a:gd name="T36" fmla="*/ 11 w 100"/>
                <a:gd name="T37" fmla="*/ 0 h 65"/>
                <a:gd name="T38" fmla="*/ 9 w 100"/>
                <a:gd name="T39" fmla="*/ 0 h 65"/>
                <a:gd name="T40" fmla="*/ 6 w 100"/>
                <a:gd name="T41" fmla="*/ 0 h 65"/>
                <a:gd name="T42" fmla="*/ 3 w 100"/>
                <a:gd name="T43" fmla="*/ 1 h 65"/>
                <a:gd name="T44" fmla="*/ 0 w 100"/>
                <a:gd name="T45" fmla="*/ 2 h 65"/>
                <a:gd name="T46" fmla="*/ 2 w 100"/>
                <a:gd name="T47" fmla="*/ 8 h 6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00"/>
                <a:gd name="T73" fmla="*/ 0 h 65"/>
                <a:gd name="T74" fmla="*/ 100 w 100"/>
                <a:gd name="T75" fmla="*/ 65 h 6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solidFill>
              <a:srgbClr val="C00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1" name="Freeform 158"/>
            <p:cNvSpPr>
              <a:spLocks/>
            </p:cNvSpPr>
            <p:nvPr/>
          </p:nvSpPr>
          <p:spPr bwMode="auto">
            <a:xfrm>
              <a:off x="8784354" y="3733650"/>
              <a:ext cx="29647" cy="50356"/>
            </a:xfrm>
            <a:custGeom>
              <a:avLst/>
              <a:gdLst>
                <a:gd name="T0" fmla="*/ 22 w 79"/>
                <a:gd name="T1" fmla="*/ 28 h 104"/>
                <a:gd name="T2" fmla="*/ 17 w 79"/>
                <a:gd name="T3" fmla="*/ 20 h 104"/>
                <a:gd name="T4" fmla="*/ 13 w 79"/>
                <a:gd name="T5" fmla="*/ 13 h 104"/>
                <a:gd name="T6" fmla="*/ 9 w 79"/>
                <a:gd name="T7" fmla="*/ 7 h 104"/>
                <a:gd name="T8" fmla="*/ 4 w 79"/>
                <a:gd name="T9" fmla="*/ 0 h 104"/>
                <a:gd name="T10" fmla="*/ 2 w 79"/>
                <a:gd name="T11" fmla="*/ 5 h 104"/>
                <a:gd name="T12" fmla="*/ 1 w 79"/>
                <a:gd name="T13" fmla="*/ 11 h 104"/>
                <a:gd name="T14" fmla="*/ 0 w 79"/>
                <a:gd name="T15" fmla="*/ 13 h 104"/>
                <a:gd name="T16" fmla="*/ 0 w 79"/>
                <a:gd name="T17" fmla="*/ 16 h 104"/>
                <a:gd name="T18" fmla="*/ 0 w 79"/>
                <a:gd name="T19" fmla="*/ 18 h 104"/>
                <a:gd name="T20" fmla="*/ 0 w 79"/>
                <a:gd name="T21" fmla="*/ 20 h 104"/>
                <a:gd name="T22" fmla="*/ 0 w 79"/>
                <a:gd name="T23" fmla="*/ 22 h 104"/>
                <a:gd name="T24" fmla="*/ 1 w 79"/>
                <a:gd name="T25" fmla="*/ 24 h 104"/>
                <a:gd name="T26" fmla="*/ 2 w 79"/>
                <a:gd name="T27" fmla="*/ 26 h 104"/>
                <a:gd name="T28" fmla="*/ 3 w 79"/>
                <a:gd name="T29" fmla="*/ 27 h 104"/>
                <a:gd name="T30" fmla="*/ 4 w 79"/>
                <a:gd name="T31" fmla="*/ 29 h 104"/>
                <a:gd name="T32" fmla="*/ 6 w 79"/>
                <a:gd name="T33" fmla="*/ 29 h 104"/>
                <a:gd name="T34" fmla="*/ 8 w 79"/>
                <a:gd name="T35" fmla="*/ 30 h 104"/>
                <a:gd name="T36" fmla="*/ 10 w 79"/>
                <a:gd name="T37" fmla="*/ 30 h 104"/>
                <a:gd name="T38" fmla="*/ 13 w 79"/>
                <a:gd name="T39" fmla="*/ 30 h 104"/>
                <a:gd name="T40" fmla="*/ 16 w 79"/>
                <a:gd name="T41" fmla="*/ 31 h 104"/>
                <a:gd name="T42" fmla="*/ 20 w 79"/>
                <a:gd name="T43" fmla="*/ 33 h 104"/>
                <a:gd name="T44" fmla="*/ 24 w 79"/>
                <a:gd name="T45" fmla="*/ 34 h 104"/>
                <a:gd name="T46" fmla="*/ 22 w 79"/>
                <a:gd name="T47" fmla="*/ 28 h 10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79"/>
                <a:gd name="T73" fmla="*/ 0 h 104"/>
                <a:gd name="T74" fmla="*/ 79 w 79"/>
                <a:gd name="T75" fmla="*/ 104 h 10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solidFill>
              <a:srgbClr val="C00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2" name="Freeform 159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5454675" y="3494705"/>
              <a:ext cx="10125" cy="50685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0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19"/>
                <a:gd name="T23" fmla="*/ 27 w 27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3" name="Freeform 160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5385247" y="3622142"/>
              <a:ext cx="13018" cy="52134"/>
            </a:xfrm>
            <a:custGeom>
              <a:avLst/>
              <a:gdLst>
                <a:gd name="T0" fmla="*/ 0 w 39"/>
                <a:gd name="T1" fmla="*/ 0 h 35"/>
                <a:gd name="T2" fmla="*/ 2147483647 w 39"/>
                <a:gd name="T3" fmla="*/ 0 h 35"/>
                <a:gd name="T4" fmla="*/ 2147483647 w 39"/>
                <a:gd name="T5" fmla="*/ 2147483647 h 35"/>
                <a:gd name="T6" fmla="*/ 2147483647 w 39"/>
                <a:gd name="T7" fmla="*/ 2147483647 h 35"/>
                <a:gd name="T8" fmla="*/ 2147483647 w 39"/>
                <a:gd name="T9" fmla="*/ 2147483647 h 35"/>
                <a:gd name="T10" fmla="*/ 2147483647 w 39"/>
                <a:gd name="T11" fmla="*/ 2147483647 h 35"/>
                <a:gd name="T12" fmla="*/ 2147483647 w 39"/>
                <a:gd name="T13" fmla="*/ 2147483647 h 35"/>
                <a:gd name="T14" fmla="*/ 2147483647 w 39"/>
                <a:gd name="T15" fmla="*/ 2147483647 h 35"/>
                <a:gd name="T16" fmla="*/ 2147483647 w 39"/>
                <a:gd name="T17" fmla="*/ 2147483647 h 35"/>
                <a:gd name="T18" fmla="*/ 2147483647 w 39"/>
                <a:gd name="T19" fmla="*/ 2147483647 h 35"/>
                <a:gd name="T20" fmla="*/ 2147483647 w 39"/>
                <a:gd name="T21" fmla="*/ 2147483647 h 35"/>
                <a:gd name="T22" fmla="*/ 2147483647 w 39"/>
                <a:gd name="T23" fmla="*/ 2147483647 h 35"/>
                <a:gd name="T24" fmla="*/ 2147483647 w 39"/>
                <a:gd name="T25" fmla="*/ 2147483647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9"/>
                <a:gd name="T43" fmla="*/ 0 h 35"/>
                <a:gd name="T44" fmla="*/ 39 w 39"/>
                <a:gd name="T45" fmla="*/ 35 h 3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6" name="Freeform 163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3872282" y="3370164"/>
              <a:ext cx="108483" cy="196949"/>
            </a:xfrm>
            <a:custGeom>
              <a:avLst/>
              <a:gdLst>
                <a:gd name="T0" fmla="*/ 2147483647 w 273"/>
                <a:gd name="T1" fmla="*/ 2147483647 h 414"/>
                <a:gd name="T2" fmla="*/ 2147483647 w 273"/>
                <a:gd name="T3" fmla="*/ 2147483647 h 414"/>
                <a:gd name="T4" fmla="*/ 2147483647 w 273"/>
                <a:gd name="T5" fmla="*/ 2147483647 h 414"/>
                <a:gd name="T6" fmla="*/ 2147483647 w 273"/>
                <a:gd name="T7" fmla="*/ 2147483647 h 414"/>
                <a:gd name="T8" fmla="*/ 2147483647 w 273"/>
                <a:gd name="T9" fmla="*/ 2147483647 h 414"/>
                <a:gd name="T10" fmla="*/ 2147483647 w 273"/>
                <a:gd name="T11" fmla="*/ 2147483647 h 414"/>
                <a:gd name="T12" fmla="*/ 2147483647 w 273"/>
                <a:gd name="T13" fmla="*/ 2147483647 h 414"/>
                <a:gd name="T14" fmla="*/ 2147483647 w 273"/>
                <a:gd name="T15" fmla="*/ 2147483647 h 414"/>
                <a:gd name="T16" fmla="*/ 2147483647 w 273"/>
                <a:gd name="T17" fmla="*/ 2147483647 h 414"/>
                <a:gd name="T18" fmla="*/ 2147483647 w 273"/>
                <a:gd name="T19" fmla="*/ 2147483647 h 414"/>
                <a:gd name="T20" fmla="*/ 2147483647 w 273"/>
                <a:gd name="T21" fmla="*/ 2147483647 h 414"/>
                <a:gd name="T22" fmla="*/ 2147483647 w 273"/>
                <a:gd name="T23" fmla="*/ 2147483647 h 414"/>
                <a:gd name="T24" fmla="*/ 2147483647 w 273"/>
                <a:gd name="T25" fmla="*/ 2147483647 h 414"/>
                <a:gd name="T26" fmla="*/ 2147483647 w 273"/>
                <a:gd name="T27" fmla="*/ 2147483647 h 414"/>
                <a:gd name="T28" fmla="*/ 2147483647 w 273"/>
                <a:gd name="T29" fmla="*/ 2147483647 h 414"/>
                <a:gd name="T30" fmla="*/ 2147483647 w 273"/>
                <a:gd name="T31" fmla="*/ 2147483647 h 414"/>
                <a:gd name="T32" fmla="*/ 2147483647 w 273"/>
                <a:gd name="T33" fmla="*/ 2147483647 h 414"/>
                <a:gd name="T34" fmla="*/ 2147483647 w 273"/>
                <a:gd name="T35" fmla="*/ 2147483647 h 414"/>
                <a:gd name="T36" fmla="*/ 2147483647 w 273"/>
                <a:gd name="T37" fmla="*/ 2147483647 h 414"/>
                <a:gd name="T38" fmla="*/ 2147483647 w 273"/>
                <a:gd name="T39" fmla="*/ 2147483647 h 414"/>
                <a:gd name="T40" fmla="*/ 2147483647 w 273"/>
                <a:gd name="T41" fmla="*/ 2147483647 h 414"/>
                <a:gd name="T42" fmla="*/ 2147483647 w 273"/>
                <a:gd name="T43" fmla="*/ 2147483647 h 414"/>
                <a:gd name="T44" fmla="*/ 2147483647 w 273"/>
                <a:gd name="T45" fmla="*/ 2147483647 h 414"/>
                <a:gd name="T46" fmla="*/ 2147483647 w 273"/>
                <a:gd name="T47" fmla="*/ 2147483647 h 414"/>
                <a:gd name="T48" fmla="*/ 2147483647 w 273"/>
                <a:gd name="T49" fmla="*/ 2147483647 h 414"/>
                <a:gd name="T50" fmla="*/ 2147483647 w 273"/>
                <a:gd name="T51" fmla="*/ 2147483647 h 414"/>
                <a:gd name="T52" fmla="*/ 2147483647 w 273"/>
                <a:gd name="T53" fmla="*/ 2147483647 h 414"/>
                <a:gd name="T54" fmla="*/ 2147483647 w 273"/>
                <a:gd name="T55" fmla="*/ 2147483647 h 414"/>
                <a:gd name="T56" fmla="*/ 2147483647 w 273"/>
                <a:gd name="T57" fmla="*/ 2147483647 h 414"/>
                <a:gd name="T58" fmla="*/ 2147483647 w 273"/>
                <a:gd name="T59" fmla="*/ 2147483647 h 414"/>
                <a:gd name="T60" fmla="*/ 2147483647 w 273"/>
                <a:gd name="T61" fmla="*/ 2147483647 h 414"/>
                <a:gd name="T62" fmla="*/ 2147483647 w 273"/>
                <a:gd name="T63" fmla="*/ 2147483647 h 414"/>
                <a:gd name="T64" fmla="*/ 2147483647 w 273"/>
                <a:gd name="T65" fmla="*/ 2147483647 h 414"/>
                <a:gd name="T66" fmla="*/ 2147483647 w 273"/>
                <a:gd name="T67" fmla="*/ 2147483647 h 414"/>
                <a:gd name="T68" fmla="*/ 2147483647 w 273"/>
                <a:gd name="T69" fmla="*/ 2147483647 h 414"/>
                <a:gd name="T70" fmla="*/ 2147483647 w 273"/>
                <a:gd name="T71" fmla="*/ 2147483647 h 414"/>
                <a:gd name="T72" fmla="*/ 2147483647 w 273"/>
                <a:gd name="T73" fmla="*/ 2147483647 h 414"/>
                <a:gd name="T74" fmla="*/ 2147483647 w 273"/>
                <a:gd name="T75" fmla="*/ 2147483647 h 414"/>
                <a:gd name="T76" fmla="*/ 2147483647 w 273"/>
                <a:gd name="T77" fmla="*/ 2147483647 h 414"/>
                <a:gd name="T78" fmla="*/ 2147483647 w 273"/>
                <a:gd name="T79" fmla="*/ 2147483647 h 414"/>
                <a:gd name="T80" fmla="*/ 2147483647 w 273"/>
                <a:gd name="T81" fmla="*/ 2147483647 h 414"/>
                <a:gd name="T82" fmla="*/ 2147483647 w 273"/>
                <a:gd name="T83" fmla="*/ 2147483647 h 414"/>
                <a:gd name="T84" fmla="*/ 2147483647 w 273"/>
                <a:gd name="T85" fmla="*/ 2147483647 h 414"/>
                <a:gd name="T86" fmla="*/ 2147483647 w 273"/>
                <a:gd name="T87" fmla="*/ 2147483647 h 414"/>
                <a:gd name="T88" fmla="*/ 2147483647 w 273"/>
                <a:gd name="T89" fmla="*/ 2147483647 h 414"/>
                <a:gd name="T90" fmla="*/ 2147483647 w 273"/>
                <a:gd name="T91" fmla="*/ 2147483647 h 414"/>
                <a:gd name="T92" fmla="*/ 2147483647 w 273"/>
                <a:gd name="T93" fmla="*/ 2147483647 h 414"/>
                <a:gd name="T94" fmla="*/ 2147483647 w 273"/>
                <a:gd name="T95" fmla="*/ 2147483647 h 414"/>
                <a:gd name="T96" fmla="*/ 2147483647 w 273"/>
                <a:gd name="T97" fmla="*/ 2147483647 h 414"/>
                <a:gd name="T98" fmla="*/ 2147483647 w 273"/>
                <a:gd name="T99" fmla="*/ 2147483647 h 414"/>
                <a:gd name="T100" fmla="*/ 2147483647 w 273"/>
                <a:gd name="T101" fmla="*/ 2147483647 h 414"/>
                <a:gd name="T102" fmla="*/ 2147483647 w 273"/>
                <a:gd name="T103" fmla="*/ 2147483647 h 414"/>
                <a:gd name="T104" fmla="*/ 2147483647 w 273"/>
                <a:gd name="T105" fmla="*/ 2147483647 h 414"/>
                <a:gd name="T106" fmla="*/ 2147483647 w 273"/>
                <a:gd name="T107" fmla="*/ 2147483647 h 414"/>
                <a:gd name="T108" fmla="*/ 2147483647 w 273"/>
                <a:gd name="T109" fmla="*/ 2147483647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73"/>
                <a:gd name="T166" fmla="*/ 0 h 414"/>
                <a:gd name="T167" fmla="*/ 273 w 273"/>
                <a:gd name="T168" fmla="*/ 414 h 41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8" name="Freeform 165"/>
            <p:cNvSpPr>
              <a:spLocks/>
            </p:cNvSpPr>
            <p:nvPr/>
          </p:nvSpPr>
          <p:spPr bwMode="auto">
            <a:xfrm>
              <a:off x="3796949" y="3283959"/>
              <a:ext cx="21768" cy="10018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6 h 22"/>
                <a:gd name="T4" fmla="*/ 2 w 54"/>
                <a:gd name="T5" fmla="*/ 6 h 22"/>
                <a:gd name="T6" fmla="*/ 3 w 54"/>
                <a:gd name="T7" fmla="*/ 7 h 22"/>
                <a:gd name="T8" fmla="*/ 5 w 54"/>
                <a:gd name="T9" fmla="*/ 7 h 22"/>
                <a:gd name="T10" fmla="*/ 7 w 54"/>
                <a:gd name="T11" fmla="*/ 7 h 22"/>
                <a:gd name="T12" fmla="*/ 8 w 54"/>
                <a:gd name="T13" fmla="*/ 7 h 22"/>
                <a:gd name="T14" fmla="*/ 9 w 54"/>
                <a:gd name="T15" fmla="*/ 7 h 22"/>
                <a:gd name="T16" fmla="*/ 10 w 54"/>
                <a:gd name="T17" fmla="*/ 6 h 22"/>
                <a:gd name="T18" fmla="*/ 11 w 54"/>
                <a:gd name="T19" fmla="*/ 6 h 22"/>
                <a:gd name="T20" fmla="*/ 12 w 54"/>
                <a:gd name="T21" fmla="*/ 5 h 22"/>
                <a:gd name="T22" fmla="*/ 14 w 54"/>
                <a:gd name="T23" fmla="*/ 4 h 22"/>
                <a:gd name="T24" fmla="*/ 16 w 54"/>
                <a:gd name="T25" fmla="*/ 3 h 22"/>
                <a:gd name="T26" fmla="*/ 18 w 54"/>
                <a:gd name="T27" fmla="*/ 2 h 22"/>
                <a:gd name="T28" fmla="*/ 12 w 54"/>
                <a:gd name="T29" fmla="*/ 2 h 22"/>
                <a:gd name="T30" fmla="*/ 7 w 54"/>
                <a:gd name="T31" fmla="*/ 1 h 22"/>
                <a:gd name="T32" fmla="*/ 2 w 54"/>
                <a:gd name="T33" fmla="*/ 0 h 22"/>
                <a:gd name="T34" fmla="*/ 0 w 54"/>
                <a:gd name="T35" fmla="*/ 0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4"/>
                <a:gd name="T55" fmla="*/ 0 h 22"/>
                <a:gd name="T56" fmla="*/ 54 w 54"/>
                <a:gd name="T57" fmla="*/ 22 h 2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9" name="Freeform 166"/>
            <p:cNvSpPr>
              <a:spLocks/>
            </p:cNvSpPr>
            <p:nvPr/>
          </p:nvSpPr>
          <p:spPr bwMode="auto">
            <a:xfrm>
              <a:off x="3660297" y="3219556"/>
              <a:ext cx="2419" cy="11449"/>
            </a:xfrm>
            <a:custGeom>
              <a:avLst/>
              <a:gdLst>
                <a:gd name="T0" fmla="*/ 2 w 6"/>
                <a:gd name="T1" fmla="*/ 8 h 24"/>
                <a:gd name="T2" fmla="*/ 2 w 6"/>
                <a:gd name="T3" fmla="*/ 0 h 24"/>
                <a:gd name="T4" fmla="*/ 1 w 6"/>
                <a:gd name="T5" fmla="*/ 0 h 24"/>
                <a:gd name="T6" fmla="*/ 0 w 6"/>
                <a:gd name="T7" fmla="*/ 1 h 24"/>
                <a:gd name="T8" fmla="*/ 0 w 6"/>
                <a:gd name="T9" fmla="*/ 2 h 24"/>
                <a:gd name="T10" fmla="*/ 0 w 6"/>
                <a:gd name="T11" fmla="*/ 4 h 24"/>
                <a:gd name="T12" fmla="*/ 0 w 6"/>
                <a:gd name="T13" fmla="*/ 5 h 24"/>
                <a:gd name="T14" fmla="*/ 0 w 6"/>
                <a:gd name="T15" fmla="*/ 7 h 24"/>
                <a:gd name="T16" fmla="*/ 1 w 6"/>
                <a:gd name="T17" fmla="*/ 8 h 24"/>
                <a:gd name="T18" fmla="*/ 2 w 6"/>
                <a:gd name="T19" fmla="*/ 8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4"/>
                <a:gd name="T32" fmla="*/ 6 w 6"/>
                <a:gd name="T33" fmla="*/ 24 h 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0" name="Freeform 167"/>
            <p:cNvSpPr>
              <a:spLocks/>
            </p:cNvSpPr>
            <p:nvPr/>
          </p:nvSpPr>
          <p:spPr bwMode="auto">
            <a:xfrm>
              <a:off x="3697786" y="3256767"/>
              <a:ext cx="9674" cy="5725"/>
            </a:xfrm>
            <a:custGeom>
              <a:avLst/>
              <a:gdLst>
                <a:gd name="T0" fmla="*/ 0 w 27"/>
                <a:gd name="T1" fmla="*/ 4 h 12"/>
                <a:gd name="T2" fmla="*/ 8 w 27"/>
                <a:gd name="T3" fmla="*/ 4 h 12"/>
                <a:gd name="T4" fmla="*/ 4 w 27"/>
                <a:gd name="T5" fmla="*/ 0 h 12"/>
                <a:gd name="T6" fmla="*/ 0 w 27"/>
                <a:gd name="T7" fmla="*/ 4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7"/>
                <a:gd name="T13" fmla="*/ 0 h 12"/>
                <a:gd name="T14" fmla="*/ 27 w 27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1" name="Freeform 168"/>
            <p:cNvSpPr>
              <a:spLocks/>
            </p:cNvSpPr>
            <p:nvPr/>
          </p:nvSpPr>
          <p:spPr bwMode="auto">
            <a:xfrm>
              <a:off x="3611925" y="3265354"/>
              <a:ext cx="295071" cy="320584"/>
            </a:xfrm>
            <a:custGeom>
              <a:avLst/>
              <a:gdLst>
                <a:gd name="T0" fmla="*/ 3 w 743"/>
                <a:gd name="T1" fmla="*/ 69 h 672"/>
                <a:gd name="T2" fmla="*/ 16 w 743"/>
                <a:gd name="T3" fmla="*/ 89 h 672"/>
                <a:gd name="T4" fmla="*/ 40 w 743"/>
                <a:gd name="T5" fmla="*/ 98 h 672"/>
                <a:gd name="T6" fmla="*/ 55 w 743"/>
                <a:gd name="T7" fmla="*/ 105 h 672"/>
                <a:gd name="T8" fmla="*/ 65 w 743"/>
                <a:gd name="T9" fmla="*/ 115 h 672"/>
                <a:gd name="T10" fmla="*/ 97 w 743"/>
                <a:gd name="T11" fmla="*/ 126 h 672"/>
                <a:gd name="T12" fmla="*/ 94 w 743"/>
                <a:gd name="T13" fmla="*/ 140 h 672"/>
                <a:gd name="T14" fmla="*/ 102 w 743"/>
                <a:gd name="T15" fmla="*/ 171 h 672"/>
                <a:gd name="T16" fmla="*/ 100 w 743"/>
                <a:gd name="T17" fmla="*/ 178 h 672"/>
                <a:gd name="T18" fmla="*/ 99 w 743"/>
                <a:gd name="T19" fmla="*/ 189 h 672"/>
                <a:gd name="T20" fmla="*/ 108 w 743"/>
                <a:gd name="T21" fmla="*/ 206 h 672"/>
                <a:gd name="T22" fmla="*/ 122 w 743"/>
                <a:gd name="T23" fmla="*/ 220 h 672"/>
                <a:gd name="T24" fmla="*/ 136 w 743"/>
                <a:gd name="T25" fmla="*/ 224 h 672"/>
                <a:gd name="T26" fmla="*/ 153 w 743"/>
                <a:gd name="T27" fmla="*/ 218 h 672"/>
                <a:gd name="T28" fmla="*/ 166 w 743"/>
                <a:gd name="T29" fmla="*/ 206 h 672"/>
                <a:gd name="T30" fmla="*/ 172 w 743"/>
                <a:gd name="T31" fmla="*/ 195 h 672"/>
                <a:gd name="T32" fmla="*/ 157 w 743"/>
                <a:gd name="T33" fmla="*/ 156 h 672"/>
                <a:gd name="T34" fmla="*/ 189 w 743"/>
                <a:gd name="T35" fmla="*/ 167 h 672"/>
                <a:gd name="T36" fmla="*/ 197 w 743"/>
                <a:gd name="T37" fmla="*/ 159 h 672"/>
                <a:gd name="T38" fmla="*/ 214 w 743"/>
                <a:gd name="T39" fmla="*/ 148 h 672"/>
                <a:gd name="T40" fmla="*/ 220 w 743"/>
                <a:gd name="T41" fmla="*/ 147 h 672"/>
                <a:gd name="T42" fmla="*/ 225 w 743"/>
                <a:gd name="T43" fmla="*/ 145 h 672"/>
                <a:gd name="T44" fmla="*/ 219 w 743"/>
                <a:gd name="T45" fmla="*/ 109 h 672"/>
                <a:gd name="T46" fmla="*/ 233 w 743"/>
                <a:gd name="T47" fmla="*/ 98 h 672"/>
                <a:gd name="T48" fmla="*/ 234 w 743"/>
                <a:gd name="T49" fmla="*/ 84 h 672"/>
                <a:gd name="T50" fmla="*/ 238 w 743"/>
                <a:gd name="T51" fmla="*/ 78 h 672"/>
                <a:gd name="T52" fmla="*/ 239 w 743"/>
                <a:gd name="T53" fmla="*/ 71 h 672"/>
                <a:gd name="T54" fmla="*/ 230 w 743"/>
                <a:gd name="T55" fmla="*/ 65 h 672"/>
                <a:gd name="T56" fmla="*/ 225 w 743"/>
                <a:gd name="T57" fmla="*/ 56 h 672"/>
                <a:gd name="T58" fmla="*/ 220 w 743"/>
                <a:gd name="T59" fmla="*/ 48 h 672"/>
                <a:gd name="T60" fmla="*/ 210 w 743"/>
                <a:gd name="T61" fmla="*/ 51 h 672"/>
                <a:gd name="T62" fmla="*/ 207 w 743"/>
                <a:gd name="T63" fmla="*/ 45 h 672"/>
                <a:gd name="T64" fmla="*/ 198 w 743"/>
                <a:gd name="T65" fmla="*/ 38 h 672"/>
                <a:gd name="T66" fmla="*/ 192 w 743"/>
                <a:gd name="T67" fmla="*/ 32 h 672"/>
                <a:gd name="T68" fmla="*/ 176 w 743"/>
                <a:gd name="T69" fmla="*/ 25 h 672"/>
                <a:gd name="T70" fmla="*/ 161 w 743"/>
                <a:gd name="T71" fmla="*/ 29 h 672"/>
                <a:gd name="T72" fmla="*/ 155 w 743"/>
                <a:gd name="T73" fmla="*/ 34 h 672"/>
                <a:gd name="T74" fmla="*/ 143 w 743"/>
                <a:gd name="T75" fmla="*/ 39 h 672"/>
                <a:gd name="T76" fmla="*/ 137 w 743"/>
                <a:gd name="T77" fmla="*/ 35 h 672"/>
                <a:gd name="T78" fmla="*/ 129 w 743"/>
                <a:gd name="T79" fmla="*/ 34 h 672"/>
                <a:gd name="T80" fmla="*/ 118 w 743"/>
                <a:gd name="T81" fmla="*/ 28 h 672"/>
                <a:gd name="T82" fmla="*/ 104 w 743"/>
                <a:gd name="T83" fmla="*/ 28 h 672"/>
                <a:gd name="T84" fmla="*/ 96 w 743"/>
                <a:gd name="T85" fmla="*/ 31 h 672"/>
                <a:gd name="T86" fmla="*/ 83 w 743"/>
                <a:gd name="T87" fmla="*/ 31 h 672"/>
                <a:gd name="T88" fmla="*/ 77 w 743"/>
                <a:gd name="T89" fmla="*/ 17 h 672"/>
                <a:gd name="T90" fmla="*/ 59 w 743"/>
                <a:gd name="T91" fmla="*/ 7 h 672"/>
                <a:gd name="T92" fmla="*/ 49 w 743"/>
                <a:gd name="T93" fmla="*/ 3 h 672"/>
                <a:gd name="T94" fmla="*/ 45 w 743"/>
                <a:gd name="T95" fmla="*/ 15 h 672"/>
                <a:gd name="T96" fmla="*/ 39 w 743"/>
                <a:gd name="T97" fmla="*/ 23 h 672"/>
                <a:gd name="T98" fmla="*/ 39 w 743"/>
                <a:gd name="T99" fmla="*/ 46 h 672"/>
                <a:gd name="T100" fmla="*/ 34 w 743"/>
                <a:gd name="T101" fmla="*/ 65 h 672"/>
                <a:gd name="T102" fmla="*/ 29 w 743"/>
                <a:gd name="T103" fmla="*/ 63 h 672"/>
                <a:gd name="T104" fmla="*/ 23 w 743"/>
                <a:gd name="T105" fmla="*/ 61 h 672"/>
                <a:gd name="T106" fmla="*/ 19 w 743"/>
                <a:gd name="T107" fmla="*/ 56 h 672"/>
                <a:gd name="T108" fmla="*/ 17 w 743"/>
                <a:gd name="T109" fmla="*/ 40 h 672"/>
                <a:gd name="T110" fmla="*/ 24 w 743"/>
                <a:gd name="T111" fmla="*/ 20 h 672"/>
                <a:gd name="T112" fmla="*/ 32 w 743"/>
                <a:gd name="T113" fmla="*/ 5 h 672"/>
                <a:gd name="T114" fmla="*/ 17 w 743"/>
                <a:gd name="T115" fmla="*/ 10 h 672"/>
                <a:gd name="T116" fmla="*/ 5 w 743"/>
                <a:gd name="T117" fmla="*/ 23 h 672"/>
                <a:gd name="T118" fmla="*/ 0 w 743"/>
                <a:gd name="T119" fmla="*/ 40 h 6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43"/>
                <a:gd name="T181" fmla="*/ 0 h 672"/>
                <a:gd name="T182" fmla="*/ 743 w 743"/>
                <a:gd name="T183" fmla="*/ 672 h 6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2" name="Freeform 169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8186979" y="4624265"/>
              <a:ext cx="28929" cy="10137"/>
            </a:xfrm>
            <a:custGeom>
              <a:avLst/>
              <a:gdLst>
                <a:gd name="T0" fmla="*/ 0 w 79"/>
                <a:gd name="T1" fmla="*/ 2147483647 h 23"/>
                <a:gd name="T2" fmla="*/ 2147483647 w 79"/>
                <a:gd name="T3" fmla="*/ 2147483647 h 23"/>
                <a:gd name="T4" fmla="*/ 2147483647 w 79"/>
                <a:gd name="T5" fmla="*/ 2147483647 h 23"/>
                <a:gd name="T6" fmla="*/ 2147483647 w 79"/>
                <a:gd name="T7" fmla="*/ 2147483647 h 23"/>
                <a:gd name="T8" fmla="*/ 2147483647 w 79"/>
                <a:gd name="T9" fmla="*/ 0 h 23"/>
                <a:gd name="T10" fmla="*/ 2147483647 w 79"/>
                <a:gd name="T11" fmla="*/ 0 h 23"/>
                <a:gd name="T12" fmla="*/ 2147483647 w 79"/>
                <a:gd name="T13" fmla="*/ 2147483647 h 23"/>
                <a:gd name="T14" fmla="*/ 2147483647 w 79"/>
                <a:gd name="T15" fmla="*/ 2147483647 h 23"/>
                <a:gd name="T16" fmla="*/ 2147483647 w 79"/>
                <a:gd name="T17" fmla="*/ 2147483647 h 23"/>
                <a:gd name="T18" fmla="*/ 2147483647 w 79"/>
                <a:gd name="T19" fmla="*/ 2147483647 h 23"/>
                <a:gd name="T20" fmla="*/ 2147483647 w 79"/>
                <a:gd name="T21" fmla="*/ 2147483647 h 23"/>
                <a:gd name="T22" fmla="*/ 2147483647 w 79"/>
                <a:gd name="T23" fmla="*/ 2147483647 h 23"/>
                <a:gd name="T24" fmla="*/ 2147483647 w 79"/>
                <a:gd name="T25" fmla="*/ 2147483647 h 23"/>
                <a:gd name="T26" fmla="*/ 2147483647 w 79"/>
                <a:gd name="T27" fmla="*/ 2147483647 h 23"/>
                <a:gd name="T28" fmla="*/ 2147483647 w 79"/>
                <a:gd name="T29" fmla="*/ 2147483647 h 23"/>
                <a:gd name="T30" fmla="*/ 2147483647 w 79"/>
                <a:gd name="T31" fmla="*/ 2147483647 h 23"/>
                <a:gd name="T32" fmla="*/ 2147483647 w 79"/>
                <a:gd name="T33" fmla="*/ 2147483647 h 23"/>
                <a:gd name="T34" fmla="*/ 2147483647 w 79"/>
                <a:gd name="T35" fmla="*/ 2147483647 h 23"/>
                <a:gd name="T36" fmla="*/ 2147483647 w 79"/>
                <a:gd name="T37" fmla="*/ 2147483647 h 23"/>
                <a:gd name="T38" fmla="*/ 2147483647 w 79"/>
                <a:gd name="T39" fmla="*/ 2147483647 h 23"/>
                <a:gd name="T40" fmla="*/ 2147483647 w 79"/>
                <a:gd name="T41" fmla="*/ 2147483647 h 23"/>
                <a:gd name="T42" fmla="*/ 2147483647 w 79"/>
                <a:gd name="T43" fmla="*/ 2147483647 h 23"/>
                <a:gd name="T44" fmla="*/ 2147483647 w 79"/>
                <a:gd name="T45" fmla="*/ 2147483647 h 23"/>
                <a:gd name="T46" fmla="*/ 2147483647 w 79"/>
                <a:gd name="T47" fmla="*/ 2147483647 h 23"/>
                <a:gd name="T48" fmla="*/ 0 w 79"/>
                <a:gd name="T49" fmla="*/ 2147483647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9"/>
                <a:gd name="T76" fmla="*/ 0 h 23"/>
                <a:gd name="T77" fmla="*/ 79 w 79"/>
                <a:gd name="T78" fmla="*/ 23 h 2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3" name="Freeform 170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8292568" y="4745909"/>
              <a:ext cx="1447" cy="4344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2147483647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  <a:gd name="T9" fmla="*/ 0 w 1588"/>
                <a:gd name="T10" fmla="*/ 0 h 6"/>
                <a:gd name="T11" fmla="*/ 1588 w 1588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4" name="Line 171"/>
            <p:cNvSpPr>
              <a:spLocks noChangeShapeType="1"/>
            </p:cNvSpPr>
            <p:nvPr>
              <p:custDataLst>
                <p:tags r:id="rId130"/>
              </p:custDataLst>
            </p:nvPr>
          </p:nvSpPr>
          <p:spPr bwMode="auto">
            <a:xfrm flipV="1">
              <a:off x="8375015" y="4744461"/>
              <a:ext cx="1446" cy="11585"/>
            </a:xfrm>
            <a:prstGeom prst="line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5" name="Freeform 172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8375015" y="4744461"/>
              <a:ext cx="2893" cy="14482"/>
            </a:xfrm>
            <a:custGeom>
              <a:avLst/>
              <a:gdLst>
                <a:gd name="T0" fmla="*/ 0 w 5"/>
                <a:gd name="T1" fmla="*/ 0 h 30"/>
                <a:gd name="T2" fmla="*/ 2147483647 w 5"/>
                <a:gd name="T3" fmla="*/ 2147483647 h 30"/>
                <a:gd name="T4" fmla="*/ 2147483647 w 5"/>
                <a:gd name="T5" fmla="*/ 2147483647 h 30"/>
                <a:gd name="T6" fmla="*/ 2147483647 w 5"/>
                <a:gd name="T7" fmla="*/ 2147483647 h 30"/>
                <a:gd name="T8" fmla="*/ 2147483647 w 5"/>
                <a:gd name="T9" fmla="*/ 2147483647 h 30"/>
                <a:gd name="T10" fmla="*/ 2147483647 w 5"/>
                <a:gd name="T11" fmla="*/ 2147483647 h 30"/>
                <a:gd name="T12" fmla="*/ 2147483647 w 5"/>
                <a:gd name="T13" fmla="*/ 2147483647 h 30"/>
                <a:gd name="T14" fmla="*/ 2147483647 w 5"/>
                <a:gd name="T15" fmla="*/ 2147483647 h 30"/>
                <a:gd name="T16" fmla="*/ 0 w 5"/>
                <a:gd name="T17" fmla="*/ 2147483647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"/>
                <a:gd name="T28" fmla="*/ 0 h 30"/>
                <a:gd name="T29" fmla="*/ 5 w 5"/>
                <a:gd name="T30" fmla="*/ 30 h 3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6" name="Freeform 173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8646944" y="4260778"/>
              <a:ext cx="20250" cy="26067"/>
            </a:xfrm>
            <a:custGeom>
              <a:avLst/>
              <a:gdLst>
                <a:gd name="T0" fmla="*/ 0 w 53"/>
                <a:gd name="T1" fmla="*/ 2147483647 h 55"/>
                <a:gd name="T2" fmla="*/ 2147483647 w 53"/>
                <a:gd name="T3" fmla="*/ 2147483647 h 55"/>
                <a:gd name="T4" fmla="*/ 2147483647 w 53"/>
                <a:gd name="T5" fmla="*/ 2147483647 h 55"/>
                <a:gd name="T6" fmla="*/ 2147483647 w 53"/>
                <a:gd name="T7" fmla="*/ 2147483647 h 55"/>
                <a:gd name="T8" fmla="*/ 2147483647 w 53"/>
                <a:gd name="T9" fmla="*/ 2147483647 h 55"/>
                <a:gd name="T10" fmla="*/ 2147483647 w 53"/>
                <a:gd name="T11" fmla="*/ 2147483647 h 55"/>
                <a:gd name="T12" fmla="*/ 2147483647 w 53"/>
                <a:gd name="T13" fmla="*/ 2147483647 h 55"/>
                <a:gd name="T14" fmla="*/ 2147483647 w 53"/>
                <a:gd name="T15" fmla="*/ 2147483647 h 55"/>
                <a:gd name="T16" fmla="*/ 2147483647 w 53"/>
                <a:gd name="T17" fmla="*/ 2147483647 h 55"/>
                <a:gd name="T18" fmla="*/ 2147483647 w 53"/>
                <a:gd name="T19" fmla="*/ 2147483647 h 55"/>
                <a:gd name="T20" fmla="*/ 2147483647 w 53"/>
                <a:gd name="T21" fmla="*/ 2147483647 h 55"/>
                <a:gd name="T22" fmla="*/ 2147483647 w 53"/>
                <a:gd name="T23" fmla="*/ 2147483647 h 55"/>
                <a:gd name="T24" fmla="*/ 2147483647 w 53"/>
                <a:gd name="T25" fmla="*/ 2147483647 h 55"/>
                <a:gd name="T26" fmla="*/ 2147483647 w 53"/>
                <a:gd name="T27" fmla="*/ 0 h 55"/>
                <a:gd name="T28" fmla="*/ 2147483647 w 53"/>
                <a:gd name="T29" fmla="*/ 2147483647 h 55"/>
                <a:gd name="T30" fmla="*/ 0 w 53"/>
                <a:gd name="T31" fmla="*/ 2147483647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3"/>
                <a:gd name="T49" fmla="*/ 0 h 55"/>
                <a:gd name="T50" fmla="*/ 53 w 53"/>
                <a:gd name="T51" fmla="*/ 55 h 5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7" name="Freeform 174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8652729" y="4194162"/>
              <a:ext cx="24589" cy="36204"/>
            </a:xfrm>
            <a:custGeom>
              <a:avLst/>
              <a:gdLst>
                <a:gd name="T0" fmla="*/ 0 w 65"/>
                <a:gd name="T1" fmla="*/ 2147483647 h 75"/>
                <a:gd name="T2" fmla="*/ 2147483647 w 65"/>
                <a:gd name="T3" fmla="*/ 2147483647 h 75"/>
                <a:gd name="T4" fmla="*/ 2147483647 w 65"/>
                <a:gd name="T5" fmla="*/ 2147483647 h 75"/>
                <a:gd name="T6" fmla="*/ 2147483647 w 65"/>
                <a:gd name="T7" fmla="*/ 2147483647 h 75"/>
                <a:gd name="T8" fmla="*/ 2147483647 w 65"/>
                <a:gd name="T9" fmla="*/ 2147483647 h 75"/>
                <a:gd name="T10" fmla="*/ 2147483647 w 65"/>
                <a:gd name="T11" fmla="*/ 2147483647 h 75"/>
                <a:gd name="T12" fmla="*/ 2147483647 w 65"/>
                <a:gd name="T13" fmla="*/ 2147483647 h 75"/>
                <a:gd name="T14" fmla="*/ 2147483647 w 65"/>
                <a:gd name="T15" fmla="*/ 2147483647 h 75"/>
                <a:gd name="T16" fmla="*/ 2147483647 w 65"/>
                <a:gd name="T17" fmla="*/ 2147483647 h 75"/>
                <a:gd name="T18" fmla="*/ 2147483647 w 65"/>
                <a:gd name="T19" fmla="*/ 2147483647 h 75"/>
                <a:gd name="T20" fmla="*/ 2147483647 w 65"/>
                <a:gd name="T21" fmla="*/ 2147483647 h 75"/>
                <a:gd name="T22" fmla="*/ 2147483647 w 65"/>
                <a:gd name="T23" fmla="*/ 2147483647 h 75"/>
                <a:gd name="T24" fmla="*/ 2147483647 w 65"/>
                <a:gd name="T25" fmla="*/ 2147483647 h 75"/>
                <a:gd name="T26" fmla="*/ 2147483647 w 65"/>
                <a:gd name="T27" fmla="*/ 2147483647 h 75"/>
                <a:gd name="T28" fmla="*/ 2147483647 w 65"/>
                <a:gd name="T29" fmla="*/ 2147483647 h 75"/>
                <a:gd name="T30" fmla="*/ 2147483647 w 65"/>
                <a:gd name="T31" fmla="*/ 2147483647 h 75"/>
                <a:gd name="T32" fmla="*/ 2147483647 w 65"/>
                <a:gd name="T33" fmla="*/ 2147483647 h 75"/>
                <a:gd name="T34" fmla="*/ 2147483647 w 65"/>
                <a:gd name="T35" fmla="*/ 2147483647 h 75"/>
                <a:gd name="T36" fmla="*/ 2147483647 w 65"/>
                <a:gd name="T37" fmla="*/ 0 h 75"/>
                <a:gd name="T38" fmla="*/ 2147483647 w 65"/>
                <a:gd name="T39" fmla="*/ 0 h 75"/>
                <a:gd name="T40" fmla="*/ 2147483647 w 65"/>
                <a:gd name="T41" fmla="*/ 0 h 75"/>
                <a:gd name="T42" fmla="*/ 2147483647 w 65"/>
                <a:gd name="T43" fmla="*/ 2147483647 h 75"/>
                <a:gd name="T44" fmla="*/ 2147483647 w 65"/>
                <a:gd name="T45" fmla="*/ 2147483647 h 75"/>
                <a:gd name="T46" fmla="*/ 2147483647 w 65"/>
                <a:gd name="T47" fmla="*/ 2147483647 h 75"/>
                <a:gd name="T48" fmla="*/ 2147483647 w 65"/>
                <a:gd name="T49" fmla="*/ 2147483647 h 75"/>
                <a:gd name="T50" fmla="*/ 2147483647 w 65"/>
                <a:gd name="T51" fmla="*/ 2147483647 h 75"/>
                <a:gd name="T52" fmla="*/ 2147483647 w 65"/>
                <a:gd name="T53" fmla="*/ 2147483647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5"/>
                <a:gd name="T82" fmla="*/ 0 h 75"/>
                <a:gd name="T83" fmla="*/ 65 w 65"/>
                <a:gd name="T84" fmla="*/ 75 h 75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8" name="Freeform 175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8631032" y="4172441"/>
              <a:ext cx="15911" cy="27514"/>
            </a:xfrm>
            <a:custGeom>
              <a:avLst/>
              <a:gdLst>
                <a:gd name="T0" fmla="*/ 0 w 40"/>
                <a:gd name="T1" fmla="*/ 2147483647 h 62"/>
                <a:gd name="T2" fmla="*/ 2147483647 w 40"/>
                <a:gd name="T3" fmla="*/ 2147483647 h 62"/>
                <a:gd name="T4" fmla="*/ 2147483647 w 40"/>
                <a:gd name="T5" fmla="*/ 2147483647 h 62"/>
                <a:gd name="T6" fmla="*/ 2147483647 w 40"/>
                <a:gd name="T7" fmla="*/ 2147483647 h 62"/>
                <a:gd name="T8" fmla="*/ 2147483647 w 40"/>
                <a:gd name="T9" fmla="*/ 2147483647 h 62"/>
                <a:gd name="T10" fmla="*/ 2147483647 w 40"/>
                <a:gd name="T11" fmla="*/ 2147483647 h 62"/>
                <a:gd name="T12" fmla="*/ 2147483647 w 40"/>
                <a:gd name="T13" fmla="*/ 2147483647 h 62"/>
                <a:gd name="T14" fmla="*/ 2147483647 w 40"/>
                <a:gd name="T15" fmla="*/ 2147483647 h 62"/>
                <a:gd name="T16" fmla="*/ 2147483647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0"/>
                <a:gd name="T28" fmla="*/ 0 h 62"/>
                <a:gd name="T29" fmla="*/ 40 w 40"/>
                <a:gd name="T30" fmla="*/ 62 h 6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9" name="Freeform 176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8557265" y="4060932"/>
              <a:ext cx="62196" cy="125990"/>
            </a:xfrm>
            <a:custGeom>
              <a:avLst/>
              <a:gdLst>
                <a:gd name="T0" fmla="*/ 2147483647 w 159"/>
                <a:gd name="T1" fmla="*/ 2147483647 h 259"/>
                <a:gd name="T2" fmla="*/ 2147483647 w 159"/>
                <a:gd name="T3" fmla="*/ 2147483647 h 259"/>
                <a:gd name="T4" fmla="*/ 2147483647 w 159"/>
                <a:gd name="T5" fmla="*/ 2147483647 h 259"/>
                <a:gd name="T6" fmla="*/ 2147483647 w 159"/>
                <a:gd name="T7" fmla="*/ 2147483647 h 259"/>
                <a:gd name="T8" fmla="*/ 2147483647 w 159"/>
                <a:gd name="T9" fmla="*/ 2147483647 h 259"/>
                <a:gd name="T10" fmla="*/ 2147483647 w 159"/>
                <a:gd name="T11" fmla="*/ 2147483647 h 259"/>
                <a:gd name="T12" fmla="*/ 2147483647 w 159"/>
                <a:gd name="T13" fmla="*/ 2147483647 h 259"/>
                <a:gd name="T14" fmla="*/ 2147483647 w 159"/>
                <a:gd name="T15" fmla="*/ 2147483647 h 259"/>
                <a:gd name="T16" fmla="*/ 2147483647 w 159"/>
                <a:gd name="T17" fmla="*/ 2147483647 h 259"/>
                <a:gd name="T18" fmla="*/ 2147483647 w 159"/>
                <a:gd name="T19" fmla="*/ 2147483647 h 259"/>
                <a:gd name="T20" fmla="*/ 2147483647 w 159"/>
                <a:gd name="T21" fmla="*/ 2147483647 h 259"/>
                <a:gd name="T22" fmla="*/ 2147483647 w 159"/>
                <a:gd name="T23" fmla="*/ 2147483647 h 259"/>
                <a:gd name="T24" fmla="*/ 2147483647 w 159"/>
                <a:gd name="T25" fmla="*/ 2147483647 h 259"/>
                <a:gd name="T26" fmla="*/ 2147483647 w 159"/>
                <a:gd name="T27" fmla="*/ 2147483647 h 259"/>
                <a:gd name="T28" fmla="*/ 2147483647 w 159"/>
                <a:gd name="T29" fmla="*/ 2147483647 h 259"/>
                <a:gd name="T30" fmla="*/ 2147483647 w 159"/>
                <a:gd name="T31" fmla="*/ 2147483647 h 259"/>
                <a:gd name="T32" fmla="*/ 2147483647 w 159"/>
                <a:gd name="T33" fmla="*/ 2147483647 h 259"/>
                <a:gd name="T34" fmla="*/ 2147483647 w 159"/>
                <a:gd name="T35" fmla="*/ 2147483647 h 259"/>
                <a:gd name="T36" fmla="*/ 2147483647 w 159"/>
                <a:gd name="T37" fmla="*/ 2147483647 h 259"/>
                <a:gd name="T38" fmla="*/ 2147483647 w 159"/>
                <a:gd name="T39" fmla="*/ 2147483647 h 259"/>
                <a:gd name="T40" fmla="*/ 2147483647 w 159"/>
                <a:gd name="T41" fmla="*/ 2147483647 h 259"/>
                <a:gd name="T42" fmla="*/ 2147483647 w 159"/>
                <a:gd name="T43" fmla="*/ 2147483647 h 259"/>
                <a:gd name="T44" fmla="*/ 2147483647 w 159"/>
                <a:gd name="T45" fmla="*/ 2147483647 h 259"/>
                <a:gd name="T46" fmla="*/ 2147483647 w 159"/>
                <a:gd name="T47" fmla="*/ 2147483647 h 259"/>
                <a:gd name="T48" fmla="*/ 2147483647 w 159"/>
                <a:gd name="T49" fmla="*/ 2147483647 h 259"/>
                <a:gd name="T50" fmla="*/ 2147483647 w 159"/>
                <a:gd name="T51" fmla="*/ 2147483647 h 259"/>
                <a:gd name="T52" fmla="*/ 2147483647 w 159"/>
                <a:gd name="T53" fmla="*/ 2147483647 h 259"/>
                <a:gd name="T54" fmla="*/ 2147483647 w 159"/>
                <a:gd name="T55" fmla="*/ 2147483647 h 259"/>
                <a:gd name="T56" fmla="*/ 2147483647 w 159"/>
                <a:gd name="T57" fmla="*/ 2147483647 h 259"/>
                <a:gd name="T58" fmla="*/ 2147483647 w 159"/>
                <a:gd name="T59" fmla="*/ 2147483647 h 259"/>
                <a:gd name="T60" fmla="*/ 2147483647 w 159"/>
                <a:gd name="T61" fmla="*/ 2147483647 h 259"/>
                <a:gd name="T62" fmla="*/ 2147483647 w 159"/>
                <a:gd name="T63" fmla="*/ 2147483647 h 259"/>
                <a:gd name="T64" fmla="*/ 2147483647 w 159"/>
                <a:gd name="T65" fmla="*/ 2147483647 h 259"/>
                <a:gd name="T66" fmla="*/ 2147483647 w 159"/>
                <a:gd name="T67" fmla="*/ 2147483647 h 259"/>
                <a:gd name="T68" fmla="*/ 2147483647 w 159"/>
                <a:gd name="T69" fmla="*/ 2147483647 h 259"/>
                <a:gd name="T70" fmla="*/ 0 w 159"/>
                <a:gd name="T71" fmla="*/ 2147483647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9"/>
                <a:gd name="T112" fmla="*/ 0 h 259"/>
                <a:gd name="T113" fmla="*/ 159 w 159"/>
                <a:gd name="T114" fmla="*/ 259 h 25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0" name="Line 177"/>
            <p:cNvSpPr>
              <a:spLocks noChangeShapeType="1"/>
            </p:cNvSpPr>
            <p:nvPr>
              <p:custDataLst>
                <p:tags r:id="rId136"/>
              </p:custDataLst>
            </p:nvPr>
          </p:nvSpPr>
          <p:spPr bwMode="auto">
            <a:xfrm flipH="1" flipV="1">
              <a:off x="8551479" y="4030522"/>
              <a:ext cx="5786" cy="30411"/>
            </a:xfrm>
            <a:prstGeom prst="line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1" name="Freeform 178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8551479" y="4016040"/>
              <a:ext cx="5786" cy="14482"/>
            </a:xfrm>
            <a:custGeom>
              <a:avLst/>
              <a:gdLst>
                <a:gd name="T0" fmla="*/ 0 w 13"/>
                <a:gd name="T1" fmla="*/ 2147483647 h 25"/>
                <a:gd name="T2" fmla="*/ 2147483647 w 13"/>
                <a:gd name="T3" fmla="*/ 2147483647 h 25"/>
                <a:gd name="T4" fmla="*/ 2147483647 w 13"/>
                <a:gd name="T5" fmla="*/ 2147483647 h 25"/>
                <a:gd name="T6" fmla="*/ 2147483647 w 13"/>
                <a:gd name="T7" fmla="*/ 2147483647 h 25"/>
                <a:gd name="T8" fmla="*/ 2147483647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25"/>
                <a:gd name="T17" fmla="*/ 13 w 13"/>
                <a:gd name="T18" fmla="*/ 25 h 2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2" name="Line 179"/>
            <p:cNvSpPr>
              <a:spLocks noChangeShapeType="1"/>
            </p:cNvSpPr>
            <p:nvPr>
              <p:custDataLst>
                <p:tags r:id="rId138"/>
              </p:custDataLst>
            </p:nvPr>
          </p:nvSpPr>
          <p:spPr bwMode="auto">
            <a:xfrm flipV="1">
              <a:off x="8557265" y="4004455"/>
              <a:ext cx="0" cy="11585"/>
            </a:xfrm>
            <a:prstGeom prst="line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3" name="Freeform 180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8515318" y="3943632"/>
              <a:ext cx="41947" cy="60822"/>
            </a:xfrm>
            <a:custGeom>
              <a:avLst/>
              <a:gdLst>
                <a:gd name="T0" fmla="*/ 2147483647 w 100"/>
                <a:gd name="T1" fmla="*/ 2147483647 h 123"/>
                <a:gd name="T2" fmla="*/ 2147483647 w 100"/>
                <a:gd name="T3" fmla="*/ 2147483647 h 123"/>
                <a:gd name="T4" fmla="*/ 2147483647 w 100"/>
                <a:gd name="T5" fmla="*/ 2147483647 h 123"/>
                <a:gd name="T6" fmla="*/ 2147483647 w 100"/>
                <a:gd name="T7" fmla="*/ 2147483647 h 123"/>
                <a:gd name="T8" fmla="*/ 2147483647 w 100"/>
                <a:gd name="T9" fmla="*/ 2147483647 h 123"/>
                <a:gd name="T10" fmla="*/ 2147483647 w 100"/>
                <a:gd name="T11" fmla="*/ 2147483647 h 123"/>
                <a:gd name="T12" fmla="*/ 2147483647 w 100"/>
                <a:gd name="T13" fmla="*/ 2147483647 h 123"/>
                <a:gd name="T14" fmla="*/ 2147483647 w 100"/>
                <a:gd name="T15" fmla="*/ 2147483647 h 123"/>
                <a:gd name="T16" fmla="*/ 2147483647 w 100"/>
                <a:gd name="T17" fmla="*/ 2147483647 h 123"/>
                <a:gd name="T18" fmla="*/ 2147483647 w 100"/>
                <a:gd name="T19" fmla="*/ 2147483647 h 123"/>
                <a:gd name="T20" fmla="*/ 2147483647 w 100"/>
                <a:gd name="T21" fmla="*/ 2147483647 h 123"/>
                <a:gd name="T22" fmla="*/ 2147483647 w 100"/>
                <a:gd name="T23" fmla="*/ 2147483647 h 123"/>
                <a:gd name="T24" fmla="*/ 0 w 100"/>
                <a:gd name="T25" fmla="*/ 2147483647 h 123"/>
                <a:gd name="T26" fmla="*/ 2147483647 w 100"/>
                <a:gd name="T27" fmla="*/ 2147483647 h 123"/>
                <a:gd name="T28" fmla="*/ 2147483647 w 100"/>
                <a:gd name="T29" fmla="*/ 2147483647 h 123"/>
                <a:gd name="T30" fmla="*/ 2147483647 w 100"/>
                <a:gd name="T31" fmla="*/ 2147483647 h 123"/>
                <a:gd name="T32" fmla="*/ 2147483647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00"/>
                <a:gd name="T52" fmla="*/ 0 h 123"/>
                <a:gd name="T53" fmla="*/ 100 w 100"/>
                <a:gd name="T54" fmla="*/ 123 h 12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4" name="Freeform 181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8528336" y="3891499"/>
              <a:ext cx="1446" cy="46341"/>
            </a:xfrm>
            <a:custGeom>
              <a:avLst/>
              <a:gdLst>
                <a:gd name="T0" fmla="*/ 2147483647 w 5"/>
                <a:gd name="T1" fmla="*/ 0 h 99"/>
                <a:gd name="T2" fmla="*/ 2147483647 w 5"/>
                <a:gd name="T3" fmla="*/ 2147483647 h 99"/>
                <a:gd name="T4" fmla="*/ 2147483647 w 5"/>
                <a:gd name="T5" fmla="*/ 2147483647 h 99"/>
                <a:gd name="T6" fmla="*/ 0 w 5"/>
                <a:gd name="T7" fmla="*/ 2147483647 h 99"/>
                <a:gd name="T8" fmla="*/ 0 w 5"/>
                <a:gd name="T9" fmla="*/ 2147483647 h 99"/>
                <a:gd name="T10" fmla="*/ 2147483647 w 5"/>
                <a:gd name="T11" fmla="*/ 2147483647 h 99"/>
                <a:gd name="T12" fmla="*/ 2147483647 w 5"/>
                <a:gd name="T13" fmla="*/ 2147483647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99"/>
                <a:gd name="T23" fmla="*/ 5 w 5"/>
                <a:gd name="T24" fmla="*/ 99 h 9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5" name="Freeform 182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8534122" y="3885706"/>
              <a:ext cx="7232" cy="33307"/>
            </a:xfrm>
            <a:custGeom>
              <a:avLst/>
              <a:gdLst>
                <a:gd name="T0" fmla="*/ 2147483647 w 14"/>
                <a:gd name="T1" fmla="*/ 0 h 68"/>
                <a:gd name="T2" fmla="*/ 2147483647 w 14"/>
                <a:gd name="T3" fmla="*/ 2147483647 h 68"/>
                <a:gd name="T4" fmla="*/ 2147483647 w 14"/>
                <a:gd name="T5" fmla="*/ 2147483647 h 68"/>
                <a:gd name="T6" fmla="*/ 2147483647 w 14"/>
                <a:gd name="T7" fmla="*/ 2147483647 h 68"/>
                <a:gd name="T8" fmla="*/ 0 w 14"/>
                <a:gd name="T9" fmla="*/ 2147483647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68"/>
                <a:gd name="T17" fmla="*/ 14 w 14"/>
                <a:gd name="T18" fmla="*/ 68 h 6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6" name="Freeform 183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8548586" y="3868328"/>
              <a:ext cx="1446" cy="20274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2147483647 h 43"/>
                <a:gd name="T4" fmla="*/ 0 w 1587"/>
                <a:gd name="T5" fmla="*/ 2147483647 h 43"/>
                <a:gd name="T6" fmla="*/ 0 w 1587"/>
                <a:gd name="T7" fmla="*/ 2147483647 h 43"/>
                <a:gd name="T8" fmla="*/ 0 w 1587"/>
                <a:gd name="T9" fmla="*/ 2147483647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87"/>
                <a:gd name="T16" fmla="*/ 0 h 43"/>
                <a:gd name="T17" fmla="*/ 1587 w 1587"/>
                <a:gd name="T18" fmla="*/ 43 h 4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7" name="Line 184"/>
            <p:cNvSpPr>
              <a:spLocks noChangeShapeType="1"/>
            </p:cNvSpPr>
            <p:nvPr>
              <p:custDataLst>
                <p:tags r:id="rId143"/>
              </p:custDataLst>
            </p:nvPr>
          </p:nvSpPr>
          <p:spPr bwMode="auto">
            <a:xfrm flipV="1">
              <a:off x="8548586" y="3885706"/>
              <a:ext cx="1446" cy="2896"/>
            </a:xfrm>
            <a:prstGeom prst="line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8" name="Freeform 185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8534122" y="3871225"/>
              <a:ext cx="1446" cy="14482"/>
            </a:xfrm>
            <a:custGeom>
              <a:avLst/>
              <a:gdLst>
                <a:gd name="T0" fmla="*/ 0 w 1587"/>
                <a:gd name="T1" fmla="*/ 2147483647 h 31"/>
                <a:gd name="T2" fmla="*/ 0 w 1587"/>
                <a:gd name="T3" fmla="*/ 2147483647 h 31"/>
                <a:gd name="T4" fmla="*/ 0 w 1587"/>
                <a:gd name="T5" fmla="*/ 2147483647 h 31"/>
                <a:gd name="T6" fmla="*/ 0 w 1587"/>
                <a:gd name="T7" fmla="*/ 2147483647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87"/>
                <a:gd name="T16" fmla="*/ 0 h 31"/>
                <a:gd name="T17" fmla="*/ 1587 w 1587"/>
                <a:gd name="T18" fmla="*/ 31 h 3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9" name="Freeform 186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8279551" y="4773424"/>
              <a:ext cx="88232" cy="79649"/>
            </a:xfrm>
            <a:custGeom>
              <a:avLst/>
              <a:gdLst>
                <a:gd name="T0" fmla="*/ 2147483647 w 225"/>
                <a:gd name="T1" fmla="*/ 2147483647 h 167"/>
                <a:gd name="T2" fmla="*/ 2147483647 w 225"/>
                <a:gd name="T3" fmla="*/ 2147483647 h 167"/>
                <a:gd name="T4" fmla="*/ 0 w 225"/>
                <a:gd name="T5" fmla="*/ 2147483647 h 167"/>
                <a:gd name="T6" fmla="*/ 2147483647 w 225"/>
                <a:gd name="T7" fmla="*/ 2147483647 h 167"/>
                <a:gd name="T8" fmla="*/ 2147483647 w 225"/>
                <a:gd name="T9" fmla="*/ 2147483647 h 167"/>
                <a:gd name="T10" fmla="*/ 2147483647 w 225"/>
                <a:gd name="T11" fmla="*/ 2147483647 h 167"/>
                <a:gd name="T12" fmla="*/ 2147483647 w 225"/>
                <a:gd name="T13" fmla="*/ 2147483647 h 167"/>
                <a:gd name="T14" fmla="*/ 2147483647 w 225"/>
                <a:gd name="T15" fmla="*/ 2147483647 h 167"/>
                <a:gd name="T16" fmla="*/ 2147483647 w 225"/>
                <a:gd name="T17" fmla="*/ 2147483647 h 167"/>
                <a:gd name="T18" fmla="*/ 2147483647 w 225"/>
                <a:gd name="T19" fmla="*/ 2147483647 h 167"/>
                <a:gd name="T20" fmla="*/ 2147483647 w 225"/>
                <a:gd name="T21" fmla="*/ 2147483647 h 167"/>
                <a:gd name="T22" fmla="*/ 2147483647 w 225"/>
                <a:gd name="T23" fmla="*/ 2147483647 h 167"/>
                <a:gd name="T24" fmla="*/ 2147483647 w 225"/>
                <a:gd name="T25" fmla="*/ 2147483647 h 167"/>
                <a:gd name="T26" fmla="*/ 2147483647 w 225"/>
                <a:gd name="T27" fmla="*/ 2147483647 h 167"/>
                <a:gd name="T28" fmla="*/ 2147483647 w 225"/>
                <a:gd name="T29" fmla="*/ 2147483647 h 167"/>
                <a:gd name="T30" fmla="*/ 2147483647 w 225"/>
                <a:gd name="T31" fmla="*/ 2147483647 h 167"/>
                <a:gd name="T32" fmla="*/ 2147483647 w 225"/>
                <a:gd name="T33" fmla="*/ 2147483647 h 167"/>
                <a:gd name="T34" fmla="*/ 2147483647 w 225"/>
                <a:gd name="T35" fmla="*/ 0 h 167"/>
                <a:gd name="T36" fmla="*/ 2147483647 w 225"/>
                <a:gd name="T37" fmla="*/ 2147483647 h 167"/>
                <a:gd name="T38" fmla="*/ 2147483647 w 225"/>
                <a:gd name="T39" fmla="*/ 2147483647 h 167"/>
                <a:gd name="T40" fmla="*/ 2147483647 w 225"/>
                <a:gd name="T41" fmla="*/ 2147483647 h 167"/>
                <a:gd name="T42" fmla="*/ 2147483647 w 225"/>
                <a:gd name="T43" fmla="*/ 2147483647 h 167"/>
                <a:gd name="T44" fmla="*/ 2147483647 w 225"/>
                <a:gd name="T45" fmla="*/ 2147483647 h 167"/>
                <a:gd name="T46" fmla="*/ 2147483647 w 225"/>
                <a:gd name="T47" fmla="*/ 2147483647 h 167"/>
                <a:gd name="T48" fmla="*/ 2147483647 w 225"/>
                <a:gd name="T49" fmla="*/ 2147483647 h 167"/>
                <a:gd name="T50" fmla="*/ 2147483647 w 225"/>
                <a:gd name="T51" fmla="*/ 2147483647 h 167"/>
                <a:gd name="T52" fmla="*/ 2147483647 w 225"/>
                <a:gd name="T53" fmla="*/ 2147483647 h 167"/>
                <a:gd name="T54" fmla="*/ 2147483647 w 225"/>
                <a:gd name="T55" fmla="*/ 2147483647 h 167"/>
                <a:gd name="T56" fmla="*/ 2147483647 w 225"/>
                <a:gd name="T57" fmla="*/ 2147483647 h 167"/>
                <a:gd name="T58" fmla="*/ 2147483647 w 225"/>
                <a:gd name="T59" fmla="*/ 2147483647 h 167"/>
                <a:gd name="T60" fmla="*/ 2147483647 w 225"/>
                <a:gd name="T61" fmla="*/ 2147483647 h 167"/>
                <a:gd name="T62" fmla="*/ 2147483647 w 225"/>
                <a:gd name="T63" fmla="*/ 2147483647 h 167"/>
                <a:gd name="T64" fmla="*/ 2147483647 w 225"/>
                <a:gd name="T65" fmla="*/ 2147483647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25"/>
                <a:gd name="T100" fmla="*/ 0 h 167"/>
                <a:gd name="T101" fmla="*/ 225 w 225"/>
                <a:gd name="T102" fmla="*/ 167 h 16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0" name="Freeform 187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8405390" y="4060932"/>
              <a:ext cx="2893" cy="15930"/>
            </a:xfrm>
            <a:custGeom>
              <a:avLst/>
              <a:gdLst>
                <a:gd name="T0" fmla="*/ 0 w 7"/>
                <a:gd name="T1" fmla="*/ 2147483647 h 31"/>
                <a:gd name="T2" fmla="*/ 2147483647 w 7"/>
                <a:gd name="T3" fmla="*/ 2147483647 h 31"/>
                <a:gd name="T4" fmla="*/ 2147483647 w 7"/>
                <a:gd name="T5" fmla="*/ 2147483647 h 31"/>
                <a:gd name="T6" fmla="*/ 2147483647 w 7"/>
                <a:gd name="T7" fmla="*/ 2147483647 h 31"/>
                <a:gd name="T8" fmla="*/ 2147483647 w 7"/>
                <a:gd name="T9" fmla="*/ 0 h 31"/>
                <a:gd name="T10" fmla="*/ 2147483647 w 7"/>
                <a:gd name="T11" fmla="*/ 2147483647 h 31"/>
                <a:gd name="T12" fmla="*/ 2147483647 w 7"/>
                <a:gd name="T13" fmla="*/ 2147483647 h 31"/>
                <a:gd name="T14" fmla="*/ 2147483647 w 7"/>
                <a:gd name="T15" fmla="*/ 2147483647 h 31"/>
                <a:gd name="T16" fmla="*/ 0 w 7"/>
                <a:gd name="T17" fmla="*/ 2147483647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31"/>
                <a:gd name="T29" fmla="*/ 7 w 7"/>
                <a:gd name="T30" fmla="*/ 31 h 3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1" name="Freeform 188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8344640" y="3989973"/>
              <a:ext cx="14464" cy="14482"/>
            </a:xfrm>
            <a:custGeom>
              <a:avLst/>
              <a:gdLst>
                <a:gd name="T0" fmla="*/ 2147483647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0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0 w 33"/>
                <a:gd name="T19" fmla="*/ 2147483647 h 31"/>
                <a:gd name="T20" fmla="*/ 2147483647 w 33"/>
                <a:gd name="T21" fmla="*/ 2147483647 h 31"/>
                <a:gd name="T22" fmla="*/ 2147483647 w 33"/>
                <a:gd name="T23" fmla="*/ 2147483647 h 31"/>
                <a:gd name="T24" fmla="*/ 2147483647 w 33"/>
                <a:gd name="T25" fmla="*/ 2147483647 h 31"/>
                <a:gd name="T26" fmla="*/ 2147483647 w 33"/>
                <a:gd name="T27" fmla="*/ 2147483647 h 31"/>
                <a:gd name="T28" fmla="*/ 2147483647 w 33"/>
                <a:gd name="T29" fmla="*/ 2147483647 h 31"/>
                <a:gd name="T30" fmla="*/ 2147483647 w 33"/>
                <a:gd name="T31" fmla="*/ 2147483647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3"/>
                <a:gd name="T49" fmla="*/ 0 h 31"/>
                <a:gd name="T50" fmla="*/ 33 w 33"/>
                <a:gd name="T51" fmla="*/ 31 h 3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2" name="Freeform 189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8359104" y="3910324"/>
              <a:ext cx="2893" cy="8689"/>
            </a:xfrm>
            <a:custGeom>
              <a:avLst/>
              <a:gdLst>
                <a:gd name="T0" fmla="*/ 0 w 13"/>
                <a:gd name="T1" fmla="*/ 2147483647 h 19"/>
                <a:gd name="T2" fmla="*/ 2147483647 w 13"/>
                <a:gd name="T3" fmla="*/ 2147483647 h 19"/>
                <a:gd name="T4" fmla="*/ 2147483647 w 13"/>
                <a:gd name="T5" fmla="*/ 2147483647 h 19"/>
                <a:gd name="T6" fmla="*/ 2147483647 w 13"/>
                <a:gd name="T7" fmla="*/ 2147483647 h 19"/>
                <a:gd name="T8" fmla="*/ 2147483647 w 13"/>
                <a:gd name="T9" fmla="*/ 2147483647 h 19"/>
                <a:gd name="T10" fmla="*/ 2147483647 w 13"/>
                <a:gd name="T11" fmla="*/ 2147483647 h 19"/>
                <a:gd name="T12" fmla="*/ 2147483647 w 13"/>
                <a:gd name="T13" fmla="*/ 0 h 19"/>
                <a:gd name="T14" fmla="*/ 0 w 13"/>
                <a:gd name="T15" fmla="*/ 2147483647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19"/>
                <a:gd name="T26" fmla="*/ 13 w 13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3" name="Freeform 190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8213015" y="3913221"/>
              <a:ext cx="33267" cy="20274"/>
            </a:xfrm>
            <a:custGeom>
              <a:avLst/>
              <a:gdLst>
                <a:gd name="T0" fmla="*/ 2147483647 w 87"/>
                <a:gd name="T1" fmla="*/ 2147483647 h 42"/>
                <a:gd name="T2" fmla="*/ 2147483647 w 87"/>
                <a:gd name="T3" fmla="*/ 2147483647 h 42"/>
                <a:gd name="T4" fmla="*/ 2147483647 w 87"/>
                <a:gd name="T5" fmla="*/ 2147483647 h 42"/>
                <a:gd name="T6" fmla="*/ 2147483647 w 87"/>
                <a:gd name="T7" fmla="*/ 2147483647 h 42"/>
                <a:gd name="T8" fmla="*/ 2147483647 w 87"/>
                <a:gd name="T9" fmla="*/ 2147483647 h 42"/>
                <a:gd name="T10" fmla="*/ 2147483647 w 87"/>
                <a:gd name="T11" fmla="*/ 2147483647 h 42"/>
                <a:gd name="T12" fmla="*/ 2147483647 w 87"/>
                <a:gd name="T13" fmla="*/ 2147483647 h 42"/>
                <a:gd name="T14" fmla="*/ 2147483647 w 87"/>
                <a:gd name="T15" fmla="*/ 2147483647 h 42"/>
                <a:gd name="T16" fmla="*/ 2147483647 w 87"/>
                <a:gd name="T17" fmla="*/ 2147483647 h 42"/>
                <a:gd name="T18" fmla="*/ 2147483647 w 87"/>
                <a:gd name="T19" fmla="*/ 2147483647 h 42"/>
                <a:gd name="T20" fmla="*/ 2147483647 w 87"/>
                <a:gd name="T21" fmla="*/ 2147483647 h 42"/>
                <a:gd name="T22" fmla="*/ 2147483647 w 87"/>
                <a:gd name="T23" fmla="*/ 2147483647 h 42"/>
                <a:gd name="T24" fmla="*/ 2147483647 w 87"/>
                <a:gd name="T25" fmla="*/ 0 h 42"/>
                <a:gd name="T26" fmla="*/ 2147483647 w 87"/>
                <a:gd name="T27" fmla="*/ 0 h 42"/>
                <a:gd name="T28" fmla="*/ 2147483647 w 87"/>
                <a:gd name="T29" fmla="*/ 0 h 42"/>
                <a:gd name="T30" fmla="*/ 2147483647 w 87"/>
                <a:gd name="T31" fmla="*/ 0 h 42"/>
                <a:gd name="T32" fmla="*/ 2147483647 w 87"/>
                <a:gd name="T33" fmla="*/ 2147483647 h 42"/>
                <a:gd name="T34" fmla="*/ 2147483647 w 87"/>
                <a:gd name="T35" fmla="*/ 2147483647 h 42"/>
                <a:gd name="T36" fmla="*/ 2147483647 w 87"/>
                <a:gd name="T37" fmla="*/ 2147483647 h 42"/>
                <a:gd name="T38" fmla="*/ 2147483647 w 87"/>
                <a:gd name="T39" fmla="*/ 2147483647 h 42"/>
                <a:gd name="T40" fmla="*/ 0 w 87"/>
                <a:gd name="T41" fmla="*/ 2147483647 h 42"/>
                <a:gd name="T42" fmla="*/ 2147483647 w 87"/>
                <a:gd name="T43" fmla="*/ 2147483647 h 42"/>
                <a:gd name="T44" fmla="*/ 2147483647 w 87"/>
                <a:gd name="T45" fmla="*/ 2147483647 h 42"/>
                <a:gd name="T46" fmla="*/ 2147483647 w 87"/>
                <a:gd name="T47" fmla="*/ 2147483647 h 42"/>
                <a:gd name="T48" fmla="*/ 2147483647 w 87"/>
                <a:gd name="T49" fmla="*/ 2147483647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87"/>
                <a:gd name="T76" fmla="*/ 0 h 42"/>
                <a:gd name="T77" fmla="*/ 87 w 87"/>
                <a:gd name="T78" fmla="*/ 42 h 4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4" name="Freeform 191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8435765" y="4336081"/>
              <a:ext cx="1446" cy="13034"/>
            </a:xfrm>
            <a:custGeom>
              <a:avLst/>
              <a:gdLst>
                <a:gd name="T0" fmla="*/ 0 w 7"/>
                <a:gd name="T1" fmla="*/ 0 h 31"/>
                <a:gd name="T2" fmla="*/ 2147483647 w 7"/>
                <a:gd name="T3" fmla="*/ 0 h 31"/>
                <a:gd name="T4" fmla="*/ 2147483647 w 7"/>
                <a:gd name="T5" fmla="*/ 2147483647 h 31"/>
                <a:gd name="T6" fmla="*/ 0 w 7"/>
                <a:gd name="T7" fmla="*/ 2147483647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31"/>
                <a:gd name="T17" fmla="*/ 7 w 7"/>
                <a:gd name="T18" fmla="*/ 31 h 3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5" name="Freeform 192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7740032" y="3885706"/>
              <a:ext cx="928607" cy="828344"/>
            </a:xfrm>
            <a:custGeom>
              <a:avLst/>
              <a:gdLst>
                <a:gd name="T0" fmla="*/ 2147483647 w 2332"/>
                <a:gd name="T1" fmla="*/ 2147483647 h 1731"/>
                <a:gd name="T2" fmla="*/ 2147483647 w 2332"/>
                <a:gd name="T3" fmla="*/ 2147483647 h 1731"/>
                <a:gd name="T4" fmla="*/ 2147483647 w 2332"/>
                <a:gd name="T5" fmla="*/ 2147483647 h 1731"/>
                <a:gd name="T6" fmla="*/ 2147483647 w 2332"/>
                <a:gd name="T7" fmla="*/ 2147483647 h 1731"/>
                <a:gd name="T8" fmla="*/ 2147483647 w 2332"/>
                <a:gd name="T9" fmla="*/ 2147483647 h 1731"/>
                <a:gd name="T10" fmla="*/ 2147483647 w 2332"/>
                <a:gd name="T11" fmla="*/ 2147483647 h 1731"/>
                <a:gd name="T12" fmla="*/ 2147483647 w 2332"/>
                <a:gd name="T13" fmla="*/ 2147483647 h 1731"/>
                <a:gd name="T14" fmla="*/ 2147483647 w 2332"/>
                <a:gd name="T15" fmla="*/ 2147483647 h 1731"/>
                <a:gd name="T16" fmla="*/ 2147483647 w 2332"/>
                <a:gd name="T17" fmla="*/ 2147483647 h 1731"/>
                <a:gd name="T18" fmla="*/ 2147483647 w 2332"/>
                <a:gd name="T19" fmla="*/ 2147483647 h 1731"/>
                <a:gd name="T20" fmla="*/ 2147483647 w 2332"/>
                <a:gd name="T21" fmla="*/ 2147483647 h 1731"/>
                <a:gd name="T22" fmla="*/ 2147483647 w 2332"/>
                <a:gd name="T23" fmla="*/ 2147483647 h 1731"/>
                <a:gd name="T24" fmla="*/ 2147483647 w 2332"/>
                <a:gd name="T25" fmla="*/ 2147483647 h 1731"/>
                <a:gd name="T26" fmla="*/ 2147483647 w 2332"/>
                <a:gd name="T27" fmla="*/ 2147483647 h 1731"/>
                <a:gd name="T28" fmla="*/ 2147483647 w 2332"/>
                <a:gd name="T29" fmla="*/ 2147483647 h 1731"/>
                <a:gd name="T30" fmla="*/ 2147483647 w 2332"/>
                <a:gd name="T31" fmla="*/ 2147483647 h 1731"/>
                <a:gd name="T32" fmla="*/ 2147483647 w 2332"/>
                <a:gd name="T33" fmla="*/ 2147483647 h 1731"/>
                <a:gd name="T34" fmla="*/ 2147483647 w 2332"/>
                <a:gd name="T35" fmla="*/ 2147483647 h 1731"/>
                <a:gd name="T36" fmla="*/ 2147483647 w 2332"/>
                <a:gd name="T37" fmla="*/ 2147483647 h 1731"/>
                <a:gd name="T38" fmla="*/ 2147483647 w 2332"/>
                <a:gd name="T39" fmla="*/ 2147483647 h 1731"/>
                <a:gd name="T40" fmla="*/ 2147483647 w 2332"/>
                <a:gd name="T41" fmla="*/ 2147483647 h 1731"/>
                <a:gd name="T42" fmla="*/ 2147483647 w 2332"/>
                <a:gd name="T43" fmla="*/ 2147483647 h 1731"/>
                <a:gd name="T44" fmla="*/ 2147483647 w 2332"/>
                <a:gd name="T45" fmla="*/ 2147483647 h 1731"/>
                <a:gd name="T46" fmla="*/ 2147483647 w 2332"/>
                <a:gd name="T47" fmla="*/ 2147483647 h 1731"/>
                <a:gd name="T48" fmla="*/ 2147483647 w 2332"/>
                <a:gd name="T49" fmla="*/ 2147483647 h 1731"/>
                <a:gd name="T50" fmla="*/ 2147483647 w 2332"/>
                <a:gd name="T51" fmla="*/ 2147483647 h 1731"/>
                <a:gd name="T52" fmla="*/ 2147483647 w 2332"/>
                <a:gd name="T53" fmla="*/ 2147483647 h 1731"/>
                <a:gd name="T54" fmla="*/ 2147483647 w 2332"/>
                <a:gd name="T55" fmla="*/ 2147483647 h 1731"/>
                <a:gd name="T56" fmla="*/ 2147483647 w 2332"/>
                <a:gd name="T57" fmla="*/ 2147483647 h 1731"/>
                <a:gd name="T58" fmla="*/ 2147483647 w 2332"/>
                <a:gd name="T59" fmla="*/ 2147483647 h 1731"/>
                <a:gd name="T60" fmla="*/ 2147483647 w 2332"/>
                <a:gd name="T61" fmla="*/ 2147483647 h 1731"/>
                <a:gd name="T62" fmla="*/ 2147483647 w 2332"/>
                <a:gd name="T63" fmla="*/ 2147483647 h 1731"/>
                <a:gd name="T64" fmla="*/ 2147483647 w 2332"/>
                <a:gd name="T65" fmla="*/ 2147483647 h 1731"/>
                <a:gd name="T66" fmla="*/ 2147483647 w 2332"/>
                <a:gd name="T67" fmla="*/ 2147483647 h 1731"/>
                <a:gd name="T68" fmla="*/ 2147483647 w 2332"/>
                <a:gd name="T69" fmla="*/ 2147483647 h 1731"/>
                <a:gd name="T70" fmla="*/ 2147483647 w 2332"/>
                <a:gd name="T71" fmla="*/ 2147483647 h 1731"/>
                <a:gd name="T72" fmla="*/ 2147483647 w 2332"/>
                <a:gd name="T73" fmla="*/ 2147483647 h 1731"/>
                <a:gd name="T74" fmla="*/ 2147483647 w 2332"/>
                <a:gd name="T75" fmla="*/ 2147483647 h 1731"/>
                <a:gd name="T76" fmla="*/ 2147483647 w 2332"/>
                <a:gd name="T77" fmla="*/ 2147483647 h 1731"/>
                <a:gd name="T78" fmla="*/ 2147483647 w 2332"/>
                <a:gd name="T79" fmla="*/ 2147483647 h 1731"/>
                <a:gd name="T80" fmla="*/ 2147483647 w 2332"/>
                <a:gd name="T81" fmla="*/ 2147483647 h 1731"/>
                <a:gd name="T82" fmla="*/ 2147483647 w 2332"/>
                <a:gd name="T83" fmla="*/ 2147483647 h 1731"/>
                <a:gd name="T84" fmla="*/ 2147483647 w 2332"/>
                <a:gd name="T85" fmla="*/ 2147483647 h 1731"/>
                <a:gd name="T86" fmla="*/ 2147483647 w 2332"/>
                <a:gd name="T87" fmla="*/ 2147483647 h 1731"/>
                <a:gd name="T88" fmla="*/ 2147483647 w 2332"/>
                <a:gd name="T89" fmla="*/ 2147483647 h 1731"/>
                <a:gd name="T90" fmla="*/ 2147483647 w 2332"/>
                <a:gd name="T91" fmla="*/ 2147483647 h 1731"/>
                <a:gd name="T92" fmla="*/ 2147483647 w 2332"/>
                <a:gd name="T93" fmla="*/ 2147483647 h 1731"/>
                <a:gd name="T94" fmla="*/ 2147483647 w 2332"/>
                <a:gd name="T95" fmla="*/ 2147483647 h 1731"/>
                <a:gd name="T96" fmla="*/ 2147483647 w 2332"/>
                <a:gd name="T97" fmla="*/ 2147483647 h 1731"/>
                <a:gd name="T98" fmla="*/ 2147483647 w 2332"/>
                <a:gd name="T99" fmla="*/ 2147483647 h 1731"/>
                <a:gd name="T100" fmla="*/ 2147483647 w 2332"/>
                <a:gd name="T101" fmla="*/ 2147483647 h 1731"/>
                <a:gd name="T102" fmla="*/ 2147483647 w 2332"/>
                <a:gd name="T103" fmla="*/ 2147483647 h 1731"/>
                <a:gd name="T104" fmla="*/ 2147483647 w 2332"/>
                <a:gd name="T105" fmla="*/ 2147483647 h 1731"/>
                <a:gd name="T106" fmla="*/ 2147483647 w 2332"/>
                <a:gd name="T107" fmla="*/ 2147483647 h 1731"/>
                <a:gd name="T108" fmla="*/ 2147483647 w 2332"/>
                <a:gd name="T109" fmla="*/ 2147483647 h 1731"/>
                <a:gd name="T110" fmla="*/ 2147483647 w 2332"/>
                <a:gd name="T111" fmla="*/ 2147483647 h 1731"/>
                <a:gd name="T112" fmla="*/ 2147483647 w 2332"/>
                <a:gd name="T113" fmla="*/ 2147483647 h 1731"/>
                <a:gd name="T114" fmla="*/ 2147483647 w 2332"/>
                <a:gd name="T115" fmla="*/ 2147483647 h 1731"/>
                <a:gd name="T116" fmla="*/ 2147483647 w 2332"/>
                <a:gd name="T117" fmla="*/ 2147483647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32"/>
                <a:gd name="T178" fmla="*/ 0 h 1731"/>
                <a:gd name="T179" fmla="*/ 2332 w 2332"/>
                <a:gd name="T180" fmla="*/ 1731 h 173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6" name="Freeform 193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2716586" y="2669257"/>
              <a:ext cx="608946" cy="530024"/>
            </a:xfrm>
            <a:custGeom>
              <a:avLst/>
              <a:gdLst>
                <a:gd name="T0" fmla="*/ 2147483647 w 1535"/>
                <a:gd name="T1" fmla="*/ 2147483647 h 1109"/>
                <a:gd name="T2" fmla="*/ 2147483647 w 1535"/>
                <a:gd name="T3" fmla="*/ 2147483647 h 1109"/>
                <a:gd name="T4" fmla="*/ 2147483647 w 1535"/>
                <a:gd name="T5" fmla="*/ 2147483647 h 1109"/>
                <a:gd name="T6" fmla="*/ 2147483647 w 1535"/>
                <a:gd name="T7" fmla="*/ 2147483647 h 1109"/>
                <a:gd name="T8" fmla="*/ 2147483647 w 1535"/>
                <a:gd name="T9" fmla="*/ 2147483647 h 1109"/>
                <a:gd name="T10" fmla="*/ 2147483647 w 1535"/>
                <a:gd name="T11" fmla="*/ 2147483647 h 1109"/>
                <a:gd name="T12" fmla="*/ 2147483647 w 1535"/>
                <a:gd name="T13" fmla="*/ 2147483647 h 1109"/>
                <a:gd name="T14" fmla="*/ 2147483647 w 1535"/>
                <a:gd name="T15" fmla="*/ 2147483647 h 1109"/>
                <a:gd name="T16" fmla="*/ 2147483647 w 1535"/>
                <a:gd name="T17" fmla="*/ 2147483647 h 1109"/>
                <a:gd name="T18" fmla="*/ 2147483647 w 1535"/>
                <a:gd name="T19" fmla="*/ 2147483647 h 1109"/>
                <a:gd name="T20" fmla="*/ 2147483647 w 1535"/>
                <a:gd name="T21" fmla="*/ 2147483647 h 1109"/>
                <a:gd name="T22" fmla="*/ 2147483647 w 1535"/>
                <a:gd name="T23" fmla="*/ 2147483647 h 1109"/>
                <a:gd name="T24" fmla="*/ 2147483647 w 1535"/>
                <a:gd name="T25" fmla="*/ 2147483647 h 1109"/>
                <a:gd name="T26" fmla="*/ 2147483647 w 1535"/>
                <a:gd name="T27" fmla="*/ 2147483647 h 1109"/>
                <a:gd name="T28" fmla="*/ 2147483647 w 1535"/>
                <a:gd name="T29" fmla="*/ 2147483647 h 1109"/>
                <a:gd name="T30" fmla="*/ 2147483647 w 1535"/>
                <a:gd name="T31" fmla="*/ 2147483647 h 1109"/>
                <a:gd name="T32" fmla="*/ 2147483647 w 1535"/>
                <a:gd name="T33" fmla="*/ 2147483647 h 1109"/>
                <a:gd name="T34" fmla="*/ 2147483647 w 1535"/>
                <a:gd name="T35" fmla="*/ 2147483647 h 1109"/>
                <a:gd name="T36" fmla="*/ 2147483647 w 1535"/>
                <a:gd name="T37" fmla="*/ 2147483647 h 1109"/>
                <a:gd name="T38" fmla="*/ 2147483647 w 1535"/>
                <a:gd name="T39" fmla="*/ 2147483647 h 1109"/>
                <a:gd name="T40" fmla="*/ 2147483647 w 1535"/>
                <a:gd name="T41" fmla="*/ 2147483647 h 1109"/>
                <a:gd name="T42" fmla="*/ 2147483647 w 1535"/>
                <a:gd name="T43" fmla="*/ 2147483647 h 1109"/>
                <a:gd name="T44" fmla="*/ 2147483647 w 1535"/>
                <a:gd name="T45" fmla="*/ 2147483647 h 1109"/>
                <a:gd name="T46" fmla="*/ 2147483647 w 1535"/>
                <a:gd name="T47" fmla="*/ 2147483647 h 1109"/>
                <a:gd name="T48" fmla="*/ 2147483647 w 1535"/>
                <a:gd name="T49" fmla="*/ 2147483647 h 1109"/>
                <a:gd name="T50" fmla="*/ 2147483647 w 1535"/>
                <a:gd name="T51" fmla="*/ 2147483647 h 1109"/>
                <a:gd name="T52" fmla="*/ 2147483647 w 1535"/>
                <a:gd name="T53" fmla="*/ 2147483647 h 1109"/>
                <a:gd name="T54" fmla="*/ 2147483647 w 1535"/>
                <a:gd name="T55" fmla="*/ 2147483647 h 1109"/>
                <a:gd name="T56" fmla="*/ 2147483647 w 1535"/>
                <a:gd name="T57" fmla="*/ 2147483647 h 1109"/>
                <a:gd name="T58" fmla="*/ 2147483647 w 1535"/>
                <a:gd name="T59" fmla="*/ 2147483647 h 1109"/>
                <a:gd name="T60" fmla="*/ 2147483647 w 1535"/>
                <a:gd name="T61" fmla="*/ 2147483647 h 1109"/>
                <a:gd name="T62" fmla="*/ 2147483647 w 1535"/>
                <a:gd name="T63" fmla="*/ 2147483647 h 1109"/>
                <a:gd name="T64" fmla="*/ 2147483647 w 1535"/>
                <a:gd name="T65" fmla="*/ 2147483647 h 1109"/>
                <a:gd name="T66" fmla="*/ 2147483647 w 1535"/>
                <a:gd name="T67" fmla="*/ 2147483647 h 1109"/>
                <a:gd name="T68" fmla="*/ 2147483647 w 1535"/>
                <a:gd name="T69" fmla="*/ 2147483647 h 1109"/>
                <a:gd name="T70" fmla="*/ 2147483647 w 1535"/>
                <a:gd name="T71" fmla="*/ 2147483647 h 1109"/>
                <a:gd name="T72" fmla="*/ 2147483647 w 1535"/>
                <a:gd name="T73" fmla="*/ 2147483647 h 1109"/>
                <a:gd name="T74" fmla="*/ 2147483647 w 1535"/>
                <a:gd name="T75" fmla="*/ 2147483647 h 1109"/>
                <a:gd name="T76" fmla="*/ 2147483647 w 1535"/>
                <a:gd name="T77" fmla="*/ 2147483647 h 1109"/>
                <a:gd name="T78" fmla="*/ 2147483647 w 1535"/>
                <a:gd name="T79" fmla="*/ 2147483647 h 1109"/>
                <a:gd name="T80" fmla="*/ 2147483647 w 1535"/>
                <a:gd name="T81" fmla="*/ 2147483647 h 1109"/>
                <a:gd name="T82" fmla="*/ 2147483647 w 1535"/>
                <a:gd name="T83" fmla="*/ 2147483647 h 1109"/>
                <a:gd name="T84" fmla="*/ 2147483647 w 1535"/>
                <a:gd name="T85" fmla="*/ 2147483647 h 1109"/>
                <a:gd name="T86" fmla="*/ 2147483647 w 1535"/>
                <a:gd name="T87" fmla="*/ 2147483647 h 1109"/>
                <a:gd name="T88" fmla="*/ 2147483647 w 1535"/>
                <a:gd name="T89" fmla="*/ 2147483647 h 1109"/>
                <a:gd name="T90" fmla="*/ 2147483647 w 1535"/>
                <a:gd name="T91" fmla="*/ 2147483647 h 1109"/>
                <a:gd name="T92" fmla="*/ 2147483647 w 1535"/>
                <a:gd name="T93" fmla="*/ 2147483647 h 1109"/>
                <a:gd name="T94" fmla="*/ 2147483647 w 1535"/>
                <a:gd name="T95" fmla="*/ 2147483647 h 1109"/>
                <a:gd name="T96" fmla="*/ 2147483647 w 1535"/>
                <a:gd name="T97" fmla="*/ 2147483647 h 1109"/>
                <a:gd name="T98" fmla="*/ 2147483647 w 1535"/>
                <a:gd name="T99" fmla="*/ 2147483647 h 1109"/>
                <a:gd name="T100" fmla="*/ 2147483647 w 1535"/>
                <a:gd name="T101" fmla="*/ 2147483647 h 1109"/>
                <a:gd name="T102" fmla="*/ 2147483647 w 1535"/>
                <a:gd name="T103" fmla="*/ 2147483647 h 1109"/>
                <a:gd name="T104" fmla="*/ 2147483647 w 1535"/>
                <a:gd name="T105" fmla="*/ 2147483647 h 1109"/>
                <a:gd name="T106" fmla="*/ 2147483647 w 1535"/>
                <a:gd name="T107" fmla="*/ 2147483647 h 1109"/>
                <a:gd name="T108" fmla="*/ 2147483647 w 1535"/>
                <a:gd name="T109" fmla="*/ 2147483647 h 1109"/>
                <a:gd name="T110" fmla="*/ 2147483647 w 1535"/>
                <a:gd name="T111" fmla="*/ 2147483647 h 1109"/>
                <a:gd name="T112" fmla="*/ 2147483647 w 1535"/>
                <a:gd name="T113" fmla="*/ 2147483647 h 1109"/>
                <a:gd name="T114" fmla="*/ 2147483647 w 1535"/>
                <a:gd name="T115" fmla="*/ 2147483647 h 1109"/>
                <a:gd name="T116" fmla="*/ 2147483647 w 1535"/>
                <a:gd name="T117" fmla="*/ 2147483647 h 1109"/>
                <a:gd name="T118" fmla="*/ 2147483647 w 1535"/>
                <a:gd name="T119" fmla="*/ 2147483647 h 1109"/>
                <a:gd name="T120" fmla="*/ 2147483647 w 1535"/>
                <a:gd name="T121" fmla="*/ 2147483647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535"/>
                <a:gd name="T184" fmla="*/ 0 h 1109"/>
                <a:gd name="T185" fmla="*/ 1535 w 1535"/>
                <a:gd name="T186" fmla="*/ 1109 h 110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pattFill prst="wdUpDiag">
              <a:fgClr>
                <a:srgbClr val="92D050"/>
              </a:fgClr>
              <a:bgClr>
                <a:srgbClr val="7030A0"/>
              </a:bgClr>
            </a:patt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7" name="Freeform 194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3878068" y="4165199"/>
              <a:ext cx="192375" cy="241842"/>
            </a:xfrm>
            <a:custGeom>
              <a:avLst/>
              <a:gdLst>
                <a:gd name="T0" fmla="*/ 2147483647 w 486"/>
                <a:gd name="T1" fmla="*/ 2147483647 h 505"/>
                <a:gd name="T2" fmla="*/ 2147483647 w 486"/>
                <a:gd name="T3" fmla="*/ 2147483647 h 505"/>
                <a:gd name="T4" fmla="*/ 2147483647 w 486"/>
                <a:gd name="T5" fmla="*/ 2147483647 h 505"/>
                <a:gd name="T6" fmla="*/ 2147483647 w 486"/>
                <a:gd name="T7" fmla="*/ 2147483647 h 505"/>
                <a:gd name="T8" fmla="*/ 2147483647 w 486"/>
                <a:gd name="T9" fmla="*/ 2147483647 h 505"/>
                <a:gd name="T10" fmla="*/ 2147483647 w 486"/>
                <a:gd name="T11" fmla="*/ 2147483647 h 505"/>
                <a:gd name="T12" fmla="*/ 2147483647 w 486"/>
                <a:gd name="T13" fmla="*/ 2147483647 h 505"/>
                <a:gd name="T14" fmla="*/ 2147483647 w 486"/>
                <a:gd name="T15" fmla="*/ 2147483647 h 505"/>
                <a:gd name="T16" fmla="*/ 2147483647 w 486"/>
                <a:gd name="T17" fmla="*/ 2147483647 h 505"/>
                <a:gd name="T18" fmla="*/ 2147483647 w 486"/>
                <a:gd name="T19" fmla="*/ 2147483647 h 505"/>
                <a:gd name="T20" fmla="*/ 2147483647 w 486"/>
                <a:gd name="T21" fmla="*/ 2147483647 h 505"/>
                <a:gd name="T22" fmla="*/ 2147483647 w 486"/>
                <a:gd name="T23" fmla="*/ 2147483647 h 505"/>
                <a:gd name="T24" fmla="*/ 2147483647 w 486"/>
                <a:gd name="T25" fmla="*/ 2147483647 h 505"/>
                <a:gd name="T26" fmla="*/ 2147483647 w 486"/>
                <a:gd name="T27" fmla="*/ 2147483647 h 505"/>
                <a:gd name="T28" fmla="*/ 2147483647 w 486"/>
                <a:gd name="T29" fmla="*/ 2147483647 h 505"/>
                <a:gd name="T30" fmla="*/ 2147483647 w 486"/>
                <a:gd name="T31" fmla="*/ 2147483647 h 505"/>
                <a:gd name="T32" fmla="*/ 2147483647 w 486"/>
                <a:gd name="T33" fmla="*/ 2147483647 h 505"/>
                <a:gd name="T34" fmla="*/ 2147483647 w 486"/>
                <a:gd name="T35" fmla="*/ 2147483647 h 505"/>
                <a:gd name="T36" fmla="*/ 2147483647 w 486"/>
                <a:gd name="T37" fmla="*/ 2147483647 h 505"/>
                <a:gd name="T38" fmla="*/ 2147483647 w 486"/>
                <a:gd name="T39" fmla="*/ 2147483647 h 505"/>
                <a:gd name="T40" fmla="*/ 2147483647 w 486"/>
                <a:gd name="T41" fmla="*/ 2147483647 h 505"/>
                <a:gd name="T42" fmla="*/ 2147483647 w 486"/>
                <a:gd name="T43" fmla="*/ 2147483647 h 505"/>
                <a:gd name="T44" fmla="*/ 2147483647 w 486"/>
                <a:gd name="T45" fmla="*/ 2147483647 h 505"/>
                <a:gd name="T46" fmla="*/ 2147483647 w 486"/>
                <a:gd name="T47" fmla="*/ 2147483647 h 505"/>
                <a:gd name="T48" fmla="*/ 2147483647 w 486"/>
                <a:gd name="T49" fmla="*/ 2147483647 h 505"/>
                <a:gd name="T50" fmla="*/ 2147483647 w 486"/>
                <a:gd name="T51" fmla="*/ 2147483647 h 505"/>
                <a:gd name="T52" fmla="*/ 2147483647 w 486"/>
                <a:gd name="T53" fmla="*/ 2147483647 h 505"/>
                <a:gd name="T54" fmla="*/ 2147483647 w 486"/>
                <a:gd name="T55" fmla="*/ 2147483647 h 505"/>
                <a:gd name="T56" fmla="*/ 2147483647 w 486"/>
                <a:gd name="T57" fmla="*/ 2147483647 h 505"/>
                <a:gd name="T58" fmla="*/ 2147483647 w 486"/>
                <a:gd name="T59" fmla="*/ 2147483647 h 505"/>
                <a:gd name="T60" fmla="*/ 2147483647 w 486"/>
                <a:gd name="T61" fmla="*/ 2147483647 h 505"/>
                <a:gd name="T62" fmla="*/ 2147483647 w 486"/>
                <a:gd name="T63" fmla="*/ 2147483647 h 505"/>
                <a:gd name="T64" fmla="*/ 2147483647 w 486"/>
                <a:gd name="T65" fmla="*/ 2147483647 h 505"/>
                <a:gd name="T66" fmla="*/ 2147483647 w 486"/>
                <a:gd name="T67" fmla="*/ 2147483647 h 505"/>
                <a:gd name="T68" fmla="*/ 2147483647 w 486"/>
                <a:gd name="T69" fmla="*/ 2147483647 h 505"/>
                <a:gd name="T70" fmla="*/ 2147483647 w 486"/>
                <a:gd name="T71" fmla="*/ 2147483647 h 505"/>
                <a:gd name="T72" fmla="*/ 2147483647 w 486"/>
                <a:gd name="T73" fmla="*/ 2147483647 h 505"/>
                <a:gd name="T74" fmla="*/ 2147483647 w 486"/>
                <a:gd name="T75" fmla="*/ 2147483647 h 505"/>
                <a:gd name="T76" fmla="*/ 2147483647 w 486"/>
                <a:gd name="T77" fmla="*/ 2147483647 h 505"/>
                <a:gd name="T78" fmla="*/ 2147483647 w 486"/>
                <a:gd name="T79" fmla="*/ 2147483647 h 505"/>
                <a:gd name="T80" fmla="*/ 2147483647 w 486"/>
                <a:gd name="T81" fmla="*/ 2147483647 h 505"/>
                <a:gd name="T82" fmla="*/ 2147483647 w 486"/>
                <a:gd name="T83" fmla="*/ 2147483647 h 505"/>
                <a:gd name="T84" fmla="*/ 2147483647 w 486"/>
                <a:gd name="T85" fmla="*/ 2147483647 h 505"/>
                <a:gd name="T86" fmla="*/ 2147483647 w 486"/>
                <a:gd name="T87" fmla="*/ 2147483647 h 505"/>
                <a:gd name="T88" fmla="*/ 2147483647 w 486"/>
                <a:gd name="T89" fmla="*/ 2147483647 h 505"/>
                <a:gd name="T90" fmla="*/ 2147483647 w 486"/>
                <a:gd name="T91" fmla="*/ 2147483647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86"/>
                <a:gd name="T139" fmla="*/ 0 h 505"/>
                <a:gd name="T140" fmla="*/ 486 w 486"/>
                <a:gd name="T141" fmla="*/ 505 h 50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8" name="Freeform 195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4032836" y="3439675"/>
              <a:ext cx="66536" cy="99922"/>
            </a:xfrm>
            <a:custGeom>
              <a:avLst/>
              <a:gdLst>
                <a:gd name="T0" fmla="*/ 2147483647 w 166"/>
                <a:gd name="T1" fmla="*/ 2147483647 h 208"/>
                <a:gd name="T2" fmla="*/ 2147483647 w 166"/>
                <a:gd name="T3" fmla="*/ 2147483647 h 208"/>
                <a:gd name="T4" fmla="*/ 2147483647 w 166"/>
                <a:gd name="T5" fmla="*/ 2147483647 h 208"/>
                <a:gd name="T6" fmla="*/ 2147483647 w 166"/>
                <a:gd name="T7" fmla="*/ 2147483647 h 208"/>
                <a:gd name="T8" fmla="*/ 2147483647 w 166"/>
                <a:gd name="T9" fmla="*/ 2147483647 h 208"/>
                <a:gd name="T10" fmla="*/ 2147483647 w 166"/>
                <a:gd name="T11" fmla="*/ 2147483647 h 208"/>
                <a:gd name="T12" fmla="*/ 2147483647 w 166"/>
                <a:gd name="T13" fmla="*/ 2147483647 h 208"/>
                <a:gd name="T14" fmla="*/ 2147483647 w 166"/>
                <a:gd name="T15" fmla="*/ 2147483647 h 208"/>
                <a:gd name="T16" fmla="*/ 2147483647 w 166"/>
                <a:gd name="T17" fmla="*/ 2147483647 h 208"/>
                <a:gd name="T18" fmla="*/ 2147483647 w 166"/>
                <a:gd name="T19" fmla="*/ 2147483647 h 208"/>
                <a:gd name="T20" fmla="*/ 2147483647 w 166"/>
                <a:gd name="T21" fmla="*/ 2147483647 h 208"/>
                <a:gd name="T22" fmla="*/ 2147483647 w 166"/>
                <a:gd name="T23" fmla="*/ 2147483647 h 208"/>
                <a:gd name="T24" fmla="*/ 2147483647 w 166"/>
                <a:gd name="T25" fmla="*/ 2147483647 h 208"/>
                <a:gd name="T26" fmla="*/ 2147483647 w 166"/>
                <a:gd name="T27" fmla="*/ 2147483647 h 208"/>
                <a:gd name="T28" fmla="*/ 2147483647 w 166"/>
                <a:gd name="T29" fmla="*/ 2147483647 h 208"/>
                <a:gd name="T30" fmla="*/ 2147483647 w 166"/>
                <a:gd name="T31" fmla="*/ 2147483647 h 208"/>
                <a:gd name="T32" fmla="*/ 2147483647 w 166"/>
                <a:gd name="T33" fmla="*/ 2147483647 h 208"/>
                <a:gd name="T34" fmla="*/ 2147483647 w 166"/>
                <a:gd name="T35" fmla="*/ 2147483647 h 208"/>
                <a:gd name="T36" fmla="*/ 2147483647 w 166"/>
                <a:gd name="T37" fmla="*/ 2147483647 h 208"/>
                <a:gd name="T38" fmla="*/ 2147483647 w 166"/>
                <a:gd name="T39" fmla="*/ 2147483647 h 208"/>
                <a:gd name="T40" fmla="*/ 2147483647 w 166"/>
                <a:gd name="T41" fmla="*/ 2147483647 h 208"/>
                <a:gd name="T42" fmla="*/ 2147483647 w 166"/>
                <a:gd name="T43" fmla="*/ 2147483647 h 208"/>
                <a:gd name="T44" fmla="*/ 2147483647 w 166"/>
                <a:gd name="T45" fmla="*/ 2147483647 h 208"/>
                <a:gd name="T46" fmla="*/ 2147483647 w 166"/>
                <a:gd name="T47" fmla="*/ 2147483647 h 208"/>
                <a:gd name="T48" fmla="*/ 2147483647 w 166"/>
                <a:gd name="T49" fmla="*/ 2147483647 h 208"/>
                <a:gd name="T50" fmla="*/ 2147483647 w 166"/>
                <a:gd name="T51" fmla="*/ 2147483647 h 208"/>
                <a:gd name="T52" fmla="*/ 2147483647 w 166"/>
                <a:gd name="T53" fmla="*/ 2147483647 h 208"/>
                <a:gd name="T54" fmla="*/ 2147483647 w 166"/>
                <a:gd name="T55" fmla="*/ 0 h 208"/>
                <a:gd name="T56" fmla="*/ 2147483647 w 166"/>
                <a:gd name="T57" fmla="*/ 2147483647 h 208"/>
                <a:gd name="T58" fmla="*/ 2147483647 w 166"/>
                <a:gd name="T59" fmla="*/ 2147483647 h 208"/>
                <a:gd name="T60" fmla="*/ 2147483647 w 166"/>
                <a:gd name="T61" fmla="*/ 2147483647 h 208"/>
                <a:gd name="T62" fmla="*/ 2147483647 w 166"/>
                <a:gd name="T63" fmla="*/ 2147483647 h 208"/>
                <a:gd name="T64" fmla="*/ 2147483647 w 166"/>
                <a:gd name="T65" fmla="*/ 2147483647 h 208"/>
                <a:gd name="T66" fmla="*/ 2147483647 w 166"/>
                <a:gd name="T67" fmla="*/ 2147483647 h 208"/>
                <a:gd name="T68" fmla="*/ 2147483647 w 166"/>
                <a:gd name="T69" fmla="*/ 2147483647 h 208"/>
                <a:gd name="T70" fmla="*/ 0 w 166"/>
                <a:gd name="T71" fmla="*/ 2147483647 h 208"/>
                <a:gd name="T72" fmla="*/ 0 w 166"/>
                <a:gd name="T73" fmla="*/ 2147483647 h 208"/>
                <a:gd name="T74" fmla="*/ 2147483647 w 166"/>
                <a:gd name="T75" fmla="*/ 2147483647 h 208"/>
                <a:gd name="T76" fmla="*/ 2147483647 w 166"/>
                <a:gd name="T77" fmla="*/ 2147483647 h 208"/>
                <a:gd name="T78" fmla="*/ 2147483647 w 166"/>
                <a:gd name="T79" fmla="*/ 2147483647 h 208"/>
                <a:gd name="T80" fmla="*/ 2147483647 w 166"/>
                <a:gd name="T81" fmla="*/ 2147483647 h 208"/>
                <a:gd name="T82" fmla="*/ 2147483647 w 166"/>
                <a:gd name="T83" fmla="*/ 2147483647 h 208"/>
                <a:gd name="T84" fmla="*/ 2147483647 w 166"/>
                <a:gd name="T85" fmla="*/ 2147483647 h 208"/>
                <a:gd name="T86" fmla="*/ 2147483647 w 166"/>
                <a:gd name="T87" fmla="*/ 2147483647 h 208"/>
                <a:gd name="T88" fmla="*/ 2147483647 w 166"/>
                <a:gd name="T89" fmla="*/ 2147483647 h 208"/>
                <a:gd name="T90" fmla="*/ 2147483647 w 166"/>
                <a:gd name="T91" fmla="*/ 2147483647 h 208"/>
                <a:gd name="T92" fmla="*/ 2147483647 w 166"/>
                <a:gd name="T93" fmla="*/ 2147483647 h 208"/>
                <a:gd name="T94" fmla="*/ 2147483647 w 166"/>
                <a:gd name="T95" fmla="*/ 2147483647 h 208"/>
                <a:gd name="T96" fmla="*/ 2147483647 w 166"/>
                <a:gd name="T97" fmla="*/ 2147483647 h 208"/>
                <a:gd name="T98" fmla="*/ 2147483647 w 166"/>
                <a:gd name="T99" fmla="*/ 2147483647 h 208"/>
                <a:gd name="T100" fmla="*/ 2147483647 w 166"/>
                <a:gd name="T101" fmla="*/ 2147483647 h 208"/>
                <a:gd name="T102" fmla="*/ 2147483647 w 166"/>
                <a:gd name="T103" fmla="*/ 2147483647 h 208"/>
                <a:gd name="T104" fmla="*/ 2147483647 w 166"/>
                <a:gd name="T105" fmla="*/ 2147483647 h 208"/>
                <a:gd name="T106" fmla="*/ 2147483647 w 166"/>
                <a:gd name="T107" fmla="*/ 2147483647 h 208"/>
                <a:gd name="T108" fmla="*/ 2147483647 w 166"/>
                <a:gd name="T109" fmla="*/ 2147483647 h 208"/>
                <a:gd name="T110" fmla="*/ 2147483647 w 166"/>
                <a:gd name="T111" fmla="*/ 2147483647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66"/>
                <a:gd name="T169" fmla="*/ 0 h 208"/>
                <a:gd name="T170" fmla="*/ 166 w 166"/>
                <a:gd name="T171" fmla="*/ 208 h 20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9" name="Freeform 196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3590229" y="3037088"/>
              <a:ext cx="63643" cy="53581"/>
            </a:xfrm>
            <a:custGeom>
              <a:avLst/>
              <a:gdLst>
                <a:gd name="T0" fmla="*/ 2147483647 w 164"/>
                <a:gd name="T1" fmla="*/ 2147483647 h 104"/>
                <a:gd name="T2" fmla="*/ 2147483647 w 164"/>
                <a:gd name="T3" fmla="*/ 2147483647 h 104"/>
                <a:gd name="T4" fmla="*/ 2147483647 w 164"/>
                <a:gd name="T5" fmla="*/ 2147483647 h 104"/>
                <a:gd name="T6" fmla="*/ 2147483647 w 164"/>
                <a:gd name="T7" fmla="*/ 2147483647 h 104"/>
                <a:gd name="T8" fmla="*/ 2147483647 w 164"/>
                <a:gd name="T9" fmla="*/ 2147483647 h 104"/>
                <a:gd name="T10" fmla="*/ 2147483647 w 164"/>
                <a:gd name="T11" fmla="*/ 2147483647 h 104"/>
                <a:gd name="T12" fmla="*/ 2147483647 w 164"/>
                <a:gd name="T13" fmla="*/ 2147483647 h 104"/>
                <a:gd name="T14" fmla="*/ 2147483647 w 164"/>
                <a:gd name="T15" fmla="*/ 2147483647 h 104"/>
                <a:gd name="T16" fmla="*/ 2147483647 w 164"/>
                <a:gd name="T17" fmla="*/ 2147483647 h 104"/>
                <a:gd name="T18" fmla="*/ 2147483647 w 164"/>
                <a:gd name="T19" fmla="*/ 2147483647 h 104"/>
                <a:gd name="T20" fmla="*/ 2147483647 w 164"/>
                <a:gd name="T21" fmla="*/ 2147483647 h 104"/>
                <a:gd name="T22" fmla="*/ 2147483647 w 164"/>
                <a:gd name="T23" fmla="*/ 2147483647 h 104"/>
                <a:gd name="T24" fmla="*/ 2147483647 w 164"/>
                <a:gd name="T25" fmla="*/ 2147483647 h 104"/>
                <a:gd name="T26" fmla="*/ 2147483647 w 164"/>
                <a:gd name="T27" fmla="*/ 2147483647 h 104"/>
                <a:gd name="T28" fmla="*/ 2147483647 w 164"/>
                <a:gd name="T29" fmla="*/ 2147483647 h 104"/>
                <a:gd name="T30" fmla="*/ 2147483647 w 164"/>
                <a:gd name="T31" fmla="*/ 2147483647 h 104"/>
                <a:gd name="T32" fmla="*/ 2147483647 w 164"/>
                <a:gd name="T33" fmla="*/ 2147483647 h 104"/>
                <a:gd name="T34" fmla="*/ 0 w 164"/>
                <a:gd name="T35" fmla="*/ 2147483647 h 104"/>
                <a:gd name="T36" fmla="*/ 0 w 164"/>
                <a:gd name="T37" fmla="*/ 2147483647 h 104"/>
                <a:gd name="T38" fmla="*/ 0 w 164"/>
                <a:gd name="T39" fmla="*/ 2147483647 h 104"/>
                <a:gd name="T40" fmla="*/ 2147483647 w 164"/>
                <a:gd name="T41" fmla="*/ 2147483647 h 104"/>
                <a:gd name="T42" fmla="*/ 2147483647 w 164"/>
                <a:gd name="T43" fmla="*/ 2147483647 h 104"/>
                <a:gd name="T44" fmla="*/ 2147483647 w 164"/>
                <a:gd name="T45" fmla="*/ 2147483647 h 104"/>
                <a:gd name="T46" fmla="*/ 2147483647 w 164"/>
                <a:gd name="T47" fmla="*/ 2147483647 h 104"/>
                <a:gd name="T48" fmla="*/ 2147483647 w 164"/>
                <a:gd name="T49" fmla="*/ 2147483647 h 104"/>
                <a:gd name="T50" fmla="*/ 2147483647 w 164"/>
                <a:gd name="T51" fmla="*/ 2147483647 h 104"/>
                <a:gd name="T52" fmla="*/ 2147483647 w 164"/>
                <a:gd name="T53" fmla="*/ 2147483647 h 104"/>
                <a:gd name="T54" fmla="*/ 2147483647 w 164"/>
                <a:gd name="T55" fmla="*/ 2147483647 h 104"/>
                <a:gd name="T56" fmla="*/ 2147483647 w 164"/>
                <a:gd name="T57" fmla="*/ 2147483647 h 104"/>
                <a:gd name="T58" fmla="*/ 2147483647 w 164"/>
                <a:gd name="T59" fmla="*/ 2147483647 h 104"/>
                <a:gd name="T60" fmla="*/ 2147483647 w 164"/>
                <a:gd name="T61" fmla="*/ 2147483647 h 104"/>
                <a:gd name="T62" fmla="*/ 2147483647 w 164"/>
                <a:gd name="T63" fmla="*/ 2147483647 h 104"/>
                <a:gd name="T64" fmla="*/ 2147483647 w 164"/>
                <a:gd name="T65" fmla="*/ 2147483647 h 104"/>
                <a:gd name="T66" fmla="*/ 2147483647 w 164"/>
                <a:gd name="T67" fmla="*/ 2147483647 h 104"/>
                <a:gd name="T68" fmla="*/ 2147483647 w 164"/>
                <a:gd name="T69" fmla="*/ 2147483647 h 104"/>
                <a:gd name="T70" fmla="*/ 2147483647 w 164"/>
                <a:gd name="T71" fmla="*/ 2147483647 h 104"/>
                <a:gd name="T72" fmla="*/ 2147483647 w 164"/>
                <a:gd name="T73" fmla="*/ 2147483647 h 104"/>
                <a:gd name="T74" fmla="*/ 2147483647 w 164"/>
                <a:gd name="T75" fmla="*/ 2147483647 h 104"/>
                <a:gd name="T76" fmla="*/ 2147483647 w 164"/>
                <a:gd name="T77" fmla="*/ 2147483647 h 104"/>
                <a:gd name="T78" fmla="*/ 2147483647 w 164"/>
                <a:gd name="T79" fmla="*/ 2147483647 h 104"/>
                <a:gd name="T80" fmla="*/ 2147483647 w 164"/>
                <a:gd name="T81" fmla="*/ 0 h 104"/>
                <a:gd name="T82" fmla="*/ 2147483647 w 164"/>
                <a:gd name="T83" fmla="*/ 0 h 104"/>
                <a:gd name="T84" fmla="*/ 2147483647 w 164"/>
                <a:gd name="T85" fmla="*/ 2147483647 h 104"/>
                <a:gd name="T86" fmla="*/ 2147483647 w 164"/>
                <a:gd name="T87" fmla="*/ 2147483647 h 104"/>
                <a:gd name="T88" fmla="*/ 2147483647 w 164"/>
                <a:gd name="T89" fmla="*/ 2147483647 h 104"/>
                <a:gd name="T90" fmla="*/ 2147483647 w 164"/>
                <a:gd name="T91" fmla="*/ 2147483647 h 104"/>
                <a:gd name="T92" fmla="*/ 2147483647 w 164"/>
                <a:gd name="T93" fmla="*/ 2147483647 h 104"/>
                <a:gd name="T94" fmla="*/ 2147483647 w 164"/>
                <a:gd name="T95" fmla="*/ 2147483647 h 104"/>
                <a:gd name="T96" fmla="*/ 2147483647 w 164"/>
                <a:gd name="T97" fmla="*/ 2147483647 h 104"/>
                <a:gd name="T98" fmla="*/ 2147483647 w 164"/>
                <a:gd name="T99" fmla="*/ 2147483647 h 104"/>
                <a:gd name="T100" fmla="*/ 2147483647 w 164"/>
                <a:gd name="T101" fmla="*/ 2147483647 h 104"/>
                <a:gd name="T102" fmla="*/ 2147483647 w 164"/>
                <a:gd name="T103" fmla="*/ 2147483647 h 104"/>
                <a:gd name="T104" fmla="*/ 2147483647 w 164"/>
                <a:gd name="T105" fmla="*/ 2147483647 h 104"/>
                <a:gd name="T106" fmla="*/ 2147483647 w 164"/>
                <a:gd name="T107" fmla="*/ 2147483647 h 104"/>
                <a:gd name="T108" fmla="*/ 2147483647 w 164"/>
                <a:gd name="T109" fmla="*/ 214748364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64"/>
                <a:gd name="T166" fmla="*/ 0 h 104"/>
                <a:gd name="T167" fmla="*/ 164 w 164"/>
                <a:gd name="T168" fmla="*/ 104 h 10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0" name="Freeform 197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3924354" y="5184699"/>
              <a:ext cx="21697" cy="52134"/>
            </a:xfrm>
            <a:custGeom>
              <a:avLst/>
              <a:gdLst>
                <a:gd name="T0" fmla="*/ 0 w 53"/>
                <a:gd name="T1" fmla="*/ 2147483647 h 19"/>
                <a:gd name="T2" fmla="*/ 2147483647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2147483647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3"/>
                <a:gd name="T52" fmla="*/ 0 h 19"/>
                <a:gd name="T53" fmla="*/ 53 w 53"/>
                <a:gd name="T54" fmla="*/ 19 h 1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1" name="Freeform 198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3892532" y="5165874"/>
              <a:ext cx="31821" cy="53581"/>
            </a:xfrm>
            <a:custGeom>
              <a:avLst/>
              <a:gdLst>
                <a:gd name="T0" fmla="*/ 0 w 80"/>
                <a:gd name="T1" fmla="*/ 0 h 18"/>
                <a:gd name="T2" fmla="*/ 2147483647 w 80"/>
                <a:gd name="T3" fmla="*/ 2147483647 h 18"/>
                <a:gd name="T4" fmla="*/ 2147483647 w 80"/>
                <a:gd name="T5" fmla="*/ 2147483647 h 18"/>
                <a:gd name="T6" fmla="*/ 2147483647 w 80"/>
                <a:gd name="T7" fmla="*/ 2147483647 h 18"/>
                <a:gd name="T8" fmla="*/ 2147483647 w 80"/>
                <a:gd name="T9" fmla="*/ 2147483647 h 18"/>
                <a:gd name="T10" fmla="*/ 2147483647 w 80"/>
                <a:gd name="T11" fmla="*/ 2147483647 h 18"/>
                <a:gd name="T12" fmla="*/ 2147483647 w 80"/>
                <a:gd name="T13" fmla="*/ 2147483647 h 18"/>
                <a:gd name="T14" fmla="*/ 2147483647 w 80"/>
                <a:gd name="T15" fmla="*/ 2147483647 h 18"/>
                <a:gd name="T16" fmla="*/ 2147483647 w 80"/>
                <a:gd name="T17" fmla="*/ 2147483647 h 18"/>
                <a:gd name="T18" fmla="*/ 2147483647 w 80"/>
                <a:gd name="T19" fmla="*/ 2147483647 h 18"/>
                <a:gd name="T20" fmla="*/ 2147483647 w 80"/>
                <a:gd name="T21" fmla="*/ 2147483647 h 18"/>
                <a:gd name="T22" fmla="*/ 2147483647 w 80"/>
                <a:gd name="T23" fmla="*/ 2147483647 h 18"/>
                <a:gd name="T24" fmla="*/ 2147483647 w 80"/>
                <a:gd name="T25" fmla="*/ 2147483647 h 18"/>
                <a:gd name="T26" fmla="*/ 2147483647 w 80"/>
                <a:gd name="T27" fmla="*/ 2147483647 h 18"/>
                <a:gd name="T28" fmla="*/ 2147483647 w 80"/>
                <a:gd name="T29" fmla="*/ 2147483647 h 18"/>
                <a:gd name="T30" fmla="*/ 2147483647 w 80"/>
                <a:gd name="T31" fmla="*/ 2147483647 h 18"/>
                <a:gd name="T32" fmla="*/ 2147483647 w 80"/>
                <a:gd name="T33" fmla="*/ 2147483647 h 18"/>
                <a:gd name="T34" fmla="*/ 2147483647 w 80"/>
                <a:gd name="T35" fmla="*/ 2147483647 h 18"/>
                <a:gd name="T36" fmla="*/ 2147483647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0"/>
                <a:gd name="T61" fmla="*/ 0 h 18"/>
                <a:gd name="T62" fmla="*/ 80 w 80"/>
                <a:gd name="T63" fmla="*/ 18 h 1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2" name="Freeform 199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3892532" y="5147047"/>
              <a:ext cx="20250" cy="55030"/>
            </a:xfrm>
            <a:custGeom>
              <a:avLst/>
              <a:gdLst>
                <a:gd name="T0" fmla="*/ 2147483647 w 46"/>
                <a:gd name="T1" fmla="*/ 0 h 27"/>
                <a:gd name="T2" fmla="*/ 0 w 46"/>
                <a:gd name="T3" fmla="*/ 2147483647 h 27"/>
                <a:gd name="T4" fmla="*/ 2147483647 w 46"/>
                <a:gd name="T5" fmla="*/ 2147483647 h 27"/>
                <a:gd name="T6" fmla="*/ 2147483647 w 46"/>
                <a:gd name="T7" fmla="*/ 2147483647 h 27"/>
                <a:gd name="T8" fmla="*/ 2147483647 w 46"/>
                <a:gd name="T9" fmla="*/ 2147483647 h 27"/>
                <a:gd name="T10" fmla="*/ 2147483647 w 46"/>
                <a:gd name="T11" fmla="*/ 2147483647 h 27"/>
                <a:gd name="T12" fmla="*/ 2147483647 w 46"/>
                <a:gd name="T13" fmla="*/ 2147483647 h 27"/>
                <a:gd name="T14" fmla="*/ 2147483647 w 46"/>
                <a:gd name="T15" fmla="*/ 2147483647 h 27"/>
                <a:gd name="T16" fmla="*/ 2147483647 w 46"/>
                <a:gd name="T17" fmla="*/ 2147483647 h 27"/>
                <a:gd name="T18" fmla="*/ 2147483647 w 46"/>
                <a:gd name="T19" fmla="*/ 2147483647 h 27"/>
                <a:gd name="T20" fmla="*/ 2147483647 w 46"/>
                <a:gd name="T21" fmla="*/ 2147483647 h 27"/>
                <a:gd name="T22" fmla="*/ 2147483647 w 46"/>
                <a:gd name="T23" fmla="*/ 2147483647 h 27"/>
                <a:gd name="T24" fmla="*/ 2147483647 w 46"/>
                <a:gd name="T25" fmla="*/ 2147483647 h 27"/>
                <a:gd name="T26" fmla="*/ 2147483647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6"/>
                <a:gd name="T43" fmla="*/ 0 h 27"/>
                <a:gd name="T44" fmla="*/ 46 w 46"/>
                <a:gd name="T45" fmla="*/ 27 h 2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3" name="Freeform 200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3865051" y="5141255"/>
              <a:ext cx="23143" cy="55030"/>
            </a:xfrm>
            <a:custGeom>
              <a:avLst/>
              <a:gdLst>
                <a:gd name="T0" fmla="*/ 2147483647 w 54"/>
                <a:gd name="T1" fmla="*/ 0 h 39"/>
                <a:gd name="T2" fmla="*/ 2147483647 w 54"/>
                <a:gd name="T3" fmla="*/ 2147483647 h 39"/>
                <a:gd name="T4" fmla="*/ 2147483647 w 54"/>
                <a:gd name="T5" fmla="*/ 2147483647 h 39"/>
                <a:gd name="T6" fmla="*/ 2147483647 w 54"/>
                <a:gd name="T7" fmla="*/ 2147483647 h 39"/>
                <a:gd name="T8" fmla="*/ 2147483647 w 54"/>
                <a:gd name="T9" fmla="*/ 2147483647 h 39"/>
                <a:gd name="T10" fmla="*/ 2147483647 w 54"/>
                <a:gd name="T11" fmla="*/ 2147483647 h 39"/>
                <a:gd name="T12" fmla="*/ 0 w 54"/>
                <a:gd name="T13" fmla="*/ 2147483647 h 39"/>
                <a:gd name="T14" fmla="*/ 2147483647 w 54"/>
                <a:gd name="T15" fmla="*/ 2147483647 h 39"/>
                <a:gd name="T16" fmla="*/ 2147483647 w 54"/>
                <a:gd name="T17" fmla="*/ 2147483647 h 39"/>
                <a:gd name="T18" fmla="*/ 2147483647 w 54"/>
                <a:gd name="T19" fmla="*/ 2147483647 h 39"/>
                <a:gd name="T20" fmla="*/ 2147483647 w 54"/>
                <a:gd name="T21" fmla="*/ 2147483647 h 39"/>
                <a:gd name="T22" fmla="*/ 2147483647 w 54"/>
                <a:gd name="T23" fmla="*/ 2147483647 h 39"/>
                <a:gd name="T24" fmla="*/ 2147483647 w 54"/>
                <a:gd name="T25" fmla="*/ 2147483647 h 39"/>
                <a:gd name="T26" fmla="*/ 2147483647 w 54"/>
                <a:gd name="T27" fmla="*/ 2147483647 h 39"/>
                <a:gd name="T28" fmla="*/ 2147483647 w 54"/>
                <a:gd name="T29" fmla="*/ 2147483647 h 39"/>
                <a:gd name="T30" fmla="*/ 2147483647 w 54"/>
                <a:gd name="T31" fmla="*/ 2147483647 h 39"/>
                <a:gd name="T32" fmla="*/ 2147483647 w 54"/>
                <a:gd name="T33" fmla="*/ 2147483647 h 39"/>
                <a:gd name="T34" fmla="*/ 2147483647 w 54"/>
                <a:gd name="T35" fmla="*/ 2147483647 h 39"/>
                <a:gd name="T36" fmla="*/ 2147483647 w 54"/>
                <a:gd name="T37" fmla="*/ 2147483647 h 39"/>
                <a:gd name="T38" fmla="*/ 2147483647 w 54"/>
                <a:gd name="T39" fmla="*/ 2147483647 h 39"/>
                <a:gd name="T40" fmla="*/ 2147483647 w 54"/>
                <a:gd name="T41" fmla="*/ 2147483647 h 39"/>
                <a:gd name="T42" fmla="*/ 2147483647 w 54"/>
                <a:gd name="T43" fmla="*/ 2147483647 h 39"/>
                <a:gd name="T44" fmla="*/ 2147483647 w 54"/>
                <a:gd name="T45" fmla="*/ 2147483647 h 39"/>
                <a:gd name="T46" fmla="*/ 2147483647 w 54"/>
                <a:gd name="T47" fmla="*/ 2147483647 h 39"/>
                <a:gd name="T48" fmla="*/ 2147483647 w 54"/>
                <a:gd name="T49" fmla="*/ 2147483647 h 39"/>
                <a:gd name="T50" fmla="*/ 2147483647 w 54"/>
                <a:gd name="T51" fmla="*/ 2147483647 h 39"/>
                <a:gd name="T52" fmla="*/ 2147483647 w 54"/>
                <a:gd name="T53" fmla="*/ 2147483647 h 39"/>
                <a:gd name="T54" fmla="*/ 2147483647 w 54"/>
                <a:gd name="T55" fmla="*/ 2147483647 h 39"/>
                <a:gd name="T56" fmla="*/ 2147483647 w 54"/>
                <a:gd name="T57" fmla="*/ 2147483647 h 39"/>
                <a:gd name="T58" fmla="*/ 2147483647 w 54"/>
                <a:gd name="T59" fmla="*/ 2147483647 h 39"/>
                <a:gd name="T60" fmla="*/ 2147483647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54"/>
                <a:gd name="T94" fmla="*/ 0 h 39"/>
                <a:gd name="T95" fmla="*/ 54 w 54"/>
                <a:gd name="T96" fmla="*/ 39 h 39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4" name="Freeform 201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3841908" y="5132566"/>
              <a:ext cx="26036" cy="53582"/>
            </a:xfrm>
            <a:custGeom>
              <a:avLst/>
              <a:gdLst>
                <a:gd name="T0" fmla="*/ 0 w 60"/>
                <a:gd name="T1" fmla="*/ 2147483647 h 15"/>
                <a:gd name="T2" fmla="*/ 2147483647 w 60"/>
                <a:gd name="T3" fmla="*/ 2147483647 h 15"/>
                <a:gd name="T4" fmla="*/ 2147483647 w 60"/>
                <a:gd name="T5" fmla="*/ 2147483647 h 15"/>
                <a:gd name="T6" fmla="*/ 2147483647 w 60"/>
                <a:gd name="T7" fmla="*/ 2147483647 h 15"/>
                <a:gd name="T8" fmla="*/ 2147483647 w 60"/>
                <a:gd name="T9" fmla="*/ 2147483647 h 15"/>
                <a:gd name="T10" fmla="*/ 2147483647 w 60"/>
                <a:gd name="T11" fmla="*/ 2147483647 h 15"/>
                <a:gd name="T12" fmla="*/ 2147483647 w 60"/>
                <a:gd name="T13" fmla="*/ 2147483647 h 15"/>
                <a:gd name="T14" fmla="*/ 2147483647 w 60"/>
                <a:gd name="T15" fmla="*/ 2147483647 h 15"/>
                <a:gd name="T16" fmla="*/ 2147483647 w 60"/>
                <a:gd name="T17" fmla="*/ 2147483647 h 15"/>
                <a:gd name="T18" fmla="*/ 2147483647 w 60"/>
                <a:gd name="T19" fmla="*/ 2147483647 h 15"/>
                <a:gd name="T20" fmla="*/ 2147483647 w 60"/>
                <a:gd name="T21" fmla="*/ 0 h 15"/>
                <a:gd name="T22" fmla="*/ 2147483647 w 60"/>
                <a:gd name="T23" fmla="*/ 0 h 15"/>
                <a:gd name="T24" fmla="*/ 2147483647 w 60"/>
                <a:gd name="T25" fmla="*/ 0 h 15"/>
                <a:gd name="T26" fmla="*/ 2147483647 w 60"/>
                <a:gd name="T27" fmla="*/ 0 h 15"/>
                <a:gd name="T28" fmla="*/ 2147483647 w 60"/>
                <a:gd name="T29" fmla="*/ 2147483647 h 15"/>
                <a:gd name="T30" fmla="*/ 2147483647 w 60"/>
                <a:gd name="T31" fmla="*/ 2147483647 h 15"/>
                <a:gd name="T32" fmla="*/ 2147483647 w 60"/>
                <a:gd name="T33" fmla="*/ 2147483647 h 15"/>
                <a:gd name="T34" fmla="*/ 2147483647 w 60"/>
                <a:gd name="T35" fmla="*/ 2147483647 h 15"/>
                <a:gd name="T36" fmla="*/ 0 w 60"/>
                <a:gd name="T37" fmla="*/ 2147483647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0"/>
                <a:gd name="T58" fmla="*/ 0 h 15"/>
                <a:gd name="T59" fmla="*/ 60 w 60"/>
                <a:gd name="T60" fmla="*/ 15 h 15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5" name="Freeform 202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3820211" y="5120981"/>
              <a:ext cx="30375" cy="52134"/>
            </a:xfrm>
            <a:custGeom>
              <a:avLst/>
              <a:gdLst>
                <a:gd name="T0" fmla="*/ 2147483647 w 79"/>
                <a:gd name="T1" fmla="*/ 0 h 32"/>
                <a:gd name="T2" fmla="*/ 2147483647 w 79"/>
                <a:gd name="T3" fmla="*/ 2147483647 h 32"/>
                <a:gd name="T4" fmla="*/ 2147483647 w 79"/>
                <a:gd name="T5" fmla="*/ 2147483647 h 32"/>
                <a:gd name="T6" fmla="*/ 2147483647 w 79"/>
                <a:gd name="T7" fmla="*/ 2147483647 h 32"/>
                <a:gd name="T8" fmla="*/ 2147483647 w 79"/>
                <a:gd name="T9" fmla="*/ 2147483647 h 32"/>
                <a:gd name="T10" fmla="*/ 2147483647 w 79"/>
                <a:gd name="T11" fmla="*/ 2147483647 h 32"/>
                <a:gd name="T12" fmla="*/ 2147483647 w 79"/>
                <a:gd name="T13" fmla="*/ 2147483647 h 32"/>
                <a:gd name="T14" fmla="*/ 2147483647 w 79"/>
                <a:gd name="T15" fmla="*/ 2147483647 h 32"/>
                <a:gd name="T16" fmla="*/ 0 w 79"/>
                <a:gd name="T17" fmla="*/ 2147483647 h 32"/>
                <a:gd name="T18" fmla="*/ 2147483647 w 79"/>
                <a:gd name="T19" fmla="*/ 2147483647 h 32"/>
                <a:gd name="T20" fmla="*/ 2147483647 w 79"/>
                <a:gd name="T21" fmla="*/ 2147483647 h 32"/>
                <a:gd name="T22" fmla="*/ 2147483647 w 79"/>
                <a:gd name="T23" fmla="*/ 2147483647 h 32"/>
                <a:gd name="T24" fmla="*/ 2147483647 w 79"/>
                <a:gd name="T25" fmla="*/ 2147483647 h 32"/>
                <a:gd name="T26" fmla="*/ 2147483647 w 79"/>
                <a:gd name="T27" fmla="*/ 2147483647 h 32"/>
                <a:gd name="T28" fmla="*/ 2147483647 w 79"/>
                <a:gd name="T29" fmla="*/ 2147483647 h 32"/>
                <a:gd name="T30" fmla="*/ 2147483647 w 79"/>
                <a:gd name="T31" fmla="*/ 2147483647 h 32"/>
                <a:gd name="T32" fmla="*/ 2147483647 w 79"/>
                <a:gd name="T33" fmla="*/ 2147483647 h 32"/>
                <a:gd name="T34" fmla="*/ 2147483647 w 79"/>
                <a:gd name="T35" fmla="*/ 2147483647 h 32"/>
                <a:gd name="T36" fmla="*/ 2147483647 w 79"/>
                <a:gd name="T37" fmla="*/ 2147483647 h 32"/>
                <a:gd name="T38" fmla="*/ 2147483647 w 79"/>
                <a:gd name="T39" fmla="*/ 2147483647 h 32"/>
                <a:gd name="T40" fmla="*/ 2147483647 w 79"/>
                <a:gd name="T41" fmla="*/ 2147483647 h 32"/>
                <a:gd name="T42" fmla="*/ 2147483647 w 79"/>
                <a:gd name="T43" fmla="*/ 2147483647 h 32"/>
                <a:gd name="T44" fmla="*/ 2147483647 w 79"/>
                <a:gd name="T45" fmla="*/ 2147483647 h 32"/>
                <a:gd name="T46" fmla="*/ 2147483647 w 79"/>
                <a:gd name="T47" fmla="*/ 2147483647 h 32"/>
                <a:gd name="T48" fmla="*/ 2147483647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9"/>
                <a:gd name="T76" fmla="*/ 0 h 32"/>
                <a:gd name="T77" fmla="*/ 79 w 79"/>
                <a:gd name="T78" fmla="*/ 32 h 3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6" name="Freeform 203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814425" y="5103603"/>
              <a:ext cx="27483" cy="52134"/>
            </a:xfrm>
            <a:custGeom>
              <a:avLst/>
              <a:gdLst>
                <a:gd name="T0" fmla="*/ 2147483647 w 66"/>
                <a:gd name="T1" fmla="*/ 0 h 19"/>
                <a:gd name="T2" fmla="*/ 2147483647 w 66"/>
                <a:gd name="T3" fmla="*/ 2147483647 h 19"/>
                <a:gd name="T4" fmla="*/ 2147483647 w 66"/>
                <a:gd name="T5" fmla="*/ 2147483647 h 19"/>
                <a:gd name="T6" fmla="*/ 2147483647 w 66"/>
                <a:gd name="T7" fmla="*/ 2147483647 h 19"/>
                <a:gd name="T8" fmla="*/ 2147483647 w 66"/>
                <a:gd name="T9" fmla="*/ 2147483647 h 19"/>
                <a:gd name="T10" fmla="*/ 2147483647 w 66"/>
                <a:gd name="T11" fmla="*/ 2147483647 h 19"/>
                <a:gd name="T12" fmla="*/ 2147483647 w 66"/>
                <a:gd name="T13" fmla="*/ 2147483647 h 19"/>
                <a:gd name="T14" fmla="*/ 0 w 66"/>
                <a:gd name="T15" fmla="*/ 2147483647 h 19"/>
                <a:gd name="T16" fmla="*/ 0 w 66"/>
                <a:gd name="T17" fmla="*/ 2147483647 h 19"/>
                <a:gd name="T18" fmla="*/ 2147483647 w 66"/>
                <a:gd name="T19" fmla="*/ 2147483647 h 19"/>
                <a:gd name="T20" fmla="*/ 2147483647 w 66"/>
                <a:gd name="T21" fmla="*/ 2147483647 h 19"/>
                <a:gd name="T22" fmla="*/ 2147483647 w 66"/>
                <a:gd name="T23" fmla="*/ 2147483647 h 19"/>
                <a:gd name="T24" fmla="*/ 2147483647 w 66"/>
                <a:gd name="T25" fmla="*/ 2147483647 h 19"/>
                <a:gd name="T26" fmla="*/ 2147483647 w 66"/>
                <a:gd name="T27" fmla="*/ 2147483647 h 19"/>
                <a:gd name="T28" fmla="*/ 2147483647 w 66"/>
                <a:gd name="T29" fmla="*/ 2147483647 h 19"/>
                <a:gd name="T30" fmla="*/ 2147483647 w 66"/>
                <a:gd name="T31" fmla="*/ 2147483647 h 19"/>
                <a:gd name="T32" fmla="*/ 2147483647 w 66"/>
                <a:gd name="T33" fmla="*/ 2147483647 h 19"/>
                <a:gd name="T34" fmla="*/ 2147483647 w 66"/>
                <a:gd name="T35" fmla="*/ 2147483647 h 19"/>
                <a:gd name="T36" fmla="*/ 2147483647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6"/>
                <a:gd name="T58" fmla="*/ 0 h 19"/>
                <a:gd name="T59" fmla="*/ 66 w 66"/>
                <a:gd name="T60" fmla="*/ 19 h 1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7" name="Freeform 204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3723301" y="4821213"/>
              <a:ext cx="23143" cy="55030"/>
            </a:xfrm>
            <a:custGeom>
              <a:avLst/>
              <a:gdLst>
                <a:gd name="T0" fmla="*/ 2147483647 w 53"/>
                <a:gd name="T1" fmla="*/ 0 h 80"/>
                <a:gd name="T2" fmla="*/ 2147483647 w 53"/>
                <a:gd name="T3" fmla="*/ 2147483647 h 80"/>
                <a:gd name="T4" fmla="*/ 2147483647 w 53"/>
                <a:gd name="T5" fmla="*/ 2147483647 h 80"/>
                <a:gd name="T6" fmla="*/ 2147483647 w 53"/>
                <a:gd name="T7" fmla="*/ 2147483647 h 80"/>
                <a:gd name="T8" fmla="*/ 2147483647 w 53"/>
                <a:gd name="T9" fmla="*/ 2147483647 h 80"/>
                <a:gd name="T10" fmla="*/ 0 w 53"/>
                <a:gd name="T11" fmla="*/ 2147483647 h 80"/>
                <a:gd name="T12" fmla="*/ 0 w 53"/>
                <a:gd name="T13" fmla="*/ 2147483647 h 80"/>
                <a:gd name="T14" fmla="*/ 0 w 53"/>
                <a:gd name="T15" fmla="*/ 2147483647 h 80"/>
                <a:gd name="T16" fmla="*/ 2147483647 w 53"/>
                <a:gd name="T17" fmla="*/ 2147483647 h 80"/>
                <a:gd name="T18" fmla="*/ 2147483647 w 53"/>
                <a:gd name="T19" fmla="*/ 2147483647 h 80"/>
                <a:gd name="T20" fmla="*/ 2147483647 w 53"/>
                <a:gd name="T21" fmla="*/ 2147483647 h 80"/>
                <a:gd name="T22" fmla="*/ 2147483647 w 53"/>
                <a:gd name="T23" fmla="*/ 2147483647 h 80"/>
                <a:gd name="T24" fmla="*/ 2147483647 w 53"/>
                <a:gd name="T25" fmla="*/ 2147483647 h 80"/>
                <a:gd name="T26" fmla="*/ 2147483647 w 53"/>
                <a:gd name="T27" fmla="*/ 2147483647 h 80"/>
                <a:gd name="T28" fmla="*/ 2147483647 w 53"/>
                <a:gd name="T29" fmla="*/ 2147483647 h 80"/>
                <a:gd name="T30" fmla="*/ 2147483647 w 53"/>
                <a:gd name="T31" fmla="*/ 2147483647 h 80"/>
                <a:gd name="T32" fmla="*/ 2147483647 w 53"/>
                <a:gd name="T33" fmla="*/ 2147483647 h 80"/>
                <a:gd name="T34" fmla="*/ 2147483647 w 53"/>
                <a:gd name="T35" fmla="*/ 2147483647 h 80"/>
                <a:gd name="T36" fmla="*/ 2147483647 w 53"/>
                <a:gd name="T37" fmla="*/ 2147483647 h 80"/>
                <a:gd name="T38" fmla="*/ 2147483647 w 53"/>
                <a:gd name="T39" fmla="*/ 2147483647 h 80"/>
                <a:gd name="T40" fmla="*/ 2147483647 w 53"/>
                <a:gd name="T41" fmla="*/ 2147483647 h 80"/>
                <a:gd name="T42" fmla="*/ 2147483647 w 53"/>
                <a:gd name="T43" fmla="*/ 2147483647 h 80"/>
                <a:gd name="T44" fmla="*/ 2147483647 w 53"/>
                <a:gd name="T45" fmla="*/ 2147483647 h 80"/>
                <a:gd name="T46" fmla="*/ 2147483647 w 53"/>
                <a:gd name="T47" fmla="*/ 2147483647 h 80"/>
                <a:gd name="T48" fmla="*/ 2147483647 w 53"/>
                <a:gd name="T49" fmla="*/ 2147483647 h 80"/>
                <a:gd name="T50" fmla="*/ 2147483647 w 53"/>
                <a:gd name="T51" fmla="*/ 2147483647 h 80"/>
                <a:gd name="T52" fmla="*/ 2147483647 w 53"/>
                <a:gd name="T53" fmla="*/ 2147483647 h 80"/>
                <a:gd name="T54" fmla="*/ 2147483647 w 53"/>
                <a:gd name="T55" fmla="*/ 2147483647 h 80"/>
                <a:gd name="T56" fmla="*/ 2147483647 w 53"/>
                <a:gd name="T57" fmla="*/ 2147483647 h 80"/>
                <a:gd name="T58" fmla="*/ 2147483647 w 53"/>
                <a:gd name="T59" fmla="*/ 2147483647 h 80"/>
                <a:gd name="T60" fmla="*/ 2147483647 w 53"/>
                <a:gd name="T61" fmla="*/ 2147483647 h 80"/>
                <a:gd name="T62" fmla="*/ 2147483647 w 53"/>
                <a:gd name="T63" fmla="*/ 2147483647 h 80"/>
                <a:gd name="T64" fmla="*/ 2147483647 w 53"/>
                <a:gd name="T65" fmla="*/ 2147483647 h 80"/>
                <a:gd name="T66" fmla="*/ 2147483647 w 53"/>
                <a:gd name="T67" fmla="*/ 2147483647 h 80"/>
                <a:gd name="T68" fmla="*/ 2147483647 w 53"/>
                <a:gd name="T69" fmla="*/ 2147483647 h 80"/>
                <a:gd name="T70" fmla="*/ 2147483647 w 53"/>
                <a:gd name="T71" fmla="*/ 2147483647 h 80"/>
                <a:gd name="T72" fmla="*/ 2147483647 w 53"/>
                <a:gd name="T73" fmla="*/ 2147483647 h 80"/>
                <a:gd name="T74" fmla="*/ 2147483647 w 53"/>
                <a:gd name="T75" fmla="*/ 2147483647 h 80"/>
                <a:gd name="T76" fmla="*/ 2147483647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53"/>
                <a:gd name="T118" fmla="*/ 0 h 80"/>
                <a:gd name="T119" fmla="*/ 53 w 53"/>
                <a:gd name="T120" fmla="*/ 80 h 8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8" name="Freeform 205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3750782" y="4908103"/>
              <a:ext cx="15911" cy="49237"/>
            </a:xfrm>
            <a:custGeom>
              <a:avLst/>
              <a:gdLst>
                <a:gd name="T0" fmla="*/ 0 w 41"/>
                <a:gd name="T1" fmla="*/ 2147483647 h 43"/>
                <a:gd name="T2" fmla="*/ 2147483647 w 41"/>
                <a:gd name="T3" fmla="*/ 2147483647 h 43"/>
                <a:gd name="T4" fmla="*/ 2147483647 w 41"/>
                <a:gd name="T5" fmla="*/ 2147483647 h 43"/>
                <a:gd name="T6" fmla="*/ 2147483647 w 41"/>
                <a:gd name="T7" fmla="*/ 2147483647 h 43"/>
                <a:gd name="T8" fmla="*/ 2147483647 w 41"/>
                <a:gd name="T9" fmla="*/ 0 h 43"/>
                <a:gd name="T10" fmla="*/ 2147483647 w 41"/>
                <a:gd name="T11" fmla="*/ 2147483647 h 43"/>
                <a:gd name="T12" fmla="*/ 2147483647 w 41"/>
                <a:gd name="T13" fmla="*/ 2147483647 h 43"/>
                <a:gd name="T14" fmla="*/ 2147483647 w 41"/>
                <a:gd name="T15" fmla="*/ 2147483647 h 43"/>
                <a:gd name="T16" fmla="*/ 2147483647 w 41"/>
                <a:gd name="T17" fmla="*/ 2147483647 h 43"/>
                <a:gd name="T18" fmla="*/ 2147483647 w 41"/>
                <a:gd name="T19" fmla="*/ 2147483647 h 43"/>
                <a:gd name="T20" fmla="*/ 2147483647 w 41"/>
                <a:gd name="T21" fmla="*/ 2147483647 h 43"/>
                <a:gd name="T22" fmla="*/ 2147483647 w 41"/>
                <a:gd name="T23" fmla="*/ 2147483647 h 43"/>
                <a:gd name="T24" fmla="*/ 0 w 41"/>
                <a:gd name="T25" fmla="*/ 2147483647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1"/>
                <a:gd name="T40" fmla="*/ 0 h 43"/>
                <a:gd name="T41" fmla="*/ 41 w 41"/>
                <a:gd name="T42" fmla="*/ 43 h 4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9" name="Freeform 206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3755122" y="4928377"/>
              <a:ext cx="7232" cy="53581"/>
            </a:xfrm>
            <a:custGeom>
              <a:avLst/>
              <a:gdLst>
                <a:gd name="T0" fmla="*/ 2147483647 w 20"/>
                <a:gd name="T1" fmla="*/ 0 h 24"/>
                <a:gd name="T2" fmla="*/ 0 w 20"/>
                <a:gd name="T3" fmla="*/ 0 h 24"/>
                <a:gd name="T4" fmla="*/ 2147483647 w 20"/>
                <a:gd name="T5" fmla="*/ 2147483647 h 24"/>
                <a:gd name="T6" fmla="*/ 2147483647 w 20"/>
                <a:gd name="T7" fmla="*/ 2147483647 h 24"/>
                <a:gd name="T8" fmla="*/ 2147483647 w 20"/>
                <a:gd name="T9" fmla="*/ 2147483647 h 24"/>
                <a:gd name="T10" fmla="*/ 2147483647 w 20"/>
                <a:gd name="T11" fmla="*/ 2147483647 h 24"/>
                <a:gd name="T12" fmla="*/ 2147483647 w 20"/>
                <a:gd name="T13" fmla="*/ 2147483647 h 24"/>
                <a:gd name="T14" fmla="*/ 2147483647 w 20"/>
                <a:gd name="T15" fmla="*/ 2147483647 h 24"/>
                <a:gd name="T16" fmla="*/ 2147483647 w 20"/>
                <a:gd name="T17" fmla="*/ 2147483647 h 24"/>
                <a:gd name="T18" fmla="*/ 2147483647 w 20"/>
                <a:gd name="T19" fmla="*/ 2147483647 h 24"/>
                <a:gd name="T20" fmla="*/ 214748364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0"/>
                <a:gd name="T34" fmla="*/ 0 h 24"/>
                <a:gd name="T35" fmla="*/ 20 w 20"/>
                <a:gd name="T36" fmla="*/ 24 h 2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0" name="Freeform 207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3768140" y="4984854"/>
              <a:ext cx="15911" cy="55030"/>
            </a:xfrm>
            <a:custGeom>
              <a:avLst/>
              <a:gdLst>
                <a:gd name="T0" fmla="*/ 0 w 39"/>
                <a:gd name="T1" fmla="*/ 2147483647 h 43"/>
                <a:gd name="T2" fmla="*/ 2147483647 w 39"/>
                <a:gd name="T3" fmla="*/ 2147483647 h 43"/>
                <a:gd name="T4" fmla="*/ 2147483647 w 39"/>
                <a:gd name="T5" fmla="*/ 2147483647 h 43"/>
                <a:gd name="T6" fmla="*/ 2147483647 w 39"/>
                <a:gd name="T7" fmla="*/ 2147483647 h 43"/>
                <a:gd name="T8" fmla="*/ 2147483647 w 39"/>
                <a:gd name="T9" fmla="*/ 2147483647 h 43"/>
                <a:gd name="T10" fmla="*/ 2147483647 w 39"/>
                <a:gd name="T11" fmla="*/ 2147483647 h 43"/>
                <a:gd name="T12" fmla="*/ 2147483647 w 39"/>
                <a:gd name="T13" fmla="*/ 2147483647 h 43"/>
                <a:gd name="T14" fmla="*/ 2147483647 w 39"/>
                <a:gd name="T15" fmla="*/ 2147483647 h 43"/>
                <a:gd name="T16" fmla="*/ 2147483647 w 39"/>
                <a:gd name="T17" fmla="*/ 2147483647 h 43"/>
                <a:gd name="T18" fmla="*/ 2147483647 w 39"/>
                <a:gd name="T19" fmla="*/ 2147483647 h 43"/>
                <a:gd name="T20" fmla="*/ 2147483647 w 39"/>
                <a:gd name="T21" fmla="*/ 2147483647 h 43"/>
                <a:gd name="T22" fmla="*/ 2147483647 w 39"/>
                <a:gd name="T23" fmla="*/ 2147483647 h 43"/>
                <a:gd name="T24" fmla="*/ 2147483647 w 39"/>
                <a:gd name="T25" fmla="*/ 0 h 43"/>
                <a:gd name="T26" fmla="*/ 2147483647 w 39"/>
                <a:gd name="T27" fmla="*/ 2147483647 h 43"/>
                <a:gd name="T28" fmla="*/ 2147483647 w 39"/>
                <a:gd name="T29" fmla="*/ 2147483647 h 43"/>
                <a:gd name="T30" fmla="*/ 0 w 39"/>
                <a:gd name="T31" fmla="*/ 2147483647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9"/>
                <a:gd name="T49" fmla="*/ 0 h 43"/>
                <a:gd name="T50" fmla="*/ 39 w 39"/>
                <a:gd name="T51" fmla="*/ 43 h 4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1" name="Freeform 208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3756568" y="4996440"/>
              <a:ext cx="24590" cy="53582"/>
            </a:xfrm>
            <a:custGeom>
              <a:avLst/>
              <a:gdLst>
                <a:gd name="T0" fmla="*/ 2147483647 w 55"/>
                <a:gd name="T1" fmla="*/ 2147483647 h 62"/>
                <a:gd name="T2" fmla="*/ 2147483647 w 55"/>
                <a:gd name="T3" fmla="*/ 0 h 62"/>
                <a:gd name="T4" fmla="*/ 2147483647 w 55"/>
                <a:gd name="T5" fmla="*/ 2147483647 h 62"/>
                <a:gd name="T6" fmla="*/ 2147483647 w 55"/>
                <a:gd name="T7" fmla="*/ 2147483647 h 62"/>
                <a:gd name="T8" fmla="*/ 0 w 55"/>
                <a:gd name="T9" fmla="*/ 2147483647 h 62"/>
                <a:gd name="T10" fmla="*/ 0 w 55"/>
                <a:gd name="T11" fmla="*/ 2147483647 h 62"/>
                <a:gd name="T12" fmla="*/ 2147483647 w 55"/>
                <a:gd name="T13" fmla="*/ 2147483647 h 62"/>
                <a:gd name="T14" fmla="*/ 2147483647 w 55"/>
                <a:gd name="T15" fmla="*/ 2147483647 h 62"/>
                <a:gd name="T16" fmla="*/ 2147483647 w 55"/>
                <a:gd name="T17" fmla="*/ 2147483647 h 62"/>
                <a:gd name="T18" fmla="*/ 2147483647 w 55"/>
                <a:gd name="T19" fmla="*/ 2147483647 h 62"/>
                <a:gd name="T20" fmla="*/ 2147483647 w 55"/>
                <a:gd name="T21" fmla="*/ 2147483647 h 62"/>
                <a:gd name="T22" fmla="*/ 2147483647 w 55"/>
                <a:gd name="T23" fmla="*/ 2147483647 h 62"/>
                <a:gd name="T24" fmla="*/ 2147483647 w 55"/>
                <a:gd name="T25" fmla="*/ 2147483647 h 62"/>
                <a:gd name="T26" fmla="*/ 2147483647 w 55"/>
                <a:gd name="T27" fmla="*/ 2147483647 h 62"/>
                <a:gd name="T28" fmla="*/ 2147483647 w 55"/>
                <a:gd name="T29" fmla="*/ 2147483647 h 62"/>
                <a:gd name="T30" fmla="*/ 2147483647 w 55"/>
                <a:gd name="T31" fmla="*/ 2147483647 h 62"/>
                <a:gd name="T32" fmla="*/ 2147483647 w 55"/>
                <a:gd name="T33" fmla="*/ 2147483647 h 62"/>
                <a:gd name="T34" fmla="*/ 2147483647 w 55"/>
                <a:gd name="T35" fmla="*/ 2147483647 h 62"/>
                <a:gd name="T36" fmla="*/ 2147483647 w 55"/>
                <a:gd name="T37" fmla="*/ 2147483647 h 62"/>
                <a:gd name="T38" fmla="*/ 2147483647 w 55"/>
                <a:gd name="T39" fmla="*/ 2147483647 h 62"/>
                <a:gd name="T40" fmla="*/ 2147483647 w 55"/>
                <a:gd name="T41" fmla="*/ 2147483647 h 62"/>
                <a:gd name="T42" fmla="*/ 2147483647 w 55"/>
                <a:gd name="T43" fmla="*/ 2147483647 h 62"/>
                <a:gd name="T44" fmla="*/ 2147483647 w 55"/>
                <a:gd name="T45" fmla="*/ 2147483647 h 62"/>
                <a:gd name="T46" fmla="*/ 2147483647 w 55"/>
                <a:gd name="T47" fmla="*/ 2147483647 h 62"/>
                <a:gd name="T48" fmla="*/ 2147483647 w 55"/>
                <a:gd name="T49" fmla="*/ 2147483647 h 62"/>
                <a:gd name="T50" fmla="*/ 2147483647 w 55"/>
                <a:gd name="T51" fmla="*/ 2147483647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55"/>
                <a:gd name="T79" fmla="*/ 0 h 62"/>
                <a:gd name="T80" fmla="*/ 55 w 55"/>
                <a:gd name="T81" fmla="*/ 62 h 6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2" name="Freeform 209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3784051" y="5026851"/>
              <a:ext cx="10125" cy="53581"/>
            </a:xfrm>
            <a:custGeom>
              <a:avLst/>
              <a:gdLst>
                <a:gd name="T0" fmla="*/ 2147483647 w 35"/>
                <a:gd name="T1" fmla="*/ 2147483647 h 43"/>
                <a:gd name="T2" fmla="*/ 2147483647 w 35"/>
                <a:gd name="T3" fmla="*/ 0 h 43"/>
                <a:gd name="T4" fmla="*/ 2147483647 w 35"/>
                <a:gd name="T5" fmla="*/ 2147483647 h 43"/>
                <a:gd name="T6" fmla="*/ 0 w 35"/>
                <a:gd name="T7" fmla="*/ 2147483647 h 43"/>
                <a:gd name="T8" fmla="*/ 2147483647 w 35"/>
                <a:gd name="T9" fmla="*/ 2147483647 h 43"/>
                <a:gd name="T10" fmla="*/ 2147483647 w 35"/>
                <a:gd name="T11" fmla="*/ 2147483647 h 43"/>
                <a:gd name="T12" fmla="*/ 2147483647 w 35"/>
                <a:gd name="T13" fmla="*/ 2147483647 h 43"/>
                <a:gd name="T14" fmla="*/ 2147483647 w 35"/>
                <a:gd name="T15" fmla="*/ 2147483647 h 43"/>
                <a:gd name="T16" fmla="*/ 2147483647 w 35"/>
                <a:gd name="T17" fmla="*/ 2147483647 h 43"/>
                <a:gd name="T18" fmla="*/ 2147483647 w 35"/>
                <a:gd name="T19" fmla="*/ 2147483647 h 43"/>
                <a:gd name="T20" fmla="*/ 2147483647 w 35"/>
                <a:gd name="T21" fmla="*/ 2147483647 h 43"/>
                <a:gd name="T22" fmla="*/ 2147483647 w 35"/>
                <a:gd name="T23" fmla="*/ 2147483647 h 43"/>
                <a:gd name="T24" fmla="*/ 2147483647 w 35"/>
                <a:gd name="T25" fmla="*/ 2147483647 h 43"/>
                <a:gd name="T26" fmla="*/ 2147483647 w 35"/>
                <a:gd name="T27" fmla="*/ 2147483647 h 43"/>
                <a:gd name="T28" fmla="*/ 2147483647 w 35"/>
                <a:gd name="T29" fmla="*/ 2147483647 h 43"/>
                <a:gd name="T30" fmla="*/ 2147483647 w 35"/>
                <a:gd name="T31" fmla="*/ 2147483647 h 43"/>
                <a:gd name="T32" fmla="*/ 2147483647 w 35"/>
                <a:gd name="T33" fmla="*/ 2147483647 h 43"/>
                <a:gd name="T34" fmla="*/ 2147483647 w 35"/>
                <a:gd name="T35" fmla="*/ 214748364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5"/>
                <a:gd name="T55" fmla="*/ 0 h 43"/>
                <a:gd name="T56" fmla="*/ 35 w 35"/>
                <a:gd name="T57" fmla="*/ 43 h 4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3" name="Freeform 210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3781158" y="5057262"/>
              <a:ext cx="18803" cy="50686"/>
            </a:xfrm>
            <a:custGeom>
              <a:avLst/>
              <a:gdLst>
                <a:gd name="T0" fmla="*/ 2147483647 w 53"/>
                <a:gd name="T1" fmla="*/ 0 h 21"/>
                <a:gd name="T2" fmla="*/ 2147483647 w 53"/>
                <a:gd name="T3" fmla="*/ 2147483647 h 21"/>
                <a:gd name="T4" fmla="*/ 2147483647 w 53"/>
                <a:gd name="T5" fmla="*/ 2147483647 h 21"/>
                <a:gd name="T6" fmla="*/ 2147483647 w 53"/>
                <a:gd name="T7" fmla="*/ 2147483647 h 21"/>
                <a:gd name="T8" fmla="*/ 2147483647 w 53"/>
                <a:gd name="T9" fmla="*/ 2147483647 h 21"/>
                <a:gd name="T10" fmla="*/ 2147483647 w 53"/>
                <a:gd name="T11" fmla="*/ 2147483647 h 21"/>
                <a:gd name="T12" fmla="*/ 2147483647 w 53"/>
                <a:gd name="T13" fmla="*/ 2147483647 h 21"/>
                <a:gd name="T14" fmla="*/ 2147483647 w 53"/>
                <a:gd name="T15" fmla="*/ 2147483647 h 21"/>
                <a:gd name="T16" fmla="*/ 0 w 53"/>
                <a:gd name="T17" fmla="*/ 2147483647 h 21"/>
                <a:gd name="T18" fmla="*/ 2147483647 w 53"/>
                <a:gd name="T19" fmla="*/ 2147483647 h 21"/>
                <a:gd name="T20" fmla="*/ 2147483647 w 53"/>
                <a:gd name="T21" fmla="*/ 2147483647 h 21"/>
                <a:gd name="T22" fmla="*/ 2147483647 w 53"/>
                <a:gd name="T23" fmla="*/ 2147483647 h 21"/>
                <a:gd name="T24" fmla="*/ 2147483647 w 53"/>
                <a:gd name="T25" fmla="*/ 2147483647 h 21"/>
                <a:gd name="T26" fmla="*/ 2147483647 w 53"/>
                <a:gd name="T27" fmla="*/ 2147483647 h 21"/>
                <a:gd name="T28" fmla="*/ 2147483647 w 53"/>
                <a:gd name="T29" fmla="*/ 2147483647 h 21"/>
                <a:gd name="T30" fmla="*/ 214748364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3"/>
                <a:gd name="T49" fmla="*/ 0 h 21"/>
                <a:gd name="T50" fmla="*/ 53 w 53"/>
                <a:gd name="T51" fmla="*/ 21 h 2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4" name="Freeform 211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3802854" y="5070296"/>
              <a:ext cx="15911" cy="52134"/>
            </a:xfrm>
            <a:custGeom>
              <a:avLst/>
              <a:gdLst>
                <a:gd name="T0" fmla="*/ 2147483647 w 43"/>
                <a:gd name="T1" fmla="*/ 0 h 38"/>
                <a:gd name="T2" fmla="*/ 2147483647 w 43"/>
                <a:gd name="T3" fmla="*/ 0 h 38"/>
                <a:gd name="T4" fmla="*/ 2147483647 w 43"/>
                <a:gd name="T5" fmla="*/ 0 h 38"/>
                <a:gd name="T6" fmla="*/ 2147483647 w 43"/>
                <a:gd name="T7" fmla="*/ 0 h 38"/>
                <a:gd name="T8" fmla="*/ 0 w 43"/>
                <a:gd name="T9" fmla="*/ 2147483647 h 38"/>
                <a:gd name="T10" fmla="*/ 0 w 43"/>
                <a:gd name="T11" fmla="*/ 2147483647 h 38"/>
                <a:gd name="T12" fmla="*/ 0 w 43"/>
                <a:gd name="T13" fmla="*/ 2147483647 h 38"/>
                <a:gd name="T14" fmla="*/ 2147483647 w 43"/>
                <a:gd name="T15" fmla="*/ 2147483647 h 38"/>
                <a:gd name="T16" fmla="*/ 2147483647 w 43"/>
                <a:gd name="T17" fmla="*/ 2147483647 h 38"/>
                <a:gd name="T18" fmla="*/ 2147483647 w 43"/>
                <a:gd name="T19" fmla="*/ 2147483647 h 38"/>
                <a:gd name="T20" fmla="*/ 2147483647 w 43"/>
                <a:gd name="T21" fmla="*/ 2147483647 h 38"/>
                <a:gd name="T22" fmla="*/ 2147483647 w 43"/>
                <a:gd name="T23" fmla="*/ 2147483647 h 38"/>
                <a:gd name="T24" fmla="*/ 2147483647 w 43"/>
                <a:gd name="T25" fmla="*/ 2147483647 h 38"/>
                <a:gd name="T26" fmla="*/ 2147483647 w 43"/>
                <a:gd name="T27" fmla="*/ 2147483647 h 38"/>
                <a:gd name="T28" fmla="*/ 2147483647 w 43"/>
                <a:gd name="T29" fmla="*/ 2147483647 h 38"/>
                <a:gd name="T30" fmla="*/ 2147483647 w 43"/>
                <a:gd name="T31" fmla="*/ 2147483647 h 38"/>
                <a:gd name="T32" fmla="*/ 2147483647 w 43"/>
                <a:gd name="T33" fmla="*/ 2147483647 h 38"/>
                <a:gd name="T34" fmla="*/ 2147483647 w 43"/>
                <a:gd name="T35" fmla="*/ 2147483647 h 38"/>
                <a:gd name="T36" fmla="*/ 2147483647 w 43"/>
                <a:gd name="T37" fmla="*/ 2147483647 h 38"/>
                <a:gd name="T38" fmla="*/ 2147483647 w 43"/>
                <a:gd name="T39" fmla="*/ 2147483647 h 38"/>
                <a:gd name="T40" fmla="*/ 2147483647 w 43"/>
                <a:gd name="T41" fmla="*/ 2147483647 h 38"/>
                <a:gd name="T42" fmla="*/ 2147483647 w 43"/>
                <a:gd name="T43" fmla="*/ 2147483647 h 38"/>
                <a:gd name="T44" fmla="*/ 2147483647 w 43"/>
                <a:gd name="T45" fmla="*/ 2147483647 h 38"/>
                <a:gd name="T46" fmla="*/ 2147483647 w 43"/>
                <a:gd name="T47" fmla="*/ 2147483647 h 38"/>
                <a:gd name="T48" fmla="*/ 2147483647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3"/>
                <a:gd name="T76" fmla="*/ 0 h 38"/>
                <a:gd name="T77" fmla="*/ 43 w 43"/>
                <a:gd name="T78" fmla="*/ 38 h 3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5" name="Freeform 212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3804301" y="5096363"/>
              <a:ext cx="5786" cy="52134"/>
            </a:xfrm>
            <a:custGeom>
              <a:avLst/>
              <a:gdLst>
                <a:gd name="T0" fmla="*/ 0 w 20"/>
                <a:gd name="T1" fmla="*/ 0 h 5"/>
                <a:gd name="T2" fmla="*/ 2147483647 w 20"/>
                <a:gd name="T3" fmla="*/ 2147483647 h 5"/>
                <a:gd name="T4" fmla="*/ 2147483647 w 20"/>
                <a:gd name="T5" fmla="*/ 2147483647 h 5"/>
                <a:gd name="T6" fmla="*/ 2147483647 w 20"/>
                <a:gd name="T7" fmla="*/ 2147483647 h 5"/>
                <a:gd name="T8" fmla="*/ 2147483647 w 20"/>
                <a:gd name="T9" fmla="*/ 2147483647 h 5"/>
                <a:gd name="T10" fmla="*/ 2147483647 w 20"/>
                <a:gd name="T11" fmla="*/ 2147483647 h 5"/>
                <a:gd name="T12" fmla="*/ 2147483647 w 20"/>
                <a:gd name="T13" fmla="*/ 2147483647 h 5"/>
                <a:gd name="T14" fmla="*/ 2147483647 w 20"/>
                <a:gd name="T15" fmla="*/ 2147483647 h 5"/>
                <a:gd name="T16" fmla="*/ 2147483647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5"/>
                <a:gd name="T32" fmla="*/ 20 w 20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6" name="Freeform 213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3872282" y="5160081"/>
              <a:ext cx="31821" cy="52134"/>
            </a:xfrm>
            <a:custGeom>
              <a:avLst/>
              <a:gdLst>
                <a:gd name="T0" fmla="*/ 2147483647 w 73"/>
                <a:gd name="T1" fmla="*/ 0 h 22"/>
                <a:gd name="T2" fmla="*/ 2147483647 w 73"/>
                <a:gd name="T3" fmla="*/ 2147483647 h 22"/>
                <a:gd name="T4" fmla="*/ 2147483647 w 73"/>
                <a:gd name="T5" fmla="*/ 2147483647 h 22"/>
                <a:gd name="T6" fmla="*/ 2147483647 w 73"/>
                <a:gd name="T7" fmla="*/ 2147483647 h 22"/>
                <a:gd name="T8" fmla="*/ 2147483647 w 73"/>
                <a:gd name="T9" fmla="*/ 2147483647 h 22"/>
                <a:gd name="T10" fmla="*/ 2147483647 w 73"/>
                <a:gd name="T11" fmla="*/ 2147483647 h 22"/>
                <a:gd name="T12" fmla="*/ 0 w 73"/>
                <a:gd name="T13" fmla="*/ 2147483647 h 22"/>
                <a:gd name="T14" fmla="*/ 2147483647 w 73"/>
                <a:gd name="T15" fmla="*/ 2147483647 h 22"/>
                <a:gd name="T16" fmla="*/ 2147483647 w 73"/>
                <a:gd name="T17" fmla="*/ 2147483647 h 22"/>
                <a:gd name="T18" fmla="*/ 2147483647 w 73"/>
                <a:gd name="T19" fmla="*/ 2147483647 h 22"/>
                <a:gd name="T20" fmla="*/ 2147483647 w 73"/>
                <a:gd name="T21" fmla="*/ 2147483647 h 22"/>
                <a:gd name="T22" fmla="*/ 2147483647 w 73"/>
                <a:gd name="T23" fmla="*/ 2147483647 h 22"/>
                <a:gd name="T24" fmla="*/ 2147483647 w 73"/>
                <a:gd name="T25" fmla="*/ 2147483647 h 22"/>
                <a:gd name="T26" fmla="*/ 2147483647 w 73"/>
                <a:gd name="T27" fmla="*/ 2147483647 h 22"/>
                <a:gd name="T28" fmla="*/ 2147483647 w 73"/>
                <a:gd name="T29" fmla="*/ 2147483647 h 22"/>
                <a:gd name="T30" fmla="*/ 2147483647 w 73"/>
                <a:gd name="T31" fmla="*/ 2147483647 h 22"/>
                <a:gd name="T32" fmla="*/ 2147483647 w 73"/>
                <a:gd name="T33" fmla="*/ 2147483647 h 22"/>
                <a:gd name="T34" fmla="*/ 2147483647 w 73"/>
                <a:gd name="T35" fmla="*/ 2147483647 h 22"/>
                <a:gd name="T36" fmla="*/ 214748364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73"/>
                <a:gd name="T58" fmla="*/ 0 h 22"/>
                <a:gd name="T59" fmla="*/ 73 w 73"/>
                <a:gd name="T60" fmla="*/ 22 h 2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7" name="Freeform 214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3906997" y="5106499"/>
              <a:ext cx="112821" cy="91234"/>
            </a:xfrm>
            <a:custGeom>
              <a:avLst/>
              <a:gdLst>
                <a:gd name="T0" fmla="*/ 2147483647 w 281"/>
                <a:gd name="T1" fmla="*/ 2147483647 h 193"/>
                <a:gd name="T2" fmla="*/ 2147483647 w 281"/>
                <a:gd name="T3" fmla="*/ 2147483647 h 193"/>
                <a:gd name="T4" fmla="*/ 2147483647 w 281"/>
                <a:gd name="T5" fmla="*/ 2147483647 h 193"/>
                <a:gd name="T6" fmla="*/ 2147483647 w 281"/>
                <a:gd name="T7" fmla="*/ 2147483647 h 193"/>
                <a:gd name="T8" fmla="*/ 2147483647 w 281"/>
                <a:gd name="T9" fmla="*/ 2147483647 h 193"/>
                <a:gd name="T10" fmla="*/ 2147483647 w 281"/>
                <a:gd name="T11" fmla="*/ 2147483647 h 193"/>
                <a:gd name="T12" fmla="*/ 2147483647 w 281"/>
                <a:gd name="T13" fmla="*/ 2147483647 h 193"/>
                <a:gd name="T14" fmla="*/ 2147483647 w 281"/>
                <a:gd name="T15" fmla="*/ 2147483647 h 193"/>
                <a:gd name="T16" fmla="*/ 2147483647 w 281"/>
                <a:gd name="T17" fmla="*/ 2147483647 h 193"/>
                <a:gd name="T18" fmla="*/ 2147483647 w 281"/>
                <a:gd name="T19" fmla="*/ 0 h 193"/>
                <a:gd name="T20" fmla="*/ 2147483647 w 281"/>
                <a:gd name="T21" fmla="*/ 2147483647 h 193"/>
                <a:gd name="T22" fmla="*/ 2147483647 w 281"/>
                <a:gd name="T23" fmla="*/ 2147483647 h 193"/>
                <a:gd name="T24" fmla="*/ 2147483647 w 281"/>
                <a:gd name="T25" fmla="*/ 2147483647 h 193"/>
                <a:gd name="T26" fmla="*/ 0 w 281"/>
                <a:gd name="T27" fmla="*/ 2147483647 h 193"/>
                <a:gd name="T28" fmla="*/ 2147483647 w 281"/>
                <a:gd name="T29" fmla="*/ 2147483647 h 193"/>
                <a:gd name="T30" fmla="*/ 2147483647 w 281"/>
                <a:gd name="T31" fmla="*/ 2147483647 h 193"/>
                <a:gd name="T32" fmla="*/ 2147483647 w 281"/>
                <a:gd name="T33" fmla="*/ 2147483647 h 193"/>
                <a:gd name="T34" fmla="*/ 2147483647 w 281"/>
                <a:gd name="T35" fmla="*/ 2147483647 h 193"/>
                <a:gd name="T36" fmla="*/ 2147483647 w 281"/>
                <a:gd name="T37" fmla="*/ 2147483647 h 193"/>
                <a:gd name="T38" fmla="*/ 2147483647 w 281"/>
                <a:gd name="T39" fmla="*/ 2147483647 h 193"/>
                <a:gd name="T40" fmla="*/ 2147483647 w 281"/>
                <a:gd name="T41" fmla="*/ 2147483647 h 193"/>
                <a:gd name="T42" fmla="*/ 2147483647 w 281"/>
                <a:gd name="T43" fmla="*/ 2147483647 h 193"/>
                <a:gd name="T44" fmla="*/ 2147483647 w 281"/>
                <a:gd name="T45" fmla="*/ 2147483647 h 193"/>
                <a:gd name="T46" fmla="*/ 2147483647 w 281"/>
                <a:gd name="T47" fmla="*/ 2147483647 h 193"/>
                <a:gd name="T48" fmla="*/ 2147483647 w 281"/>
                <a:gd name="T49" fmla="*/ 2147483647 h 193"/>
                <a:gd name="T50" fmla="*/ 2147483647 w 281"/>
                <a:gd name="T51" fmla="*/ 2147483647 h 193"/>
                <a:gd name="T52" fmla="*/ 2147483647 w 281"/>
                <a:gd name="T53" fmla="*/ 2147483647 h 193"/>
                <a:gd name="T54" fmla="*/ 2147483647 w 281"/>
                <a:gd name="T55" fmla="*/ 2147483647 h 193"/>
                <a:gd name="T56" fmla="*/ 2147483647 w 281"/>
                <a:gd name="T57" fmla="*/ 2147483647 h 193"/>
                <a:gd name="T58" fmla="*/ 2147483647 w 281"/>
                <a:gd name="T59" fmla="*/ 2147483647 h 193"/>
                <a:gd name="T60" fmla="*/ 2147483647 w 281"/>
                <a:gd name="T61" fmla="*/ 2147483647 h 193"/>
                <a:gd name="T62" fmla="*/ 2147483647 w 281"/>
                <a:gd name="T63" fmla="*/ 2147483647 h 193"/>
                <a:gd name="T64" fmla="*/ 2147483647 w 281"/>
                <a:gd name="T65" fmla="*/ 2147483647 h 193"/>
                <a:gd name="T66" fmla="*/ 2147483647 w 281"/>
                <a:gd name="T67" fmla="*/ 2147483647 h 193"/>
                <a:gd name="T68" fmla="*/ 2147483647 w 281"/>
                <a:gd name="T69" fmla="*/ 2147483647 h 193"/>
                <a:gd name="T70" fmla="*/ 2147483647 w 281"/>
                <a:gd name="T71" fmla="*/ 2147483647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81"/>
                <a:gd name="T109" fmla="*/ 0 h 193"/>
                <a:gd name="T110" fmla="*/ 281 w 281"/>
                <a:gd name="T111" fmla="*/ 193 h 19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8" name="Freeform 215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3499104" y="3068948"/>
              <a:ext cx="47733" cy="53581"/>
            </a:xfrm>
            <a:custGeom>
              <a:avLst/>
              <a:gdLst>
                <a:gd name="T0" fmla="*/ 0 w 120"/>
                <a:gd name="T1" fmla="*/ 2147483647 h 56"/>
                <a:gd name="T2" fmla="*/ 2147483647 w 120"/>
                <a:gd name="T3" fmla="*/ 2147483647 h 56"/>
                <a:gd name="T4" fmla="*/ 2147483647 w 120"/>
                <a:gd name="T5" fmla="*/ 2147483647 h 56"/>
                <a:gd name="T6" fmla="*/ 2147483647 w 120"/>
                <a:gd name="T7" fmla="*/ 2147483647 h 56"/>
                <a:gd name="T8" fmla="*/ 2147483647 w 120"/>
                <a:gd name="T9" fmla="*/ 2147483647 h 56"/>
                <a:gd name="T10" fmla="*/ 2147483647 w 120"/>
                <a:gd name="T11" fmla="*/ 2147483647 h 56"/>
                <a:gd name="T12" fmla="*/ 2147483647 w 120"/>
                <a:gd name="T13" fmla="*/ 2147483647 h 56"/>
                <a:gd name="T14" fmla="*/ 2147483647 w 120"/>
                <a:gd name="T15" fmla="*/ 2147483647 h 56"/>
                <a:gd name="T16" fmla="*/ 2147483647 w 120"/>
                <a:gd name="T17" fmla="*/ 2147483647 h 56"/>
                <a:gd name="T18" fmla="*/ 2147483647 w 120"/>
                <a:gd name="T19" fmla="*/ 2147483647 h 56"/>
                <a:gd name="T20" fmla="*/ 2147483647 w 120"/>
                <a:gd name="T21" fmla="*/ 2147483647 h 56"/>
                <a:gd name="T22" fmla="*/ 2147483647 w 120"/>
                <a:gd name="T23" fmla="*/ 2147483647 h 56"/>
                <a:gd name="T24" fmla="*/ 2147483647 w 120"/>
                <a:gd name="T25" fmla="*/ 2147483647 h 56"/>
                <a:gd name="T26" fmla="*/ 2147483647 w 120"/>
                <a:gd name="T27" fmla="*/ 2147483647 h 56"/>
                <a:gd name="T28" fmla="*/ 2147483647 w 120"/>
                <a:gd name="T29" fmla="*/ 2147483647 h 56"/>
                <a:gd name="T30" fmla="*/ 2147483647 w 120"/>
                <a:gd name="T31" fmla="*/ 2147483647 h 56"/>
                <a:gd name="T32" fmla="*/ 2147483647 w 120"/>
                <a:gd name="T33" fmla="*/ 2147483647 h 56"/>
                <a:gd name="T34" fmla="*/ 2147483647 w 120"/>
                <a:gd name="T35" fmla="*/ 2147483647 h 56"/>
                <a:gd name="T36" fmla="*/ 2147483647 w 120"/>
                <a:gd name="T37" fmla="*/ 2147483647 h 56"/>
                <a:gd name="T38" fmla="*/ 2147483647 w 120"/>
                <a:gd name="T39" fmla="*/ 2147483647 h 56"/>
                <a:gd name="T40" fmla="*/ 2147483647 w 120"/>
                <a:gd name="T41" fmla="*/ 2147483647 h 56"/>
                <a:gd name="T42" fmla="*/ 2147483647 w 120"/>
                <a:gd name="T43" fmla="*/ 0 h 56"/>
                <a:gd name="T44" fmla="*/ 2147483647 w 120"/>
                <a:gd name="T45" fmla="*/ 2147483647 h 56"/>
                <a:gd name="T46" fmla="*/ 2147483647 w 120"/>
                <a:gd name="T47" fmla="*/ 2147483647 h 56"/>
                <a:gd name="T48" fmla="*/ 2147483647 w 120"/>
                <a:gd name="T49" fmla="*/ 2147483647 h 56"/>
                <a:gd name="T50" fmla="*/ 2147483647 w 120"/>
                <a:gd name="T51" fmla="*/ 2147483647 h 56"/>
                <a:gd name="T52" fmla="*/ 2147483647 w 120"/>
                <a:gd name="T53" fmla="*/ 2147483647 h 56"/>
                <a:gd name="T54" fmla="*/ 2147483647 w 120"/>
                <a:gd name="T55" fmla="*/ 2147483647 h 56"/>
                <a:gd name="T56" fmla="*/ 2147483647 w 120"/>
                <a:gd name="T57" fmla="*/ 2147483647 h 56"/>
                <a:gd name="T58" fmla="*/ 0 w 120"/>
                <a:gd name="T59" fmla="*/ 2147483647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20"/>
                <a:gd name="T91" fmla="*/ 0 h 56"/>
                <a:gd name="T92" fmla="*/ 120 w 120"/>
                <a:gd name="T93" fmla="*/ 56 h 5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9" name="Freeform 216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3368925" y="2942958"/>
              <a:ext cx="228536" cy="99923"/>
            </a:xfrm>
            <a:custGeom>
              <a:avLst/>
              <a:gdLst>
                <a:gd name="T0" fmla="*/ 2147483647 w 574"/>
                <a:gd name="T1" fmla="*/ 2147483647 h 204"/>
                <a:gd name="T2" fmla="*/ 2147483647 w 574"/>
                <a:gd name="T3" fmla="*/ 2147483647 h 204"/>
                <a:gd name="T4" fmla="*/ 2147483647 w 574"/>
                <a:gd name="T5" fmla="*/ 2147483647 h 204"/>
                <a:gd name="T6" fmla="*/ 2147483647 w 574"/>
                <a:gd name="T7" fmla="*/ 2147483647 h 204"/>
                <a:gd name="T8" fmla="*/ 2147483647 w 574"/>
                <a:gd name="T9" fmla="*/ 2147483647 h 204"/>
                <a:gd name="T10" fmla="*/ 2147483647 w 574"/>
                <a:gd name="T11" fmla="*/ 2147483647 h 204"/>
                <a:gd name="T12" fmla="*/ 2147483647 w 574"/>
                <a:gd name="T13" fmla="*/ 2147483647 h 204"/>
                <a:gd name="T14" fmla="*/ 0 w 574"/>
                <a:gd name="T15" fmla="*/ 2147483647 h 204"/>
                <a:gd name="T16" fmla="*/ 2147483647 w 574"/>
                <a:gd name="T17" fmla="*/ 2147483647 h 204"/>
                <a:gd name="T18" fmla="*/ 2147483647 w 574"/>
                <a:gd name="T19" fmla="*/ 2147483647 h 204"/>
                <a:gd name="T20" fmla="*/ 2147483647 w 574"/>
                <a:gd name="T21" fmla="*/ 2147483647 h 204"/>
                <a:gd name="T22" fmla="*/ 2147483647 w 574"/>
                <a:gd name="T23" fmla="*/ 2147483647 h 204"/>
                <a:gd name="T24" fmla="*/ 2147483647 w 574"/>
                <a:gd name="T25" fmla="*/ 2147483647 h 204"/>
                <a:gd name="T26" fmla="*/ 2147483647 w 574"/>
                <a:gd name="T27" fmla="*/ 2147483647 h 204"/>
                <a:gd name="T28" fmla="*/ 2147483647 w 574"/>
                <a:gd name="T29" fmla="*/ 2147483647 h 204"/>
                <a:gd name="T30" fmla="*/ 2147483647 w 574"/>
                <a:gd name="T31" fmla="*/ 2147483647 h 204"/>
                <a:gd name="T32" fmla="*/ 2147483647 w 574"/>
                <a:gd name="T33" fmla="*/ 2147483647 h 204"/>
                <a:gd name="T34" fmla="*/ 2147483647 w 574"/>
                <a:gd name="T35" fmla="*/ 2147483647 h 204"/>
                <a:gd name="T36" fmla="*/ 2147483647 w 574"/>
                <a:gd name="T37" fmla="*/ 2147483647 h 204"/>
                <a:gd name="T38" fmla="*/ 2147483647 w 574"/>
                <a:gd name="T39" fmla="*/ 2147483647 h 204"/>
                <a:gd name="T40" fmla="*/ 2147483647 w 574"/>
                <a:gd name="T41" fmla="*/ 2147483647 h 204"/>
                <a:gd name="T42" fmla="*/ 2147483647 w 574"/>
                <a:gd name="T43" fmla="*/ 2147483647 h 204"/>
                <a:gd name="T44" fmla="*/ 2147483647 w 574"/>
                <a:gd name="T45" fmla="*/ 2147483647 h 204"/>
                <a:gd name="T46" fmla="*/ 2147483647 w 574"/>
                <a:gd name="T47" fmla="*/ 2147483647 h 204"/>
                <a:gd name="T48" fmla="*/ 2147483647 w 574"/>
                <a:gd name="T49" fmla="*/ 2147483647 h 204"/>
                <a:gd name="T50" fmla="*/ 2147483647 w 574"/>
                <a:gd name="T51" fmla="*/ 2147483647 h 204"/>
                <a:gd name="T52" fmla="*/ 2147483647 w 574"/>
                <a:gd name="T53" fmla="*/ 2147483647 h 204"/>
                <a:gd name="T54" fmla="*/ 2147483647 w 574"/>
                <a:gd name="T55" fmla="*/ 2147483647 h 204"/>
                <a:gd name="T56" fmla="*/ 2147483647 w 574"/>
                <a:gd name="T57" fmla="*/ 2147483647 h 204"/>
                <a:gd name="T58" fmla="*/ 2147483647 w 574"/>
                <a:gd name="T59" fmla="*/ 2147483647 h 204"/>
                <a:gd name="T60" fmla="*/ 2147483647 w 574"/>
                <a:gd name="T61" fmla="*/ 2147483647 h 204"/>
                <a:gd name="T62" fmla="*/ 2147483647 w 574"/>
                <a:gd name="T63" fmla="*/ 2147483647 h 204"/>
                <a:gd name="T64" fmla="*/ 2147483647 w 574"/>
                <a:gd name="T65" fmla="*/ 2147483647 h 204"/>
                <a:gd name="T66" fmla="*/ 2147483647 w 574"/>
                <a:gd name="T67" fmla="*/ 2147483647 h 204"/>
                <a:gd name="T68" fmla="*/ 2147483647 w 574"/>
                <a:gd name="T69" fmla="*/ 2147483647 h 204"/>
                <a:gd name="T70" fmla="*/ 2147483647 w 574"/>
                <a:gd name="T71" fmla="*/ 2147483647 h 204"/>
                <a:gd name="T72" fmla="*/ 2147483647 w 574"/>
                <a:gd name="T73" fmla="*/ 2147483647 h 204"/>
                <a:gd name="T74" fmla="*/ 2147483647 w 574"/>
                <a:gd name="T75" fmla="*/ 2147483647 h 204"/>
                <a:gd name="T76" fmla="*/ 2147483647 w 574"/>
                <a:gd name="T77" fmla="*/ 2147483647 h 204"/>
                <a:gd name="T78" fmla="*/ 2147483647 w 574"/>
                <a:gd name="T79" fmla="*/ 2147483647 h 204"/>
                <a:gd name="T80" fmla="*/ 2147483647 w 574"/>
                <a:gd name="T81" fmla="*/ 2147483647 h 204"/>
                <a:gd name="T82" fmla="*/ 2147483647 w 574"/>
                <a:gd name="T83" fmla="*/ 2147483647 h 204"/>
                <a:gd name="T84" fmla="*/ 2147483647 w 574"/>
                <a:gd name="T85" fmla="*/ 2147483647 h 204"/>
                <a:gd name="T86" fmla="*/ 2147483647 w 574"/>
                <a:gd name="T87" fmla="*/ 2147483647 h 204"/>
                <a:gd name="T88" fmla="*/ 2147483647 w 574"/>
                <a:gd name="T89" fmla="*/ 2147483647 h 204"/>
                <a:gd name="T90" fmla="*/ 2147483647 w 574"/>
                <a:gd name="T91" fmla="*/ 2147483647 h 204"/>
                <a:gd name="T92" fmla="*/ 2147483647 w 574"/>
                <a:gd name="T93" fmla="*/ 2147483647 h 204"/>
                <a:gd name="T94" fmla="*/ 2147483647 w 574"/>
                <a:gd name="T95" fmla="*/ 2147483647 h 204"/>
                <a:gd name="T96" fmla="*/ 2147483647 w 574"/>
                <a:gd name="T97" fmla="*/ 2147483647 h 204"/>
                <a:gd name="T98" fmla="*/ 2147483647 w 574"/>
                <a:gd name="T99" fmla="*/ 2147483647 h 204"/>
                <a:gd name="T100" fmla="*/ 2147483647 w 574"/>
                <a:gd name="T101" fmla="*/ 2147483647 h 204"/>
                <a:gd name="T102" fmla="*/ 2147483647 w 574"/>
                <a:gd name="T103" fmla="*/ 2147483647 h 204"/>
                <a:gd name="T104" fmla="*/ 2147483647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74"/>
                <a:gd name="T160" fmla="*/ 0 h 204"/>
                <a:gd name="T161" fmla="*/ 574 w 574"/>
                <a:gd name="T162" fmla="*/ 204 h 20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0" name="Freeform 217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3646640" y="3037088"/>
              <a:ext cx="81000" cy="63719"/>
            </a:xfrm>
            <a:custGeom>
              <a:avLst/>
              <a:gdLst>
                <a:gd name="T0" fmla="*/ 2147483647 w 207"/>
                <a:gd name="T1" fmla="*/ 2147483647 h 129"/>
                <a:gd name="T2" fmla="*/ 2147483647 w 207"/>
                <a:gd name="T3" fmla="*/ 2147483647 h 129"/>
                <a:gd name="T4" fmla="*/ 2147483647 w 207"/>
                <a:gd name="T5" fmla="*/ 2147483647 h 129"/>
                <a:gd name="T6" fmla="*/ 2147483647 w 207"/>
                <a:gd name="T7" fmla="*/ 2147483647 h 129"/>
                <a:gd name="T8" fmla="*/ 2147483647 w 207"/>
                <a:gd name="T9" fmla="*/ 2147483647 h 129"/>
                <a:gd name="T10" fmla="*/ 2147483647 w 207"/>
                <a:gd name="T11" fmla="*/ 2147483647 h 129"/>
                <a:gd name="T12" fmla="*/ 2147483647 w 207"/>
                <a:gd name="T13" fmla="*/ 2147483647 h 129"/>
                <a:gd name="T14" fmla="*/ 2147483647 w 207"/>
                <a:gd name="T15" fmla="*/ 2147483647 h 129"/>
                <a:gd name="T16" fmla="*/ 2147483647 w 207"/>
                <a:gd name="T17" fmla="*/ 2147483647 h 129"/>
                <a:gd name="T18" fmla="*/ 2147483647 w 207"/>
                <a:gd name="T19" fmla="*/ 2147483647 h 129"/>
                <a:gd name="T20" fmla="*/ 2147483647 w 207"/>
                <a:gd name="T21" fmla="*/ 2147483647 h 129"/>
                <a:gd name="T22" fmla="*/ 2147483647 w 207"/>
                <a:gd name="T23" fmla="*/ 2147483647 h 129"/>
                <a:gd name="T24" fmla="*/ 2147483647 w 207"/>
                <a:gd name="T25" fmla="*/ 2147483647 h 129"/>
                <a:gd name="T26" fmla="*/ 2147483647 w 207"/>
                <a:gd name="T27" fmla="*/ 2147483647 h 129"/>
                <a:gd name="T28" fmla="*/ 2147483647 w 207"/>
                <a:gd name="T29" fmla="*/ 2147483647 h 129"/>
                <a:gd name="T30" fmla="*/ 2147483647 w 207"/>
                <a:gd name="T31" fmla="*/ 2147483647 h 129"/>
                <a:gd name="T32" fmla="*/ 2147483647 w 207"/>
                <a:gd name="T33" fmla="*/ 2147483647 h 129"/>
                <a:gd name="T34" fmla="*/ 2147483647 w 207"/>
                <a:gd name="T35" fmla="*/ 2147483647 h 129"/>
                <a:gd name="T36" fmla="*/ 2147483647 w 207"/>
                <a:gd name="T37" fmla="*/ 2147483647 h 129"/>
                <a:gd name="T38" fmla="*/ 2147483647 w 207"/>
                <a:gd name="T39" fmla="*/ 2147483647 h 129"/>
                <a:gd name="T40" fmla="*/ 2147483647 w 207"/>
                <a:gd name="T41" fmla="*/ 2147483647 h 129"/>
                <a:gd name="T42" fmla="*/ 2147483647 w 207"/>
                <a:gd name="T43" fmla="*/ 2147483647 h 129"/>
                <a:gd name="T44" fmla="*/ 2147483647 w 207"/>
                <a:gd name="T45" fmla="*/ 0 h 129"/>
                <a:gd name="T46" fmla="*/ 0 w 207"/>
                <a:gd name="T47" fmla="*/ 0 h 129"/>
                <a:gd name="T48" fmla="*/ 2147483647 w 207"/>
                <a:gd name="T49" fmla="*/ 2147483647 h 129"/>
                <a:gd name="T50" fmla="*/ 2147483647 w 207"/>
                <a:gd name="T51" fmla="*/ 2147483647 h 129"/>
                <a:gd name="T52" fmla="*/ 2147483647 w 207"/>
                <a:gd name="T53" fmla="*/ 2147483647 h 129"/>
                <a:gd name="T54" fmla="*/ 2147483647 w 207"/>
                <a:gd name="T55" fmla="*/ 2147483647 h 129"/>
                <a:gd name="T56" fmla="*/ 2147483647 w 207"/>
                <a:gd name="T57" fmla="*/ 2147483647 h 129"/>
                <a:gd name="T58" fmla="*/ 2147483647 w 207"/>
                <a:gd name="T59" fmla="*/ 2147483647 h 129"/>
                <a:gd name="T60" fmla="*/ 2147483647 w 207"/>
                <a:gd name="T61" fmla="*/ 2147483647 h 129"/>
                <a:gd name="T62" fmla="*/ 2147483647 w 207"/>
                <a:gd name="T63" fmla="*/ 2147483647 h 129"/>
                <a:gd name="T64" fmla="*/ 2147483647 w 207"/>
                <a:gd name="T65" fmla="*/ 2147483647 h 129"/>
                <a:gd name="T66" fmla="*/ 2147483647 w 207"/>
                <a:gd name="T67" fmla="*/ 2147483647 h 129"/>
                <a:gd name="T68" fmla="*/ 2147483647 w 207"/>
                <a:gd name="T69" fmla="*/ 2147483647 h 129"/>
                <a:gd name="T70" fmla="*/ 2147483647 w 207"/>
                <a:gd name="T71" fmla="*/ 2147483647 h 129"/>
                <a:gd name="T72" fmla="*/ 0 w 207"/>
                <a:gd name="T73" fmla="*/ 2147483647 h 129"/>
                <a:gd name="T74" fmla="*/ 2147483647 w 207"/>
                <a:gd name="T75" fmla="*/ 2147483647 h 129"/>
                <a:gd name="T76" fmla="*/ 2147483647 w 207"/>
                <a:gd name="T77" fmla="*/ 2147483647 h 129"/>
                <a:gd name="T78" fmla="*/ 2147483647 w 207"/>
                <a:gd name="T79" fmla="*/ 2147483647 h 129"/>
                <a:gd name="T80" fmla="*/ 2147483647 w 207"/>
                <a:gd name="T81" fmla="*/ 2147483647 h 129"/>
                <a:gd name="T82" fmla="*/ 2147483647 w 207"/>
                <a:gd name="T83" fmla="*/ 2147483647 h 129"/>
                <a:gd name="T84" fmla="*/ 2147483647 w 207"/>
                <a:gd name="T85" fmla="*/ 2147483647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07"/>
                <a:gd name="T130" fmla="*/ 0 h 129"/>
                <a:gd name="T131" fmla="*/ 207 w 207"/>
                <a:gd name="T132" fmla="*/ 129 h 12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1" name="Freeform 218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3253211" y="3092118"/>
              <a:ext cx="30375" cy="76752"/>
            </a:xfrm>
            <a:custGeom>
              <a:avLst/>
              <a:gdLst>
                <a:gd name="T0" fmla="*/ 2147483647 w 72"/>
                <a:gd name="T1" fmla="*/ 0 h 154"/>
                <a:gd name="T2" fmla="*/ 2147483647 w 72"/>
                <a:gd name="T3" fmla="*/ 2147483647 h 154"/>
                <a:gd name="T4" fmla="*/ 2147483647 w 72"/>
                <a:gd name="T5" fmla="*/ 2147483647 h 154"/>
                <a:gd name="T6" fmla="*/ 2147483647 w 72"/>
                <a:gd name="T7" fmla="*/ 2147483647 h 154"/>
                <a:gd name="T8" fmla="*/ 2147483647 w 72"/>
                <a:gd name="T9" fmla="*/ 2147483647 h 154"/>
                <a:gd name="T10" fmla="*/ 2147483647 w 72"/>
                <a:gd name="T11" fmla="*/ 2147483647 h 154"/>
                <a:gd name="T12" fmla="*/ 2147483647 w 72"/>
                <a:gd name="T13" fmla="*/ 2147483647 h 154"/>
                <a:gd name="T14" fmla="*/ 2147483647 w 72"/>
                <a:gd name="T15" fmla="*/ 2147483647 h 154"/>
                <a:gd name="T16" fmla="*/ 2147483647 w 72"/>
                <a:gd name="T17" fmla="*/ 2147483647 h 154"/>
                <a:gd name="T18" fmla="*/ 2147483647 w 72"/>
                <a:gd name="T19" fmla="*/ 2147483647 h 154"/>
                <a:gd name="T20" fmla="*/ 2147483647 w 72"/>
                <a:gd name="T21" fmla="*/ 2147483647 h 154"/>
                <a:gd name="T22" fmla="*/ 2147483647 w 72"/>
                <a:gd name="T23" fmla="*/ 2147483647 h 154"/>
                <a:gd name="T24" fmla="*/ 2147483647 w 72"/>
                <a:gd name="T25" fmla="*/ 2147483647 h 154"/>
                <a:gd name="T26" fmla="*/ 2147483647 w 72"/>
                <a:gd name="T27" fmla="*/ 2147483647 h 154"/>
                <a:gd name="T28" fmla="*/ 2147483647 w 72"/>
                <a:gd name="T29" fmla="*/ 2147483647 h 154"/>
                <a:gd name="T30" fmla="*/ 2147483647 w 72"/>
                <a:gd name="T31" fmla="*/ 2147483647 h 154"/>
                <a:gd name="T32" fmla="*/ 2147483647 w 72"/>
                <a:gd name="T33" fmla="*/ 2147483647 h 154"/>
                <a:gd name="T34" fmla="*/ 2147483647 w 72"/>
                <a:gd name="T35" fmla="*/ 2147483647 h 154"/>
                <a:gd name="T36" fmla="*/ 2147483647 w 72"/>
                <a:gd name="T37" fmla="*/ 2147483647 h 154"/>
                <a:gd name="T38" fmla="*/ 2147483647 w 72"/>
                <a:gd name="T39" fmla="*/ 2147483647 h 154"/>
                <a:gd name="T40" fmla="*/ 2147483647 w 72"/>
                <a:gd name="T41" fmla="*/ 2147483647 h 154"/>
                <a:gd name="T42" fmla="*/ 0 w 72"/>
                <a:gd name="T43" fmla="*/ 2147483647 h 154"/>
                <a:gd name="T44" fmla="*/ 2147483647 w 72"/>
                <a:gd name="T45" fmla="*/ 2147483647 h 154"/>
                <a:gd name="T46" fmla="*/ 2147483647 w 72"/>
                <a:gd name="T47" fmla="*/ 2147483647 h 154"/>
                <a:gd name="T48" fmla="*/ 2147483647 w 72"/>
                <a:gd name="T49" fmla="*/ 2147483647 h 154"/>
                <a:gd name="T50" fmla="*/ 2147483647 w 72"/>
                <a:gd name="T51" fmla="*/ 2147483647 h 154"/>
                <a:gd name="T52" fmla="*/ 2147483647 w 72"/>
                <a:gd name="T53" fmla="*/ 2147483647 h 154"/>
                <a:gd name="T54" fmla="*/ 2147483647 w 72"/>
                <a:gd name="T55" fmla="*/ 2147483647 h 154"/>
                <a:gd name="T56" fmla="*/ 2147483647 w 72"/>
                <a:gd name="T57" fmla="*/ 0 h 154"/>
                <a:gd name="T58" fmla="*/ 2147483647 w 72"/>
                <a:gd name="T59" fmla="*/ 0 h 154"/>
                <a:gd name="T60" fmla="*/ 2147483647 w 72"/>
                <a:gd name="T61" fmla="*/ 0 h 154"/>
                <a:gd name="T62" fmla="*/ 2147483647 w 72"/>
                <a:gd name="T63" fmla="*/ 0 h 154"/>
                <a:gd name="T64" fmla="*/ 2147483647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72"/>
                <a:gd name="T100" fmla="*/ 0 h 154"/>
                <a:gd name="T101" fmla="*/ 72 w 72"/>
                <a:gd name="T102" fmla="*/ 154 h 15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2" name="Freeform 219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3180890" y="3092118"/>
              <a:ext cx="85340" cy="133230"/>
            </a:xfrm>
            <a:custGeom>
              <a:avLst/>
              <a:gdLst>
                <a:gd name="T0" fmla="*/ 2147483647 w 214"/>
                <a:gd name="T1" fmla="*/ 2147483647 h 271"/>
                <a:gd name="T2" fmla="*/ 2147483647 w 214"/>
                <a:gd name="T3" fmla="*/ 2147483647 h 271"/>
                <a:gd name="T4" fmla="*/ 2147483647 w 214"/>
                <a:gd name="T5" fmla="*/ 2147483647 h 271"/>
                <a:gd name="T6" fmla="*/ 2147483647 w 214"/>
                <a:gd name="T7" fmla="*/ 2147483647 h 271"/>
                <a:gd name="T8" fmla="*/ 2147483647 w 214"/>
                <a:gd name="T9" fmla="*/ 2147483647 h 271"/>
                <a:gd name="T10" fmla="*/ 2147483647 w 214"/>
                <a:gd name="T11" fmla="*/ 2147483647 h 271"/>
                <a:gd name="T12" fmla="*/ 2147483647 w 214"/>
                <a:gd name="T13" fmla="*/ 2147483647 h 271"/>
                <a:gd name="T14" fmla="*/ 2147483647 w 214"/>
                <a:gd name="T15" fmla="*/ 2147483647 h 271"/>
                <a:gd name="T16" fmla="*/ 2147483647 w 214"/>
                <a:gd name="T17" fmla="*/ 2147483647 h 271"/>
                <a:gd name="T18" fmla="*/ 2147483647 w 214"/>
                <a:gd name="T19" fmla="*/ 2147483647 h 271"/>
                <a:gd name="T20" fmla="*/ 2147483647 w 214"/>
                <a:gd name="T21" fmla="*/ 2147483647 h 271"/>
                <a:gd name="T22" fmla="*/ 2147483647 w 214"/>
                <a:gd name="T23" fmla="*/ 2147483647 h 271"/>
                <a:gd name="T24" fmla="*/ 2147483647 w 214"/>
                <a:gd name="T25" fmla="*/ 2147483647 h 271"/>
                <a:gd name="T26" fmla="*/ 2147483647 w 214"/>
                <a:gd name="T27" fmla="*/ 2147483647 h 271"/>
                <a:gd name="T28" fmla="*/ 2147483647 w 214"/>
                <a:gd name="T29" fmla="*/ 2147483647 h 271"/>
                <a:gd name="T30" fmla="*/ 2147483647 w 214"/>
                <a:gd name="T31" fmla="*/ 2147483647 h 271"/>
                <a:gd name="T32" fmla="*/ 2147483647 w 214"/>
                <a:gd name="T33" fmla="*/ 2147483647 h 271"/>
                <a:gd name="T34" fmla="*/ 2147483647 w 214"/>
                <a:gd name="T35" fmla="*/ 2147483647 h 271"/>
                <a:gd name="T36" fmla="*/ 2147483647 w 214"/>
                <a:gd name="T37" fmla="*/ 0 h 271"/>
                <a:gd name="T38" fmla="*/ 2147483647 w 214"/>
                <a:gd name="T39" fmla="*/ 0 h 271"/>
                <a:gd name="T40" fmla="*/ 2147483647 w 214"/>
                <a:gd name="T41" fmla="*/ 2147483647 h 271"/>
                <a:gd name="T42" fmla="*/ 2147483647 w 214"/>
                <a:gd name="T43" fmla="*/ 2147483647 h 271"/>
                <a:gd name="T44" fmla="*/ 2147483647 w 214"/>
                <a:gd name="T45" fmla="*/ 2147483647 h 271"/>
                <a:gd name="T46" fmla="*/ 2147483647 w 214"/>
                <a:gd name="T47" fmla="*/ 2147483647 h 271"/>
                <a:gd name="T48" fmla="*/ 2147483647 w 214"/>
                <a:gd name="T49" fmla="*/ 2147483647 h 271"/>
                <a:gd name="T50" fmla="*/ 2147483647 w 214"/>
                <a:gd name="T51" fmla="*/ 2147483647 h 271"/>
                <a:gd name="T52" fmla="*/ 2147483647 w 214"/>
                <a:gd name="T53" fmla="*/ 2147483647 h 271"/>
                <a:gd name="T54" fmla="*/ 2147483647 w 214"/>
                <a:gd name="T55" fmla="*/ 2147483647 h 271"/>
                <a:gd name="T56" fmla="*/ 2147483647 w 214"/>
                <a:gd name="T57" fmla="*/ 2147483647 h 271"/>
                <a:gd name="T58" fmla="*/ 2147483647 w 214"/>
                <a:gd name="T59" fmla="*/ 2147483647 h 271"/>
                <a:gd name="T60" fmla="*/ 2147483647 w 214"/>
                <a:gd name="T61" fmla="*/ 2147483647 h 271"/>
                <a:gd name="T62" fmla="*/ 2147483647 w 214"/>
                <a:gd name="T63" fmla="*/ 2147483647 h 271"/>
                <a:gd name="T64" fmla="*/ 2147483647 w 214"/>
                <a:gd name="T65" fmla="*/ 2147483647 h 271"/>
                <a:gd name="T66" fmla="*/ 2147483647 w 214"/>
                <a:gd name="T67" fmla="*/ 2147483647 h 271"/>
                <a:gd name="T68" fmla="*/ 2147483647 w 214"/>
                <a:gd name="T69" fmla="*/ 2147483647 h 271"/>
                <a:gd name="T70" fmla="*/ 0 w 214"/>
                <a:gd name="T71" fmla="*/ 2147483647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14"/>
                <a:gd name="T109" fmla="*/ 0 h 271"/>
                <a:gd name="T110" fmla="*/ 214 w 214"/>
                <a:gd name="T111" fmla="*/ 271 h 27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92D05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3" name="Freeform 220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3224282" y="3193489"/>
              <a:ext cx="65090" cy="52134"/>
            </a:xfrm>
            <a:custGeom>
              <a:avLst/>
              <a:gdLst>
                <a:gd name="T0" fmla="*/ 2147483647 w 153"/>
                <a:gd name="T1" fmla="*/ 0 h 80"/>
                <a:gd name="T2" fmla="*/ 2147483647 w 153"/>
                <a:gd name="T3" fmla="*/ 2147483647 h 80"/>
                <a:gd name="T4" fmla="*/ 2147483647 w 153"/>
                <a:gd name="T5" fmla="*/ 2147483647 h 80"/>
                <a:gd name="T6" fmla="*/ 2147483647 w 153"/>
                <a:gd name="T7" fmla="*/ 2147483647 h 80"/>
                <a:gd name="T8" fmla="*/ 2147483647 w 153"/>
                <a:gd name="T9" fmla="*/ 2147483647 h 80"/>
                <a:gd name="T10" fmla="*/ 2147483647 w 153"/>
                <a:gd name="T11" fmla="*/ 2147483647 h 80"/>
                <a:gd name="T12" fmla="*/ 2147483647 w 153"/>
                <a:gd name="T13" fmla="*/ 2147483647 h 80"/>
                <a:gd name="T14" fmla="*/ 2147483647 w 153"/>
                <a:gd name="T15" fmla="*/ 2147483647 h 80"/>
                <a:gd name="T16" fmla="*/ 2147483647 w 153"/>
                <a:gd name="T17" fmla="*/ 2147483647 h 80"/>
                <a:gd name="T18" fmla="*/ 2147483647 w 153"/>
                <a:gd name="T19" fmla="*/ 2147483647 h 80"/>
                <a:gd name="T20" fmla="*/ 2147483647 w 153"/>
                <a:gd name="T21" fmla="*/ 2147483647 h 80"/>
                <a:gd name="T22" fmla="*/ 2147483647 w 153"/>
                <a:gd name="T23" fmla="*/ 2147483647 h 80"/>
                <a:gd name="T24" fmla="*/ 2147483647 w 153"/>
                <a:gd name="T25" fmla="*/ 2147483647 h 80"/>
                <a:gd name="T26" fmla="*/ 2147483647 w 153"/>
                <a:gd name="T27" fmla="*/ 2147483647 h 80"/>
                <a:gd name="T28" fmla="*/ 2147483647 w 153"/>
                <a:gd name="T29" fmla="*/ 2147483647 h 80"/>
                <a:gd name="T30" fmla="*/ 2147483647 w 153"/>
                <a:gd name="T31" fmla="*/ 2147483647 h 80"/>
                <a:gd name="T32" fmla="*/ 2147483647 w 153"/>
                <a:gd name="T33" fmla="*/ 2147483647 h 80"/>
                <a:gd name="T34" fmla="*/ 2147483647 w 153"/>
                <a:gd name="T35" fmla="*/ 2147483647 h 80"/>
                <a:gd name="T36" fmla="*/ 2147483647 w 153"/>
                <a:gd name="T37" fmla="*/ 2147483647 h 80"/>
                <a:gd name="T38" fmla="*/ 2147483647 w 153"/>
                <a:gd name="T39" fmla="*/ 2147483647 h 80"/>
                <a:gd name="T40" fmla="*/ 2147483647 w 153"/>
                <a:gd name="T41" fmla="*/ 2147483647 h 80"/>
                <a:gd name="T42" fmla="*/ 2147483647 w 153"/>
                <a:gd name="T43" fmla="*/ 2147483647 h 80"/>
                <a:gd name="T44" fmla="*/ 2147483647 w 153"/>
                <a:gd name="T45" fmla="*/ 2147483647 h 80"/>
                <a:gd name="T46" fmla="*/ 2147483647 w 153"/>
                <a:gd name="T47" fmla="*/ 2147483647 h 80"/>
                <a:gd name="T48" fmla="*/ 2147483647 w 153"/>
                <a:gd name="T49" fmla="*/ 2147483647 h 80"/>
                <a:gd name="T50" fmla="*/ 0 w 153"/>
                <a:gd name="T51" fmla="*/ 2147483647 h 80"/>
                <a:gd name="T52" fmla="*/ 2147483647 w 153"/>
                <a:gd name="T53" fmla="*/ 2147483647 h 80"/>
                <a:gd name="T54" fmla="*/ 2147483647 w 153"/>
                <a:gd name="T55" fmla="*/ 2147483647 h 80"/>
                <a:gd name="T56" fmla="*/ 2147483647 w 153"/>
                <a:gd name="T57" fmla="*/ 2147483647 h 80"/>
                <a:gd name="T58" fmla="*/ 2147483647 w 153"/>
                <a:gd name="T59" fmla="*/ 2147483647 h 80"/>
                <a:gd name="T60" fmla="*/ 2147483647 w 153"/>
                <a:gd name="T61" fmla="*/ 2147483647 h 80"/>
                <a:gd name="T62" fmla="*/ 2147483647 w 153"/>
                <a:gd name="T63" fmla="*/ 2147483647 h 80"/>
                <a:gd name="T64" fmla="*/ 2147483647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53"/>
                <a:gd name="T100" fmla="*/ 0 h 80"/>
                <a:gd name="T101" fmla="*/ 153 w 153"/>
                <a:gd name="T102" fmla="*/ 80 h 8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5" name="Freeform 222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3269122" y="3186248"/>
              <a:ext cx="114267" cy="111508"/>
            </a:xfrm>
            <a:custGeom>
              <a:avLst/>
              <a:gdLst>
                <a:gd name="T0" fmla="*/ 2147483647 w 286"/>
                <a:gd name="T1" fmla="*/ 2147483647 h 235"/>
                <a:gd name="T2" fmla="*/ 2147483647 w 286"/>
                <a:gd name="T3" fmla="*/ 2147483647 h 235"/>
                <a:gd name="T4" fmla="*/ 2147483647 w 286"/>
                <a:gd name="T5" fmla="*/ 2147483647 h 235"/>
                <a:gd name="T6" fmla="*/ 2147483647 w 286"/>
                <a:gd name="T7" fmla="*/ 2147483647 h 235"/>
                <a:gd name="T8" fmla="*/ 2147483647 w 286"/>
                <a:gd name="T9" fmla="*/ 2147483647 h 235"/>
                <a:gd name="T10" fmla="*/ 2147483647 w 286"/>
                <a:gd name="T11" fmla="*/ 2147483647 h 235"/>
                <a:gd name="T12" fmla="*/ 2147483647 w 286"/>
                <a:gd name="T13" fmla="*/ 2147483647 h 235"/>
                <a:gd name="T14" fmla="*/ 2147483647 w 286"/>
                <a:gd name="T15" fmla="*/ 2147483647 h 235"/>
                <a:gd name="T16" fmla="*/ 2147483647 w 286"/>
                <a:gd name="T17" fmla="*/ 2147483647 h 235"/>
                <a:gd name="T18" fmla="*/ 2147483647 w 286"/>
                <a:gd name="T19" fmla="*/ 2147483647 h 235"/>
                <a:gd name="T20" fmla="*/ 2147483647 w 286"/>
                <a:gd name="T21" fmla="*/ 2147483647 h 235"/>
                <a:gd name="T22" fmla="*/ 2147483647 w 286"/>
                <a:gd name="T23" fmla="*/ 2147483647 h 235"/>
                <a:gd name="T24" fmla="*/ 2147483647 w 286"/>
                <a:gd name="T25" fmla="*/ 2147483647 h 235"/>
                <a:gd name="T26" fmla="*/ 2147483647 w 286"/>
                <a:gd name="T27" fmla="*/ 2147483647 h 235"/>
                <a:gd name="T28" fmla="*/ 2147483647 w 286"/>
                <a:gd name="T29" fmla="*/ 2147483647 h 235"/>
                <a:gd name="T30" fmla="*/ 2147483647 w 286"/>
                <a:gd name="T31" fmla="*/ 2147483647 h 235"/>
                <a:gd name="T32" fmla="*/ 2147483647 w 286"/>
                <a:gd name="T33" fmla="*/ 2147483647 h 235"/>
                <a:gd name="T34" fmla="*/ 2147483647 w 286"/>
                <a:gd name="T35" fmla="*/ 2147483647 h 235"/>
                <a:gd name="T36" fmla="*/ 2147483647 w 286"/>
                <a:gd name="T37" fmla="*/ 2147483647 h 235"/>
                <a:gd name="T38" fmla="*/ 2147483647 w 286"/>
                <a:gd name="T39" fmla="*/ 2147483647 h 235"/>
                <a:gd name="T40" fmla="*/ 2147483647 w 286"/>
                <a:gd name="T41" fmla="*/ 2147483647 h 235"/>
                <a:gd name="T42" fmla="*/ 2147483647 w 286"/>
                <a:gd name="T43" fmla="*/ 2147483647 h 235"/>
                <a:gd name="T44" fmla="*/ 2147483647 w 286"/>
                <a:gd name="T45" fmla="*/ 2147483647 h 235"/>
                <a:gd name="T46" fmla="*/ 2147483647 w 286"/>
                <a:gd name="T47" fmla="*/ 2147483647 h 235"/>
                <a:gd name="T48" fmla="*/ 2147483647 w 286"/>
                <a:gd name="T49" fmla="*/ 2147483647 h 235"/>
                <a:gd name="T50" fmla="*/ 2147483647 w 286"/>
                <a:gd name="T51" fmla="*/ 2147483647 h 235"/>
                <a:gd name="T52" fmla="*/ 2147483647 w 286"/>
                <a:gd name="T53" fmla="*/ 2147483647 h 235"/>
                <a:gd name="T54" fmla="*/ 2147483647 w 286"/>
                <a:gd name="T55" fmla="*/ 2147483647 h 235"/>
                <a:gd name="T56" fmla="*/ 0 w 286"/>
                <a:gd name="T57" fmla="*/ 2147483647 h 235"/>
                <a:gd name="T58" fmla="*/ 2147483647 w 286"/>
                <a:gd name="T59" fmla="*/ 2147483647 h 235"/>
                <a:gd name="T60" fmla="*/ 2147483647 w 286"/>
                <a:gd name="T61" fmla="*/ 2147483647 h 235"/>
                <a:gd name="T62" fmla="*/ 2147483647 w 286"/>
                <a:gd name="T63" fmla="*/ 2147483647 h 235"/>
                <a:gd name="T64" fmla="*/ 2147483647 w 286"/>
                <a:gd name="T65" fmla="*/ 2147483647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86"/>
                <a:gd name="T100" fmla="*/ 0 h 235"/>
                <a:gd name="T101" fmla="*/ 286 w 286"/>
                <a:gd name="T102" fmla="*/ 235 h 23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chemeClr val="accent3">
                <a:lumMod val="60000"/>
                <a:lumOff val="4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6" name="Freeform 223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3315408" y="3289067"/>
              <a:ext cx="76660" cy="91233"/>
            </a:xfrm>
            <a:custGeom>
              <a:avLst/>
              <a:gdLst>
                <a:gd name="T0" fmla="*/ 2147483647 w 205"/>
                <a:gd name="T1" fmla="*/ 2147483647 h 191"/>
                <a:gd name="T2" fmla="*/ 2147483647 w 205"/>
                <a:gd name="T3" fmla="*/ 2147483647 h 191"/>
                <a:gd name="T4" fmla="*/ 2147483647 w 205"/>
                <a:gd name="T5" fmla="*/ 2147483647 h 191"/>
                <a:gd name="T6" fmla="*/ 2147483647 w 205"/>
                <a:gd name="T7" fmla="*/ 2147483647 h 191"/>
                <a:gd name="T8" fmla="*/ 2147483647 w 205"/>
                <a:gd name="T9" fmla="*/ 2147483647 h 191"/>
                <a:gd name="T10" fmla="*/ 2147483647 w 205"/>
                <a:gd name="T11" fmla="*/ 2147483647 h 191"/>
                <a:gd name="T12" fmla="*/ 2147483647 w 205"/>
                <a:gd name="T13" fmla="*/ 2147483647 h 191"/>
                <a:gd name="T14" fmla="*/ 2147483647 w 205"/>
                <a:gd name="T15" fmla="*/ 2147483647 h 191"/>
                <a:gd name="T16" fmla="*/ 2147483647 w 205"/>
                <a:gd name="T17" fmla="*/ 2147483647 h 191"/>
                <a:gd name="T18" fmla="*/ 2147483647 w 205"/>
                <a:gd name="T19" fmla="*/ 2147483647 h 191"/>
                <a:gd name="T20" fmla="*/ 2147483647 w 205"/>
                <a:gd name="T21" fmla="*/ 2147483647 h 191"/>
                <a:gd name="T22" fmla="*/ 2147483647 w 205"/>
                <a:gd name="T23" fmla="*/ 2147483647 h 191"/>
                <a:gd name="T24" fmla="*/ 2147483647 w 205"/>
                <a:gd name="T25" fmla="*/ 2147483647 h 191"/>
                <a:gd name="T26" fmla="*/ 2147483647 w 205"/>
                <a:gd name="T27" fmla="*/ 2147483647 h 191"/>
                <a:gd name="T28" fmla="*/ 2147483647 w 205"/>
                <a:gd name="T29" fmla="*/ 2147483647 h 191"/>
                <a:gd name="T30" fmla="*/ 2147483647 w 205"/>
                <a:gd name="T31" fmla="*/ 2147483647 h 191"/>
                <a:gd name="T32" fmla="*/ 2147483647 w 205"/>
                <a:gd name="T33" fmla="*/ 2147483647 h 191"/>
                <a:gd name="T34" fmla="*/ 2147483647 w 205"/>
                <a:gd name="T35" fmla="*/ 2147483647 h 191"/>
                <a:gd name="T36" fmla="*/ 2147483647 w 205"/>
                <a:gd name="T37" fmla="*/ 2147483647 h 191"/>
                <a:gd name="T38" fmla="*/ 2147483647 w 205"/>
                <a:gd name="T39" fmla="*/ 2147483647 h 191"/>
                <a:gd name="T40" fmla="*/ 2147483647 w 205"/>
                <a:gd name="T41" fmla="*/ 2147483647 h 191"/>
                <a:gd name="T42" fmla="*/ 2147483647 w 205"/>
                <a:gd name="T43" fmla="*/ 2147483647 h 191"/>
                <a:gd name="T44" fmla="*/ 2147483647 w 205"/>
                <a:gd name="T45" fmla="*/ 2147483647 h 191"/>
                <a:gd name="T46" fmla="*/ 0 w 205"/>
                <a:gd name="T47" fmla="*/ 2147483647 h 191"/>
                <a:gd name="T48" fmla="*/ 0 w 205"/>
                <a:gd name="T49" fmla="*/ 2147483647 h 191"/>
                <a:gd name="T50" fmla="*/ 2147483647 w 205"/>
                <a:gd name="T51" fmla="*/ 2147483647 h 191"/>
                <a:gd name="T52" fmla="*/ 2147483647 w 205"/>
                <a:gd name="T53" fmla="*/ 2147483647 h 191"/>
                <a:gd name="T54" fmla="*/ 2147483647 w 205"/>
                <a:gd name="T55" fmla="*/ 2147483647 h 191"/>
                <a:gd name="T56" fmla="*/ 2147483647 w 205"/>
                <a:gd name="T57" fmla="*/ 2147483647 h 191"/>
                <a:gd name="T58" fmla="*/ 2147483647 w 205"/>
                <a:gd name="T59" fmla="*/ 0 h 191"/>
                <a:gd name="T60" fmla="*/ 2147483647 w 205"/>
                <a:gd name="T61" fmla="*/ 2147483647 h 191"/>
                <a:gd name="T62" fmla="*/ 2147483647 w 205"/>
                <a:gd name="T63" fmla="*/ 2147483647 h 191"/>
                <a:gd name="T64" fmla="*/ 2147483647 w 205"/>
                <a:gd name="T65" fmla="*/ 2147483647 h 191"/>
                <a:gd name="T66" fmla="*/ 2147483647 w 205"/>
                <a:gd name="T67" fmla="*/ 2147483647 h 191"/>
                <a:gd name="T68" fmla="*/ 2147483647 w 205"/>
                <a:gd name="T69" fmla="*/ 2147483647 h 191"/>
                <a:gd name="T70" fmla="*/ 2147483647 w 205"/>
                <a:gd name="T71" fmla="*/ 2147483647 h 191"/>
                <a:gd name="T72" fmla="*/ 2147483647 w 205"/>
                <a:gd name="T73" fmla="*/ 2147483647 h 191"/>
                <a:gd name="T74" fmla="*/ 2147483647 w 205"/>
                <a:gd name="T75" fmla="*/ 2147483647 h 191"/>
                <a:gd name="T76" fmla="*/ 2147483647 w 205"/>
                <a:gd name="T77" fmla="*/ 2147483647 h 191"/>
                <a:gd name="T78" fmla="*/ 2147483647 w 205"/>
                <a:gd name="T79" fmla="*/ 2147483647 h 191"/>
                <a:gd name="T80" fmla="*/ 2147483647 w 205"/>
                <a:gd name="T81" fmla="*/ 2147483647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5"/>
                <a:gd name="T124" fmla="*/ 0 h 191"/>
                <a:gd name="T125" fmla="*/ 205 w 205"/>
                <a:gd name="T126" fmla="*/ 191 h 19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7" name="Freeform 224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3389175" y="3338304"/>
              <a:ext cx="130179" cy="72408"/>
            </a:xfrm>
            <a:custGeom>
              <a:avLst/>
              <a:gdLst>
                <a:gd name="T0" fmla="*/ 2147483647 w 329"/>
                <a:gd name="T1" fmla="*/ 2147483647 h 154"/>
                <a:gd name="T2" fmla="*/ 0 w 329"/>
                <a:gd name="T3" fmla="*/ 2147483647 h 154"/>
                <a:gd name="T4" fmla="*/ 2147483647 w 329"/>
                <a:gd name="T5" fmla="*/ 2147483647 h 154"/>
                <a:gd name="T6" fmla="*/ 2147483647 w 329"/>
                <a:gd name="T7" fmla="*/ 2147483647 h 154"/>
                <a:gd name="T8" fmla="*/ 2147483647 w 329"/>
                <a:gd name="T9" fmla="*/ 2147483647 h 154"/>
                <a:gd name="T10" fmla="*/ 2147483647 w 329"/>
                <a:gd name="T11" fmla="*/ 2147483647 h 154"/>
                <a:gd name="T12" fmla="*/ 2147483647 w 329"/>
                <a:gd name="T13" fmla="*/ 2147483647 h 154"/>
                <a:gd name="T14" fmla="*/ 2147483647 w 329"/>
                <a:gd name="T15" fmla="*/ 2147483647 h 154"/>
                <a:gd name="T16" fmla="*/ 2147483647 w 329"/>
                <a:gd name="T17" fmla="*/ 2147483647 h 154"/>
                <a:gd name="T18" fmla="*/ 2147483647 w 329"/>
                <a:gd name="T19" fmla="*/ 2147483647 h 154"/>
                <a:gd name="T20" fmla="*/ 2147483647 w 329"/>
                <a:gd name="T21" fmla="*/ 2147483647 h 154"/>
                <a:gd name="T22" fmla="*/ 2147483647 w 329"/>
                <a:gd name="T23" fmla="*/ 0 h 154"/>
                <a:gd name="T24" fmla="*/ 2147483647 w 329"/>
                <a:gd name="T25" fmla="*/ 0 h 154"/>
                <a:gd name="T26" fmla="*/ 2147483647 w 329"/>
                <a:gd name="T27" fmla="*/ 2147483647 h 154"/>
                <a:gd name="T28" fmla="*/ 2147483647 w 329"/>
                <a:gd name="T29" fmla="*/ 2147483647 h 154"/>
                <a:gd name="T30" fmla="*/ 2147483647 w 329"/>
                <a:gd name="T31" fmla="*/ 2147483647 h 154"/>
                <a:gd name="T32" fmla="*/ 2147483647 w 329"/>
                <a:gd name="T33" fmla="*/ 2147483647 h 154"/>
                <a:gd name="T34" fmla="*/ 2147483647 w 329"/>
                <a:gd name="T35" fmla="*/ 2147483647 h 154"/>
                <a:gd name="T36" fmla="*/ 2147483647 w 329"/>
                <a:gd name="T37" fmla="*/ 2147483647 h 154"/>
                <a:gd name="T38" fmla="*/ 2147483647 w 329"/>
                <a:gd name="T39" fmla="*/ 2147483647 h 154"/>
                <a:gd name="T40" fmla="*/ 2147483647 w 329"/>
                <a:gd name="T41" fmla="*/ 2147483647 h 154"/>
                <a:gd name="T42" fmla="*/ 2147483647 w 329"/>
                <a:gd name="T43" fmla="*/ 2147483647 h 154"/>
                <a:gd name="T44" fmla="*/ 2147483647 w 329"/>
                <a:gd name="T45" fmla="*/ 2147483647 h 154"/>
                <a:gd name="T46" fmla="*/ 2147483647 w 329"/>
                <a:gd name="T47" fmla="*/ 2147483647 h 154"/>
                <a:gd name="T48" fmla="*/ 2147483647 w 329"/>
                <a:gd name="T49" fmla="*/ 2147483647 h 154"/>
                <a:gd name="T50" fmla="*/ 2147483647 w 329"/>
                <a:gd name="T51" fmla="*/ 2147483647 h 154"/>
                <a:gd name="T52" fmla="*/ 2147483647 w 329"/>
                <a:gd name="T53" fmla="*/ 2147483647 h 154"/>
                <a:gd name="T54" fmla="*/ 2147483647 w 329"/>
                <a:gd name="T55" fmla="*/ 2147483647 h 154"/>
                <a:gd name="T56" fmla="*/ 2147483647 w 329"/>
                <a:gd name="T57" fmla="*/ 2147483647 h 154"/>
                <a:gd name="T58" fmla="*/ 2147483647 w 329"/>
                <a:gd name="T59" fmla="*/ 2147483647 h 154"/>
                <a:gd name="T60" fmla="*/ 2147483647 w 329"/>
                <a:gd name="T61" fmla="*/ 2147483647 h 154"/>
                <a:gd name="T62" fmla="*/ 2147483647 w 329"/>
                <a:gd name="T63" fmla="*/ 2147483647 h 154"/>
                <a:gd name="T64" fmla="*/ 2147483647 w 329"/>
                <a:gd name="T65" fmla="*/ 2147483647 h 154"/>
                <a:gd name="T66" fmla="*/ 2147483647 w 329"/>
                <a:gd name="T67" fmla="*/ 2147483647 h 154"/>
                <a:gd name="T68" fmla="*/ 2147483647 w 329"/>
                <a:gd name="T69" fmla="*/ 2147483647 h 154"/>
                <a:gd name="T70" fmla="*/ 2147483647 w 329"/>
                <a:gd name="T71" fmla="*/ 2147483647 h 154"/>
                <a:gd name="T72" fmla="*/ 2147483647 w 329"/>
                <a:gd name="T73" fmla="*/ 2147483647 h 154"/>
                <a:gd name="T74" fmla="*/ 2147483647 w 329"/>
                <a:gd name="T75" fmla="*/ 2147483647 h 154"/>
                <a:gd name="T76" fmla="*/ 2147483647 w 329"/>
                <a:gd name="T77" fmla="*/ 2147483647 h 154"/>
                <a:gd name="T78" fmla="*/ 2147483647 w 329"/>
                <a:gd name="T79" fmla="*/ 2147483647 h 154"/>
                <a:gd name="T80" fmla="*/ 2147483647 w 329"/>
                <a:gd name="T81" fmla="*/ 2147483647 h 154"/>
                <a:gd name="T82" fmla="*/ 2147483647 w 329"/>
                <a:gd name="T83" fmla="*/ 2147483647 h 154"/>
                <a:gd name="T84" fmla="*/ 2147483647 w 329"/>
                <a:gd name="T85" fmla="*/ 2147483647 h 154"/>
                <a:gd name="T86" fmla="*/ 2147483647 w 329"/>
                <a:gd name="T87" fmla="*/ 2147483647 h 154"/>
                <a:gd name="T88" fmla="*/ 2147483647 w 329"/>
                <a:gd name="T89" fmla="*/ 2147483647 h 154"/>
                <a:gd name="T90" fmla="*/ 2147483647 w 329"/>
                <a:gd name="T91" fmla="*/ 2147483647 h 154"/>
                <a:gd name="T92" fmla="*/ 2147483647 w 329"/>
                <a:gd name="T93" fmla="*/ 2147483647 h 154"/>
                <a:gd name="T94" fmla="*/ 2147483647 w 329"/>
                <a:gd name="T95" fmla="*/ 2147483647 h 154"/>
                <a:gd name="T96" fmla="*/ 2147483647 w 329"/>
                <a:gd name="T97" fmla="*/ 2147483647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29"/>
                <a:gd name="T148" fmla="*/ 0 h 154"/>
                <a:gd name="T149" fmla="*/ 329 w 329"/>
                <a:gd name="T150" fmla="*/ 154 h 15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8" name="Freeform 225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4009694" y="4482345"/>
              <a:ext cx="121500" cy="141919"/>
            </a:xfrm>
            <a:custGeom>
              <a:avLst/>
              <a:gdLst>
                <a:gd name="T0" fmla="*/ 2147483647 w 306"/>
                <a:gd name="T1" fmla="*/ 2147483647 h 293"/>
                <a:gd name="T2" fmla="*/ 2147483647 w 306"/>
                <a:gd name="T3" fmla="*/ 2147483647 h 293"/>
                <a:gd name="T4" fmla="*/ 2147483647 w 306"/>
                <a:gd name="T5" fmla="*/ 2147483647 h 293"/>
                <a:gd name="T6" fmla="*/ 2147483647 w 306"/>
                <a:gd name="T7" fmla="*/ 2147483647 h 293"/>
                <a:gd name="T8" fmla="*/ 2147483647 w 306"/>
                <a:gd name="T9" fmla="*/ 2147483647 h 293"/>
                <a:gd name="T10" fmla="*/ 2147483647 w 306"/>
                <a:gd name="T11" fmla="*/ 2147483647 h 293"/>
                <a:gd name="T12" fmla="*/ 2147483647 w 306"/>
                <a:gd name="T13" fmla="*/ 2147483647 h 293"/>
                <a:gd name="T14" fmla="*/ 2147483647 w 306"/>
                <a:gd name="T15" fmla="*/ 2147483647 h 293"/>
                <a:gd name="T16" fmla="*/ 2147483647 w 306"/>
                <a:gd name="T17" fmla="*/ 2147483647 h 293"/>
                <a:gd name="T18" fmla="*/ 2147483647 w 306"/>
                <a:gd name="T19" fmla="*/ 2147483647 h 293"/>
                <a:gd name="T20" fmla="*/ 2147483647 w 306"/>
                <a:gd name="T21" fmla="*/ 2147483647 h 293"/>
                <a:gd name="T22" fmla="*/ 2147483647 w 306"/>
                <a:gd name="T23" fmla="*/ 2147483647 h 293"/>
                <a:gd name="T24" fmla="*/ 2147483647 w 306"/>
                <a:gd name="T25" fmla="*/ 2147483647 h 293"/>
                <a:gd name="T26" fmla="*/ 2147483647 w 306"/>
                <a:gd name="T27" fmla="*/ 2147483647 h 293"/>
                <a:gd name="T28" fmla="*/ 2147483647 w 306"/>
                <a:gd name="T29" fmla="*/ 2147483647 h 293"/>
                <a:gd name="T30" fmla="*/ 2147483647 w 306"/>
                <a:gd name="T31" fmla="*/ 2147483647 h 293"/>
                <a:gd name="T32" fmla="*/ 2147483647 w 306"/>
                <a:gd name="T33" fmla="*/ 2147483647 h 293"/>
                <a:gd name="T34" fmla="*/ 2147483647 w 306"/>
                <a:gd name="T35" fmla="*/ 2147483647 h 293"/>
                <a:gd name="T36" fmla="*/ 2147483647 w 306"/>
                <a:gd name="T37" fmla="*/ 2147483647 h 293"/>
                <a:gd name="T38" fmla="*/ 0 w 306"/>
                <a:gd name="T39" fmla="*/ 2147483647 h 293"/>
                <a:gd name="T40" fmla="*/ 2147483647 w 306"/>
                <a:gd name="T41" fmla="*/ 2147483647 h 293"/>
                <a:gd name="T42" fmla="*/ 2147483647 w 306"/>
                <a:gd name="T43" fmla="*/ 2147483647 h 293"/>
                <a:gd name="T44" fmla="*/ 2147483647 w 306"/>
                <a:gd name="T45" fmla="*/ 2147483647 h 293"/>
                <a:gd name="T46" fmla="*/ 2147483647 w 306"/>
                <a:gd name="T47" fmla="*/ 2147483647 h 293"/>
                <a:gd name="T48" fmla="*/ 2147483647 w 306"/>
                <a:gd name="T49" fmla="*/ 2147483647 h 293"/>
                <a:gd name="T50" fmla="*/ 2147483647 w 306"/>
                <a:gd name="T51" fmla="*/ 0 h 293"/>
                <a:gd name="T52" fmla="*/ 2147483647 w 306"/>
                <a:gd name="T53" fmla="*/ 2147483647 h 293"/>
                <a:gd name="T54" fmla="*/ 2147483647 w 306"/>
                <a:gd name="T55" fmla="*/ 2147483647 h 293"/>
                <a:gd name="T56" fmla="*/ 2147483647 w 306"/>
                <a:gd name="T57" fmla="*/ 2147483647 h 293"/>
                <a:gd name="T58" fmla="*/ 2147483647 w 306"/>
                <a:gd name="T59" fmla="*/ 2147483647 h 293"/>
                <a:gd name="T60" fmla="*/ 2147483647 w 306"/>
                <a:gd name="T61" fmla="*/ 2147483647 h 293"/>
                <a:gd name="T62" fmla="*/ 2147483647 w 306"/>
                <a:gd name="T63" fmla="*/ 2147483647 h 293"/>
                <a:gd name="T64" fmla="*/ 2147483647 w 306"/>
                <a:gd name="T65" fmla="*/ 2147483647 h 293"/>
                <a:gd name="T66" fmla="*/ 2147483647 w 306"/>
                <a:gd name="T67" fmla="*/ 2147483647 h 293"/>
                <a:gd name="T68" fmla="*/ 2147483647 w 306"/>
                <a:gd name="T69" fmla="*/ 2147483647 h 293"/>
                <a:gd name="T70" fmla="*/ 2147483647 w 306"/>
                <a:gd name="T71" fmla="*/ 2147483647 h 293"/>
                <a:gd name="T72" fmla="*/ 2147483647 w 306"/>
                <a:gd name="T73" fmla="*/ 2147483647 h 293"/>
                <a:gd name="T74" fmla="*/ 2147483647 w 306"/>
                <a:gd name="T75" fmla="*/ 2147483647 h 293"/>
                <a:gd name="T76" fmla="*/ 2147483647 w 306"/>
                <a:gd name="T77" fmla="*/ 2147483647 h 293"/>
                <a:gd name="T78" fmla="*/ 2147483647 w 306"/>
                <a:gd name="T79" fmla="*/ 2147483647 h 293"/>
                <a:gd name="T80" fmla="*/ 2147483647 w 306"/>
                <a:gd name="T81" fmla="*/ 2147483647 h 293"/>
                <a:gd name="T82" fmla="*/ 2147483647 w 306"/>
                <a:gd name="T83" fmla="*/ 2147483647 h 293"/>
                <a:gd name="T84" fmla="*/ 2147483647 w 306"/>
                <a:gd name="T85" fmla="*/ 2147483647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06"/>
                <a:gd name="T130" fmla="*/ 0 h 293"/>
                <a:gd name="T131" fmla="*/ 306 w 306"/>
                <a:gd name="T132" fmla="*/ 293 h 29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7030A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9" name="Freeform 226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5418515" y="1396330"/>
              <a:ext cx="215517" cy="83993"/>
            </a:xfrm>
            <a:custGeom>
              <a:avLst/>
              <a:gdLst>
                <a:gd name="T0" fmla="*/ 2147483647 w 546"/>
                <a:gd name="T1" fmla="*/ 2147483647 h 173"/>
                <a:gd name="T2" fmla="*/ 2147483647 w 546"/>
                <a:gd name="T3" fmla="*/ 2147483647 h 173"/>
                <a:gd name="T4" fmla="*/ 2147483647 w 546"/>
                <a:gd name="T5" fmla="*/ 2147483647 h 173"/>
                <a:gd name="T6" fmla="*/ 2147483647 w 546"/>
                <a:gd name="T7" fmla="*/ 2147483647 h 173"/>
                <a:gd name="T8" fmla="*/ 2147483647 w 546"/>
                <a:gd name="T9" fmla="*/ 2147483647 h 173"/>
                <a:gd name="T10" fmla="*/ 2147483647 w 546"/>
                <a:gd name="T11" fmla="*/ 2147483647 h 173"/>
                <a:gd name="T12" fmla="*/ 2147483647 w 546"/>
                <a:gd name="T13" fmla="*/ 2147483647 h 173"/>
                <a:gd name="T14" fmla="*/ 2147483647 w 546"/>
                <a:gd name="T15" fmla="*/ 2147483647 h 173"/>
                <a:gd name="T16" fmla="*/ 2147483647 w 546"/>
                <a:gd name="T17" fmla="*/ 2147483647 h 173"/>
                <a:gd name="T18" fmla="*/ 2147483647 w 546"/>
                <a:gd name="T19" fmla="*/ 2147483647 h 173"/>
                <a:gd name="T20" fmla="*/ 2147483647 w 546"/>
                <a:gd name="T21" fmla="*/ 2147483647 h 173"/>
                <a:gd name="T22" fmla="*/ 2147483647 w 546"/>
                <a:gd name="T23" fmla="*/ 2147483647 h 173"/>
                <a:gd name="T24" fmla="*/ 2147483647 w 546"/>
                <a:gd name="T25" fmla="*/ 2147483647 h 173"/>
                <a:gd name="T26" fmla="*/ 2147483647 w 546"/>
                <a:gd name="T27" fmla="*/ 2147483647 h 173"/>
                <a:gd name="T28" fmla="*/ 2147483647 w 546"/>
                <a:gd name="T29" fmla="*/ 0 h 173"/>
                <a:gd name="T30" fmla="*/ 2147483647 w 546"/>
                <a:gd name="T31" fmla="*/ 2147483647 h 173"/>
                <a:gd name="T32" fmla="*/ 2147483647 w 546"/>
                <a:gd name="T33" fmla="*/ 2147483647 h 173"/>
                <a:gd name="T34" fmla="*/ 2147483647 w 546"/>
                <a:gd name="T35" fmla="*/ 2147483647 h 173"/>
                <a:gd name="T36" fmla="*/ 2147483647 w 546"/>
                <a:gd name="T37" fmla="*/ 2147483647 h 173"/>
                <a:gd name="T38" fmla="*/ 2147483647 w 546"/>
                <a:gd name="T39" fmla="*/ 2147483647 h 173"/>
                <a:gd name="T40" fmla="*/ 2147483647 w 546"/>
                <a:gd name="T41" fmla="*/ 2147483647 h 173"/>
                <a:gd name="T42" fmla="*/ 2147483647 w 546"/>
                <a:gd name="T43" fmla="*/ 2147483647 h 173"/>
                <a:gd name="T44" fmla="*/ 2147483647 w 546"/>
                <a:gd name="T45" fmla="*/ 2147483647 h 173"/>
                <a:gd name="T46" fmla="*/ 2147483647 w 546"/>
                <a:gd name="T47" fmla="*/ 2147483647 h 173"/>
                <a:gd name="T48" fmla="*/ 2147483647 w 546"/>
                <a:gd name="T49" fmla="*/ 2147483647 h 173"/>
                <a:gd name="T50" fmla="*/ 2147483647 w 546"/>
                <a:gd name="T51" fmla="*/ 2147483647 h 173"/>
                <a:gd name="T52" fmla="*/ 2147483647 w 546"/>
                <a:gd name="T53" fmla="*/ 2147483647 h 173"/>
                <a:gd name="T54" fmla="*/ 2147483647 w 546"/>
                <a:gd name="T55" fmla="*/ 2147483647 h 173"/>
                <a:gd name="T56" fmla="*/ 2147483647 w 546"/>
                <a:gd name="T57" fmla="*/ 2147483647 h 173"/>
                <a:gd name="T58" fmla="*/ 2147483647 w 546"/>
                <a:gd name="T59" fmla="*/ 2147483647 h 173"/>
                <a:gd name="T60" fmla="*/ 2147483647 w 546"/>
                <a:gd name="T61" fmla="*/ 2147483647 h 173"/>
                <a:gd name="T62" fmla="*/ 2147483647 w 546"/>
                <a:gd name="T63" fmla="*/ 2147483647 h 173"/>
                <a:gd name="T64" fmla="*/ 2147483647 w 546"/>
                <a:gd name="T65" fmla="*/ 2147483647 h 173"/>
                <a:gd name="T66" fmla="*/ 2147483647 w 546"/>
                <a:gd name="T67" fmla="*/ 2147483647 h 173"/>
                <a:gd name="T68" fmla="*/ 2147483647 w 546"/>
                <a:gd name="T69" fmla="*/ 2147483647 h 173"/>
                <a:gd name="T70" fmla="*/ 2147483647 w 546"/>
                <a:gd name="T71" fmla="*/ 2147483647 h 173"/>
                <a:gd name="T72" fmla="*/ 2147483647 w 546"/>
                <a:gd name="T73" fmla="*/ 2147483647 h 173"/>
                <a:gd name="T74" fmla="*/ 2147483647 w 546"/>
                <a:gd name="T75" fmla="*/ 2147483647 h 173"/>
                <a:gd name="T76" fmla="*/ 2147483647 w 546"/>
                <a:gd name="T77" fmla="*/ 2147483647 h 173"/>
                <a:gd name="T78" fmla="*/ 2147483647 w 546"/>
                <a:gd name="T79" fmla="*/ 2147483647 h 173"/>
                <a:gd name="T80" fmla="*/ 2147483647 w 546"/>
                <a:gd name="T81" fmla="*/ 2147483647 h 173"/>
                <a:gd name="T82" fmla="*/ 2147483647 w 546"/>
                <a:gd name="T83" fmla="*/ 2147483647 h 173"/>
                <a:gd name="T84" fmla="*/ 2147483647 w 546"/>
                <a:gd name="T85" fmla="*/ 2147483647 h 173"/>
                <a:gd name="T86" fmla="*/ 2147483647 w 546"/>
                <a:gd name="T87" fmla="*/ 2147483647 h 173"/>
                <a:gd name="T88" fmla="*/ 2147483647 w 546"/>
                <a:gd name="T89" fmla="*/ 2147483647 h 173"/>
                <a:gd name="T90" fmla="*/ 2147483647 w 546"/>
                <a:gd name="T91" fmla="*/ 2147483647 h 173"/>
                <a:gd name="T92" fmla="*/ 2147483647 w 546"/>
                <a:gd name="T93" fmla="*/ 2147483647 h 173"/>
                <a:gd name="T94" fmla="*/ 2147483647 w 546"/>
                <a:gd name="T95" fmla="*/ 2147483647 h 173"/>
                <a:gd name="T96" fmla="*/ 2147483647 w 546"/>
                <a:gd name="T97" fmla="*/ 2147483647 h 173"/>
                <a:gd name="T98" fmla="*/ 2147483647 w 546"/>
                <a:gd name="T99" fmla="*/ 2147483647 h 173"/>
                <a:gd name="T100" fmla="*/ 2147483647 w 546"/>
                <a:gd name="T101" fmla="*/ 214748364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46"/>
                <a:gd name="T154" fmla="*/ 0 h 173"/>
                <a:gd name="T155" fmla="*/ 546 w 546"/>
                <a:gd name="T156" fmla="*/ 173 h 17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0" name="Freeform 227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5351979" y="1606312"/>
              <a:ext cx="409339" cy="330179"/>
            </a:xfrm>
            <a:custGeom>
              <a:avLst/>
              <a:gdLst>
                <a:gd name="T0" fmla="*/ 2147483647 w 1037"/>
                <a:gd name="T1" fmla="*/ 2147483647 h 690"/>
                <a:gd name="T2" fmla="*/ 2147483647 w 1037"/>
                <a:gd name="T3" fmla="*/ 2147483647 h 690"/>
                <a:gd name="T4" fmla="*/ 2147483647 w 1037"/>
                <a:gd name="T5" fmla="*/ 2147483647 h 690"/>
                <a:gd name="T6" fmla="*/ 2147483647 w 1037"/>
                <a:gd name="T7" fmla="*/ 2147483647 h 690"/>
                <a:gd name="T8" fmla="*/ 2147483647 w 1037"/>
                <a:gd name="T9" fmla="*/ 2147483647 h 690"/>
                <a:gd name="T10" fmla="*/ 2147483647 w 1037"/>
                <a:gd name="T11" fmla="*/ 2147483647 h 690"/>
                <a:gd name="T12" fmla="*/ 2147483647 w 1037"/>
                <a:gd name="T13" fmla="*/ 2147483647 h 690"/>
                <a:gd name="T14" fmla="*/ 2147483647 w 1037"/>
                <a:gd name="T15" fmla="*/ 2147483647 h 690"/>
                <a:gd name="T16" fmla="*/ 2147483647 w 1037"/>
                <a:gd name="T17" fmla="*/ 2147483647 h 690"/>
                <a:gd name="T18" fmla="*/ 0 w 1037"/>
                <a:gd name="T19" fmla="*/ 2147483647 h 690"/>
                <a:gd name="T20" fmla="*/ 2147483647 w 1037"/>
                <a:gd name="T21" fmla="*/ 2147483647 h 690"/>
                <a:gd name="T22" fmla="*/ 2147483647 w 1037"/>
                <a:gd name="T23" fmla="*/ 2147483647 h 690"/>
                <a:gd name="T24" fmla="*/ 2147483647 w 1037"/>
                <a:gd name="T25" fmla="*/ 2147483647 h 690"/>
                <a:gd name="T26" fmla="*/ 2147483647 w 1037"/>
                <a:gd name="T27" fmla="*/ 2147483647 h 690"/>
                <a:gd name="T28" fmla="*/ 2147483647 w 1037"/>
                <a:gd name="T29" fmla="*/ 2147483647 h 690"/>
                <a:gd name="T30" fmla="*/ 2147483647 w 1037"/>
                <a:gd name="T31" fmla="*/ 2147483647 h 690"/>
                <a:gd name="T32" fmla="*/ 2147483647 w 1037"/>
                <a:gd name="T33" fmla="*/ 2147483647 h 690"/>
                <a:gd name="T34" fmla="*/ 2147483647 w 1037"/>
                <a:gd name="T35" fmla="*/ 2147483647 h 690"/>
                <a:gd name="T36" fmla="*/ 2147483647 w 1037"/>
                <a:gd name="T37" fmla="*/ 2147483647 h 690"/>
                <a:gd name="T38" fmla="*/ 2147483647 w 1037"/>
                <a:gd name="T39" fmla="*/ 2147483647 h 690"/>
                <a:gd name="T40" fmla="*/ 2147483647 w 1037"/>
                <a:gd name="T41" fmla="*/ 2147483647 h 690"/>
                <a:gd name="T42" fmla="*/ 2147483647 w 1037"/>
                <a:gd name="T43" fmla="*/ 2147483647 h 690"/>
                <a:gd name="T44" fmla="*/ 2147483647 w 1037"/>
                <a:gd name="T45" fmla="*/ 2147483647 h 690"/>
                <a:gd name="T46" fmla="*/ 2147483647 w 1037"/>
                <a:gd name="T47" fmla="*/ 2147483647 h 690"/>
                <a:gd name="T48" fmla="*/ 2147483647 w 1037"/>
                <a:gd name="T49" fmla="*/ 2147483647 h 690"/>
                <a:gd name="T50" fmla="*/ 2147483647 w 1037"/>
                <a:gd name="T51" fmla="*/ 2147483647 h 690"/>
                <a:gd name="T52" fmla="*/ 2147483647 w 1037"/>
                <a:gd name="T53" fmla="*/ 2147483647 h 690"/>
                <a:gd name="T54" fmla="*/ 2147483647 w 1037"/>
                <a:gd name="T55" fmla="*/ 2147483647 h 690"/>
                <a:gd name="T56" fmla="*/ 2147483647 w 1037"/>
                <a:gd name="T57" fmla="*/ 2147483647 h 690"/>
                <a:gd name="T58" fmla="*/ 2147483647 w 1037"/>
                <a:gd name="T59" fmla="*/ 2147483647 h 690"/>
                <a:gd name="T60" fmla="*/ 2147483647 w 1037"/>
                <a:gd name="T61" fmla="*/ 2147483647 h 690"/>
                <a:gd name="T62" fmla="*/ 2147483647 w 1037"/>
                <a:gd name="T63" fmla="*/ 2147483647 h 690"/>
                <a:gd name="T64" fmla="*/ 2147483647 w 1037"/>
                <a:gd name="T65" fmla="*/ 2147483647 h 690"/>
                <a:gd name="T66" fmla="*/ 2147483647 w 1037"/>
                <a:gd name="T67" fmla="*/ 2147483647 h 690"/>
                <a:gd name="T68" fmla="*/ 2147483647 w 1037"/>
                <a:gd name="T69" fmla="*/ 2147483647 h 690"/>
                <a:gd name="T70" fmla="*/ 2147483647 w 1037"/>
                <a:gd name="T71" fmla="*/ 2147483647 h 690"/>
                <a:gd name="T72" fmla="*/ 2147483647 w 1037"/>
                <a:gd name="T73" fmla="*/ 2147483647 h 690"/>
                <a:gd name="T74" fmla="*/ 2147483647 w 1037"/>
                <a:gd name="T75" fmla="*/ 2147483647 h 690"/>
                <a:gd name="T76" fmla="*/ 2147483647 w 1037"/>
                <a:gd name="T77" fmla="*/ 2147483647 h 690"/>
                <a:gd name="T78" fmla="*/ 2147483647 w 1037"/>
                <a:gd name="T79" fmla="*/ 2147483647 h 690"/>
                <a:gd name="T80" fmla="*/ 2147483647 w 1037"/>
                <a:gd name="T81" fmla="*/ 2147483647 h 690"/>
                <a:gd name="T82" fmla="*/ 2147483647 w 1037"/>
                <a:gd name="T83" fmla="*/ 2147483647 h 690"/>
                <a:gd name="T84" fmla="*/ 2147483647 w 1037"/>
                <a:gd name="T85" fmla="*/ 2147483647 h 690"/>
                <a:gd name="T86" fmla="*/ 2147483647 w 1037"/>
                <a:gd name="T87" fmla="*/ 2147483647 h 690"/>
                <a:gd name="T88" fmla="*/ 2147483647 w 1037"/>
                <a:gd name="T89" fmla="*/ 2147483647 h 690"/>
                <a:gd name="T90" fmla="*/ 2147483647 w 1037"/>
                <a:gd name="T91" fmla="*/ 2147483647 h 690"/>
                <a:gd name="T92" fmla="*/ 2147483647 w 1037"/>
                <a:gd name="T93" fmla="*/ 2147483647 h 690"/>
                <a:gd name="T94" fmla="*/ 2147483647 w 1037"/>
                <a:gd name="T95" fmla="*/ 2147483647 h 690"/>
                <a:gd name="T96" fmla="*/ 2147483647 w 1037"/>
                <a:gd name="T97" fmla="*/ 2147483647 h 690"/>
                <a:gd name="T98" fmla="*/ 2147483647 w 1037"/>
                <a:gd name="T99" fmla="*/ 2147483647 h 690"/>
                <a:gd name="T100" fmla="*/ 2147483647 w 1037"/>
                <a:gd name="T101" fmla="*/ 2147483647 h 690"/>
                <a:gd name="T102" fmla="*/ 2147483647 w 1037"/>
                <a:gd name="T103" fmla="*/ 2147483647 h 690"/>
                <a:gd name="T104" fmla="*/ 2147483647 w 1037"/>
                <a:gd name="T105" fmla="*/ 2147483647 h 690"/>
                <a:gd name="T106" fmla="*/ 2147483647 w 1037"/>
                <a:gd name="T107" fmla="*/ 2147483647 h 690"/>
                <a:gd name="T108" fmla="*/ 2147483647 w 1037"/>
                <a:gd name="T109" fmla="*/ 2147483647 h 690"/>
                <a:gd name="T110" fmla="*/ 2147483647 w 1037"/>
                <a:gd name="T111" fmla="*/ 2147483647 h 690"/>
                <a:gd name="T112" fmla="*/ 2147483647 w 1037"/>
                <a:gd name="T113" fmla="*/ 2147483647 h 690"/>
                <a:gd name="T114" fmla="*/ 2147483647 w 1037"/>
                <a:gd name="T115" fmla="*/ 2147483647 h 690"/>
                <a:gd name="T116" fmla="*/ 2147483647 w 1037"/>
                <a:gd name="T117" fmla="*/ 2147483647 h 690"/>
                <a:gd name="T118" fmla="*/ 2147483647 w 1037"/>
                <a:gd name="T119" fmla="*/ 2147483647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037"/>
                <a:gd name="T181" fmla="*/ 0 h 690"/>
                <a:gd name="T182" fmla="*/ 1037 w 1037"/>
                <a:gd name="T183" fmla="*/ 690 h 69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1" name="Freeform 228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5661515" y="2373834"/>
              <a:ext cx="44839" cy="82544"/>
            </a:xfrm>
            <a:custGeom>
              <a:avLst/>
              <a:gdLst>
                <a:gd name="T0" fmla="*/ 2147483647 w 120"/>
                <a:gd name="T1" fmla="*/ 2147483647 h 173"/>
                <a:gd name="T2" fmla="*/ 2147483647 w 120"/>
                <a:gd name="T3" fmla="*/ 2147483647 h 173"/>
                <a:gd name="T4" fmla="*/ 2147483647 w 120"/>
                <a:gd name="T5" fmla="*/ 2147483647 h 173"/>
                <a:gd name="T6" fmla="*/ 2147483647 w 120"/>
                <a:gd name="T7" fmla="*/ 2147483647 h 173"/>
                <a:gd name="T8" fmla="*/ 2147483647 w 120"/>
                <a:gd name="T9" fmla="*/ 2147483647 h 173"/>
                <a:gd name="T10" fmla="*/ 2147483647 w 120"/>
                <a:gd name="T11" fmla="*/ 2147483647 h 173"/>
                <a:gd name="T12" fmla="*/ 2147483647 w 120"/>
                <a:gd name="T13" fmla="*/ 2147483647 h 173"/>
                <a:gd name="T14" fmla="*/ 2147483647 w 120"/>
                <a:gd name="T15" fmla="*/ 2147483647 h 173"/>
                <a:gd name="T16" fmla="*/ 2147483647 w 120"/>
                <a:gd name="T17" fmla="*/ 0 h 173"/>
                <a:gd name="T18" fmla="*/ 2147483647 w 120"/>
                <a:gd name="T19" fmla="*/ 0 h 173"/>
                <a:gd name="T20" fmla="*/ 2147483647 w 120"/>
                <a:gd name="T21" fmla="*/ 2147483647 h 173"/>
                <a:gd name="T22" fmla="*/ 2147483647 w 120"/>
                <a:gd name="T23" fmla="*/ 2147483647 h 173"/>
                <a:gd name="T24" fmla="*/ 2147483647 w 120"/>
                <a:gd name="T25" fmla="*/ 2147483647 h 173"/>
                <a:gd name="T26" fmla="*/ 2147483647 w 120"/>
                <a:gd name="T27" fmla="*/ 2147483647 h 173"/>
                <a:gd name="T28" fmla="*/ 2147483647 w 120"/>
                <a:gd name="T29" fmla="*/ 2147483647 h 173"/>
                <a:gd name="T30" fmla="*/ 2147483647 w 120"/>
                <a:gd name="T31" fmla="*/ 2147483647 h 173"/>
                <a:gd name="T32" fmla="*/ 2147483647 w 120"/>
                <a:gd name="T33" fmla="*/ 2147483647 h 173"/>
                <a:gd name="T34" fmla="*/ 2147483647 w 120"/>
                <a:gd name="T35" fmla="*/ 2147483647 h 173"/>
                <a:gd name="T36" fmla="*/ 2147483647 w 120"/>
                <a:gd name="T37" fmla="*/ 2147483647 h 173"/>
                <a:gd name="T38" fmla="*/ 2147483647 w 120"/>
                <a:gd name="T39" fmla="*/ 2147483647 h 173"/>
                <a:gd name="T40" fmla="*/ 2147483647 w 120"/>
                <a:gd name="T41" fmla="*/ 2147483647 h 173"/>
                <a:gd name="T42" fmla="*/ 2147483647 w 120"/>
                <a:gd name="T43" fmla="*/ 2147483647 h 173"/>
                <a:gd name="T44" fmla="*/ 0 w 120"/>
                <a:gd name="T45" fmla="*/ 2147483647 h 173"/>
                <a:gd name="T46" fmla="*/ 2147483647 w 120"/>
                <a:gd name="T47" fmla="*/ 2147483647 h 173"/>
                <a:gd name="T48" fmla="*/ 2147483647 w 120"/>
                <a:gd name="T49" fmla="*/ 2147483647 h 173"/>
                <a:gd name="T50" fmla="*/ 2147483647 w 120"/>
                <a:gd name="T51" fmla="*/ 2147483647 h 173"/>
                <a:gd name="T52" fmla="*/ 2147483647 w 120"/>
                <a:gd name="T53" fmla="*/ 2147483647 h 173"/>
                <a:gd name="T54" fmla="*/ 2147483647 w 120"/>
                <a:gd name="T55" fmla="*/ 2147483647 h 173"/>
                <a:gd name="T56" fmla="*/ 2147483647 w 120"/>
                <a:gd name="T57" fmla="*/ 2147483647 h 173"/>
                <a:gd name="T58" fmla="*/ 2147483647 w 120"/>
                <a:gd name="T59" fmla="*/ 2147483647 h 173"/>
                <a:gd name="T60" fmla="*/ 2147483647 w 120"/>
                <a:gd name="T61" fmla="*/ 2147483647 h 173"/>
                <a:gd name="T62" fmla="*/ 2147483647 w 120"/>
                <a:gd name="T63" fmla="*/ 2147483647 h 173"/>
                <a:gd name="T64" fmla="*/ 2147483647 w 120"/>
                <a:gd name="T65" fmla="*/ 2147483647 h 173"/>
                <a:gd name="T66" fmla="*/ 2147483647 w 120"/>
                <a:gd name="T67" fmla="*/ 2147483647 h 173"/>
                <a:gd name="T68" fmla="*/ 2147483647 w 120"/>
                <a:gd name="T69" fmla="*/ 2147483647 h 173"/>
                <a:gd name="T70" fmla="*/ 2147483647 w 120"/>
                <a:gd name="T71" fmla="*/ 2147483647 h 173"/>
                <a:gd name="T72" fmla="*/ 2147483647 w 120"/>
                <a:gd name="T73" fmla="*/ 2147483647 h 173"/>
                <a:gd name="T74" fmla="*/ 2147483647 w 120"/>
                <a:gd name="T75" fmla="*/ 2147483647 h 173"/>
                <a:gd name="T76" fmla="*/ 2147483647 w 120"/>
                <a:gd name="T77" fmla="*/ 2147483647 h 173"/>
                <a:gd name="T78" fmla="*/ 2147483647 w 120"/>
                <a:gd name="T79" fmla="*/ 2147483647 h 173"/>
                <a:gd name="T80" fmla="*/ 2147483647 w 120"/>
                <a:gd name="T81" fmla="*/ 2147483647 h 173"/>
                <a:gd name="T82" fmla="*/ 2147483647 w 120"/>
                <a:gd name="T83" fmla="*/ 2147483647 h 173"/>
                <a:gd name="T84" fmla="*/ 2147483647 w 120"/>
                <a:gd name="T85" fmla="*/ 2147483647 h 173"/>
                <a:gd name="T86" fmla="*/ 2147483647 w 120"/>
                <a:gd name="T87" fmla="*/ 2147483647 h 173"/>
                <a:gd name="T88" fmla="*/ 2147483647 w 120"/>
                <a:gd name="T89" fmla="*/ 2147483647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20"/>
                <a:gd name="T136" fmla="*/ 0 h 173"/>
                <a:gd name="T137" fmla="*/ 120 w 120"/>
                <a:gd name="T138" fmla="*/ 173 h 17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2" name="Freeform 229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5395372" y="2227570"/>
              <a:ext cx="76660" cy="53582"/>
            </a:xfrm>
            <a:custGeom>
              <a:avLst/>
              <a:gdLst>
                <a:gd name="T0" fmla="*/ 2147483647 w 200"/>
                <a:gd name="T1" fmla="*/ 2147483647 h 98"/>
                <a:gd name="T2" fmla="*/ 2147483647 w 200"/>
                <a:gd name="T3" fmla="*/ 2147483647 h 98"/>
                <a:gd name="T4" fmla="*/ 2147483647 w 200"/>
                <a:gd name="T5" fmla="*/ 2147483647 h 98"/>
                <a:gd name="T6" fmla="*/ 2147483647 w 200"/>
                <a:gd name="T7" fmla="*/ 2147483647 h 98"/>
                <a:gd name="T8" fmla="*/ 2147483647 w 200"/>
                <a:gd name="T9" fmla="*/ 2147483647 h 98"/>
                <a:gd name="T10" fmla="*/ 2147483647 w 200"/>
                <a:gd name="T11" fmla="*/ 2147483647 h 98"/>
                <a:gd name="T12" fmla="*/ 2147483647 w 200"/>
                <a:gd name="T13" fmla="*/ 2147483647 h 98"/>
                <a:gd name="T14" fmla="*/ 2147483647 w 200"/>
                <a:gd name="T15" fmla="*/ 2147483647 h 98"/>
                <a:gd name="T16" fmla="*/ 2147483647 w 200"/>
                <a:gd name="T17" fmla="*/ 2147483647 h 98"/>
                <a:gd name="T18" fmla="*/ 2147483647 w 200"/>
                <a:gd name="T19" fmla="*/ 2147483647 h 98"/>
                <a:gd name="T20" fmla="*/ 2147483647 w 200"/>
                <a:gd name="T21" fmla="*/ 2147483647 h 98"/>
                <a:gd name="T22" fmla="*/ 2147483647 w 200"/>
                <a:gd name="T23" fmla="*/ 2147483647 h 98"/>
                <a:gd name="T24" fmla="*/ 2147483647 w 200"/>
                <a:gd name="T25" fmla="*/ 2147483647 h 98"/>
                <a:gd name="T26" fmla="*/ 2147483647 w 200"/>
                <a:gd name="T27" fmla="*/ 2147483647 h 98"/>
                <a:gd name="T28" fmla="*/ 2147483647 w 200"/>
                <a:gd name="T29" fmla="*/ 2147483647 h 98"/>
                <a:gd name="T30" fmla="*/ 2147483647 w 200"/>
                <a:gd name="T31" fmla="*/ 2147483647 h 98"/>
                <a:gd name="T32" fmla="*/ 2147483647 w 200"/>
                <a:gd name="T33" fmla="*/ 2147483647 h 98"/>
                <a:gd name="T34" fmla="*/ 2147483647 w 200"/>
                <a:gd name="T35" fmla="*/ 2147483647 h 98"/>
                <a:gd name="T36" fmla="*/ 2147483647 w 200"/>
                <a:gd name="T37" fmla="*/ 2147483647 h 98"/>
                <a:gd name="T38" fmla="*/ 2147483647 w 200"/>
                <a:gd name="T39" fmla="*/ 2147483647 h 98"/>
                <a:gd name="T40" fmla="*/ 2147483647 w 200"/>
                <a:gd name="T41" fmla="*/ 2147483647 h 98"/>
                <a:gd name="T42" fmla="*/ 2147483647 w 200"/>
                <a:gd name="T43" fmla="*/ 2147483647 h 98"/>
                <a:gd name="T44" fmla="*/ 2147483647 w 200"/>
                <a:gd name="T45" fmla="*/ 2147483647 h 98"/>
                <a:gd name="T46" fmla="*/ 2147483647 w 200"/>
                <a:gd name="T47" fmla="*/ 2147483647 h 98"/>
                <a:gd name="T48" fmla="*/ 2147483647 w 200"/>
                <a:gd name="T49" fmla="*/ 2147483647 h 98"/>
                <a:gd name="T50" fmla="*/ 2147483647 w 200"/>
                <a:gd name="T51" fmla="*/ 2147483647 h 98"/>
                <a:gd name="T52" fmla="*/ 2147483647 w 200"/>
                <a:gd name="T53" fmla="*/ 2147483647 h 98"/>
                <a:gd name="T54" fmla="*/ 2147483647 w 200"/>
                <a:gd name="T55" fmla="*/ 2147483647 h 98"/>
                <a:gd name="T56" fmla="*/ 2147483647 w 200"/>
                <a:gd name="T57" fmla="*/ 2147483647 h 98"/>
                <a:gd name="T58" fmla="*/ 2147483647 w 200"/>
                <a:gd name="T59" fmla="*/ 2147483647 h 98"/>
                <a:gd name="T60" fmla="*/ 2147483647 w 200"/>
                <a:gd name="T61" fmla="*/ 2147483647 h 98"/>
                <a:gd name="T62" fmla="*/ 0 w 200"/>
                <a:gd name="T63" fmla="*/ 2147483647 h 98"/>
                <a:gd name="T64" fmla="*/ 2147483647 w 200"/>
                <a:gd name="T65" fmla="*/ 2147483647 h 98"/>
                <a:gd name="T66" fmla="*/ 2147483647 w 200"/>
                <a:gd name="T67" fmla="*/ 2147483647 h 98"/>
                <a:gd name="T68" fmla="*/ 2147483647 w 200"/>
                <a:gd name="T69" fmla="*/ 2147483647 h 98"/>
                <a:gd name="T70" fmla="*/ 2147483647 w 200"/>
                <a:gd name="T71" fmla="*/ 2147483647 h 98"/>
                <a:gd name="T72" fmla="*/ 2147483647 w 200"/>
                <a:gd name="T73" fmla="*/ 2147483647 h 98"/>
                <a:gd name="T74" fmla="*/ 2147483647 w 200"/>
                <a:gd name="T75" fmla="*/ 2147483647 h 98"/>
                <a:gd name="T76" fmla="*/ 2147483647 w 200"/>
                <a:gd name="T77" fmla="*/ 2147483647 h 98"/>
                <a:gd name="T78" fmla="*/ 2147483647 w 200"/>
                <a:gd name="T79" fmla="*/ 2147483647 h 98"/>
                <a:gd name="T80" fmla="*/ 2147483647 w 200"/>
                <a:gd name="T81" fmla="*/ 2147483647 h 98"/>
                <a:gd name="T82" fmla="*/ 2147483647 w 200"/>
                <a:gd name="T83" fmla="*/ 2147483647 h 98"/>
                <a:gd name="T84" fmla="*/ 2147483647 w 200"/>
                <a:gd name="T85" fmla="*/ 2147483647 h 98"/>
                <a:gd name="T86" fmla="*/ 2147483647 w 200"/>
                <a:gd name="T87" fmla="*/ 0 h 98"/>
                <a:gd name="T88" fmla="*/ 2147483647 w 200"/>
                <a:gd name="T89" fmla="*/ 2147483647 h 98"/>
                <a:gd name="T90" fmla="*/ 2147483647 w 200"/>
                <a:gd name="T91" fmla="*/ 2147483647 h 98"/>
                <a:gd name="T92" fmla="*/ 2147483647 w 200"/>
                <a:gd name="T93" fmla="*/ 2147483647 h 98"/>
                <a:gd name="T94" fmla="*/ 2147483647 w 200"/>
                <a:gd name="T95" fmla="*/ 2147483647 h 98"/>
                <a:gd name="T96" fmla="*/ 2147483647 w 200"/>
                <a:gd name="T97" fmla="*/ 2147483647 h 98"/>
                <a:gd name="T98" fmla="*/ 2147483647 w 200"/>
                <a:gd name="T99" fmla="*/ 2147483647 h 98"/>
                <a:gd name="T100" fmla="*/ 2147483647 w 200"/>
                <a:gd name="T101" fmla="*/ 2147483647 h 98"/>
                <a:gd name="T102" fmla="*/ 2147483647 w 200"/>
                <a:gd name="T103" fmla="*/ 2147483647 h 98"/>
                <a:gd name="T104" fmla="*/ 2147483647 w 200"/>
                <a:gd name="T105" fmla="*/ 2147483647 h 98"/>
                <a:gd name="T106" fmla="*/ 2147483647 w 200"/>
                <a:gd name="T107" fmla="*/ 2147483647 h 98"/>
                <a:gd name="T108" fmla="*/ 2147483647 w 200"/>
                <a:gd name="T109" fmla="*/ 2147483647 h 98"/>
                <a:gd name="T110" fmla="*/ 2147483647 w 200"/>
                <a:gd name="T111" fmla="*/ 2147483647 h 98"/>
                <a:gd name="T112" fmla="*/ 2147483647 w 200"/>
                <a:gd name="T113" fmla="*/ 2147483647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00"/>
                <a:gd name="T172" fmla="*/ 0 h 98"/>
                <a:gd name="T173" fmla="*/ 200 w 200"/>
                <a:gd name="T174" fmla="*/ 98 h 9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3" name="Freeform 230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5338961" y="2062480"/>
              <a:ext cx="76661" cy="66615"/>
            </a:xfrm>
            <a:custGeom>
              <a:avLst/>
              <a:gdLst>
                <a:gd name="T0" fmla="*/ 0 w 186"/>
                <a:gd name="T1" fmla="*/ 2147483647 h 142"/>
                <a:gd name="T2" fmla="*/ 2147483647 w 186"/>
                <a:gd name="T3" fmla="*/ 2147483647 h 142"/>
                <a:gd name="T4" fmla="*/ 2147483647 w 186"/>
                <a:gd name="T5" fmla="*/ 2147483647 h 142"/>
                <a:gd name="T6" fmla="*/ 2147483647 w 186"/>
                <a:gd name="T7" fmla="*/ 2147483647 h 142"/>
                <a:gd name="T8" fmla="*/ 2147483647 w 186"/>
                <a:gd name="T9" fmla="*/ 2147483647 h 142"/>
                <a:gd name="T10" fmla="*/ 2147483647 w 186"/>
                <a:gd name="T11" fmla="*/ 2147483647 h 142"/>
                <a:gd name="T12" fmla="*/ 2147483647 w 186"/>
                <a:gd name="T13" fmla="*/ 2147483647 h 142"/>
                <a:gd name="T14" fmla="*/ 2147483647 w 186"/>
                <a:gd name="T15" fmla="*/ 2147483647 h 142"/>
                <a:gd name="T16" fmla="*/ 2147483647 w 186"/>
                <a:gd name="T17" fmla="*/ 2147483647 h 142"/>
                <a:gd name="T18" fmla="*/ 2147483647 w 186"/>
                <a:gd name="T19" fmla="*/ 2147483647 h 142"/>
                <a:gd name="T20" fmla="*/ 2147483647 w 186"/>
                <a:gd name="T21" fmla="*/ 2147483647 h 142"/>
                <a:gd name="T22" fmla="*/ 2147483647 w 186"/>
                <a:gd name="T23" fmla="*/ 2147483647 h 142"/>
                <a:gd name="T24" fmla="*/ 2147483647 w 186"/>
                <a:gd name="T25" fmla="*/ 2147483647 h 142"/>
                <a:gd name="T26" fmla="*/ 2147483647 w 186"/>
                <a:gd name="T27" fmla="*/ 2147483647 h 142"/>
                <a:gd name="T28" fmla="*/ 2147483647 w 186"/>
                <a:gd name="T29" fmla="*/ 2147483647 h 142"/>
                <a:gd name="T30" fmla="*/ 2147483647 w 186"/>
                <a:gd name="T31" fmla="*/ 2147483647 h 142"/>
                <a:gd name="T32" fmla="*/ 2147483647 w 186"/>
                <a:gd name="T33" fmla="*/ 2147483647 h 142"/>
                <a:gd name="T34" fmla="*/ 2147483647 w 186"/>
                <a:gd name="T35" fmla="*/ 2147483647 h 142"/>
                <a:gd name="T36" fmla="*/ 2147483647 w 186"/>
                <a:gd name="T37" fmla="*/ 2147483647 h 142"/>
                <a:gd name="T38" fmla="*/ 2147483647 w 186"/>
                <a:gd name="T39" fmla="*/ 2147483647 h 142"/>
                <a:gd name="T40" fmla="*/ 2147483647 w 186"/>
                <a:gd name="T41" fmla="*/ 2147483647 h 142"/>
                <a:gd name="T42" fmla="*/ 2147483647 w 186"/>
                <a:gd name="T43" fmla="*/ 2147483647 h 142"/>
                <a:gd name="T44" fmla="*/ 2147483647 w 186"/>
                <a:gd name="T45" fmla="*/ 2147483647 h 142"/>
                <a:gd name="T46" fmla="*/ 2147483647 w 186"/>
                <a:gd name="T47" fmla="*/ 2147483647 h 142"/>
                <a:gd name="T48" fmla="*/ 2147483647 w 186"/>
                <a:gd name="T49" fmla="*/ 2147483647 h 142"/>
                <a:gd name="T50" fmla="*/ 2147483647 w 186"/>
                <a:gd name="T51" fmla="*/ 2147483647 h 142"/>
                <a:gd name="T52" fmla="*/ 2147483647 w 186"/>
                <a:gd name="T53" fmla="*/ 2147483647 h 142"/>
                <a:gd name="T54" fmla="*/ 2147483647 w 186"/>
                <a:gd name="T55" fmla="*/ 2147483647 h 142"/>
                <a:gd name="T56" fmla="*/ 2147483647 w 186"/>
                <a:gd name="T57" fmla="*/ 2147483647 h 142"/>
                <a:gd name="T58" fmla="*/ 2147483647 w 186"/>
                <a:gd name="T59" fmla="*/ 2147483647 h 142"/>
                <a:gd name="T60" fmla="*/ 2147483647 w 186"/>
                <a:gd name="T61" fmla="*/ 2147483647 h 142"/>
                <a:gd name="T62" fmla="*/ 2147483647 w 186"/>
                <a:gd name="T63" fmla="*/ 2147483647 h 142"/>
                <a:gd name="T64" fmla="*/ 2147483647 w 186"/>
                <a:gd name="T65" fmla="*/ 2147483647 h 142"/>
                <a:gd name="T66" fmla="*/ 2147483647 w 186"/>
                <a:gd name="T67" fmla="*/ 2147483647 h 142"/>
                <a:gd name="T68" fmla="*/ 2147483647 w 186"/>
                <a:gd name="T69" fmla="*/ 2147483647 h 142"/>
                <a:gd name="T70" fmla="*/ 2147483647 w 186"/>
                <a:gd name="T71" fmla="*/ 2147483647 h 142"/>
                <a:gd name="T72" fmla="*/ 2147483647 w 186"/>
                <a:gd name="T73" fmla="*/ 2147483647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6"/>
                <a:gd name="T112" fmla="*/ 0 h 142"/>
                <a:gd name="T113" fmla="*/ 186 w 186"/>
                <a:gd name="T114" fmla="*/ 142 h 14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4" name="Freeform 231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5321604" y="2120407"/>
              <a:ext cx="76661" cy="52134"/>
            </a:xfrm>
            <a:custGeom>
              <a:avLst/>
              <a:gdLst>
                <a:gd name="T0" fmla="*/ 2147483647 w 192"/>
                <a:gd name="T1" fmla="*/ 2147483647 h 105"/>
                <a:gd name="T2" fmla="*/ 2147483647 w 192"/>
                <a:gd name="T3" fmla="*/ 2147483647 h 105"/>
                <a:gd name="T4" fmla="*/ 2147483647 w 192"/>
                <a:gd name="T5" fmla="*/ 2147483647 h 105"/>
                <a:gd name="T6" fmla="*/ 2147483647 w 192"/>
                <a:gd name="T7" fmla="*/ 2147483647 h 105"/>
                <a:gd name="T8" fmla="*/ 2147483647 w 192"/>
                <a:gd name="T9" fmla="*/ 2147483647 h 105"/>
                <a:gd name="T10" fmla="*/ 2147483647 w 192"/>
                <a:gd name="T11" fmla="*/ 2147483647 h 105"/>
                <a:gd name="T12" fmla="*/ 2147483647 w 192"/>
                <a:gd name="T13" fmla="*/ 2147483647 h 105"/>
                <a:gd name="T14" fmla="*/ 2147483647 w 192"/>
                <a:gd name="T15" fmla="*/ 2147483647 h 105"/>
                <a:gd name="T16" fmla="*/ 2147483647 w 192"/>
                <a:gd name="T17" fmla="*/ 2147483647 h 105"/>
                <a:gd name="T18" fmla="*/ 2147483647 w 192"/>
                <a:gd name="T19" fmla="*/ 2147483647 h 105"/>
                <a:gd name="T20" fmla="*/ 2147483647 w 192"/>
                <a:gd name="T21" fmla="*/ 2147483647 h 105"/>
                <a:gd name="T22" fmla="*/ 2147483647 w 192"/>
                <a:gd name="T23" fmla="*/ 2147483647 h 105"/>
                <a:gd name="T24" fmla="*/ 2147483647 w 192"/>
                <a:gd name="T25" fmla="*/ 2147483647 h 105"/>
                <a:gd name="T26" fmla="*/ 2147483647 w 192"/>
                <a:gd name="T27" fmla="*/ 2147483647 h 105"/>
                <a:gd name="T28" fmla="*/ 2147483647 w 192"/>
                <a:gd name="T29" fmla="*/ 2147483647 h 105"/>
                <a:gd name="T30" fmla="*/ 2147483647 w 192"/>
                <a:gd name="T31" fmla="*/ 2147483647 h 105"/>
                <a:gd name="T32" fmla="*/ 2147483647 w 192"/>
                <a:gd name="T33" fmla="*/ 2147483647 h 105"/>
                <a:gd name="T34" fmla="*/ 2147483647 w 192"/>
                <a:gd name="T35" fmla="*/ 2147483647 h 105"/>
                <a:gd name="T36" fmla="*/ 0 w 192"/>
                <a:gd name="T37" fmla="*/ 2147483647 h 105"/>
                <a:gd name="T38" fmla="*/ 0 w 192"/>
                <a:gd name="T39" fmla="*/ 2147483647 h 105"/>
                <a:gd name="T40" fmla="*/ 2147483647 w 192"/>
                <a:gd name="T41" fmla="*/ 2147483647 h 105"/>
                <a:gd name="T42" fmla="*/ 2147483647 w 192"/>
                <a:gd name="T43" fmla="*/ 2147483647 h 105"/>
                <a:gd name="T44" fmla="*/ 2147483647 w 192"/>
                <a:gd name="T45" fmla="*/ 2147483647 h 105"/>
                <a:gd name="T46" fmla="*/ 2147483647 w 192"/>
                <a:gd name="T47" fmla="*/ 0 h 105"/>
                <a:gd name="T48" fmla="*/ 2147483647 w 192"/>
                <a:gd name="T49" fmla="*/ 2147483647 h 105"/>
                <a:gd name="T50" fmla="*/ 2147483647 w 192"/>
                <a:gd name="T51" fmla="*/ 2147483647 h 105"/>
                <a:gd name="T52" fmla="*/ 2147483647 w 192"/>
                <a:gd name="T53" fmla="*/ 2147483647 h 105"/>
                <a:gd name="T54" fmla="*/ 2147483647 w 192"/>
                <a:gd name="T55" fmla="*/ 2147483647 h 105"/>
                <a:gd name="T56" fmla="*/ 2147483647 w 192"/>
                <a:gd name="T57" fmla="*/ 2147483647 h 105"/>
                <a:gd name="T58" fmla="*/ 2147483647 w 192"/>
                <a:gd name="T59" fmla="*/ 2147483647 h 105"/>
                <a:gd name="T60" fmla="*/ 2147483647 w 192"/>
                <a:gd name="T61" fmla="*/ 2147483647 h 105"/>
                <a:gd name="T62" fmla="*/ 2147483647 w 192"/>
                <a:gd name="T63" fmla="*/ 2147483647 h 105"/>
                <a:gd name="T64" fmla="*/ 2147483647 w 192"/>
                <a:gd name="T65" fmla="*/ 2147483647 h 105"/>
                <a:gd name="T66" fmla="*/ 2147483647 w 192"/>
                <a:gd name="T67" fmla="*/ 2147483647 h 105"/>
                <a:gd name="T68" fmla="*/ 2147483647 w 192"/>
                <a:gd name="T69" fmla="*/ 2147483647 h 105"/>
                <a:gd name="T70" fmla="*/ 2147483647 w 192"/>
                <a:gd name="T71" fmla="*/ 2147483647 h 105"/>
                <a:gd name="T72" fmla="*/ 2147483647 w 192"/>
                <a:gd name="T73" fmla="*/ 2147483647 h 105"/>
                <a:gd name="T74" fmla="*/ 2147483647 w 192"/>
                <a:gd name="T75" fmla="*/ 2147483647 h 105"/>
                <a:gd name="T76" fmla="*/ 2147483647 w 192"/>
                <a:gd name="T77" fmla="*/ 2147483647 h 105"/>
                <a:gd name="T78" fmla="*/ 2147483647 w 192"/>
                <a:gd name="T79" fmla="*/ 2147483647 h 105"/>
                <a:gd name="T80" fmla="*/ 2147483647 w 192"/>
                <a:gd name="T81" fmla="*/ 2147483647 h 105"/>
                <a:gd name="T82" fmla="*/ 2147483647 w 192"/>
                <a:gd name="T83" fmla="*/ 2147483647 h 105"/>
                <a:gd name="T84" fmla="*/ 2147483647 w 192"/>
                <a:gd name="T85" fmla="*/ 2147483647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92"/>
                <a:gd name="T130" fmla="*/ 0 h 105"/>
                <a:gd name="T131" fmla="*/ 192 w 192"/>
                <a:gd name="T132" fmla="*/ 105 h 10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6" name="Freeform 233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5968158" y="2673601"/>
              <a:ext cx="63643" cy="118749"/>
            </a:xfrm>
            <a:custGeom>
              <a:avLst/>
              <a:gdLst>
                <a:gd name="T0" fmla="*/ 2147483647 w 167"/>
                <a:gd name="T1" fmla="*/ 0 h 259"/>
                <a:gd name="T2" fmla="*/ 2147483647 w 167"/>
                <a:gd name="T3" fmla="*/ 2147483647 h 259"/>
                <a:gd name="T4" fmla="*/ 2147483647 w 167"/>
                <a:gd name="T5" fmla="*/ 2147483647 h 259"/>
                <a:gd name="T6" fmla="*/ 2147483647 w 167"/>
                <a:gd name="T7" fmla="*/ 2147483647 h 259"/>
                <a:gd name="T8" fmla="*/ 2147483647 w 167"/>
                <a:gd name="T9" fmla="*/ 2147483647 h 259"/>
                <a:gd name="T10" fmla="*/ 2147483647 w 167"/>
                <a:gd name="T11" fmla="*/ 2147483647 h 259"/>
                <a:gd name="T12" fmla="*/ 2147483647 w 167"/>
                <a:gd name="T13" fmla="*/ 2147483647 h 259"/>
                <a:gd name="T14" fmla="*/ 2147483647 w 167"/>
                <a:gd name="T15" fmla="*/ 2147483647 h 259"/>
                <a:gd name="T16" fmla="*/ 2147483647 w 167"/>
                <a:gd name="T17" fmla="*/ 2147483647 h 259"/>
                <a:gd name="T18" fmla="*/ 2147483647 w 167"/>
                <a:gd name="T19" fmla="*/ 2147483647 h 259"/>
                <a:gd name="T20" fmla="*/ 2147483647 w 167"/>
                <a:gd name="T21" fmla="*/ 2147483647 h 259"/>
                <a:gd name="T22" fmla="*/ 2147483647 w 167"/>
                <a:gd name="T23" fmla="*/ 2147483647 h 259"/>
                <a:gd name="T24" fmla="*/ 2147483647 w 167"/>
                <a:gd name="T25" fmla="*/ 2147483647 h 259"/>
                <a:gd name="T26" fmla="*/ 2147483647 w 167"/>
                <a:gd name="T27" fmla="*/ 2147483647 h 259"/>
                <a:gd name="T28" fmla="*/ 2147483647 w 167"/>
                <a:gd name="T29" fmla="*/ 2147483647 h 259"/>
                <a:gd name="T30" fmla="*/ 2147483647 w 167"/>
                <a:gd name="T31" fmla="*/ 2147483647 h 259"/>
                <a:gd name="T32" fmla="*/ 2147483647 w 167"/>
                <a:gd name="T33" fmla="*/ 2147483647 h 259"/>
                <a:gd name="T34" fmla="*/ 2147483647 w 167"/>
                <a:gd name="T35" fmla="*/ 2147483647 h 259"/>
                <a:gd name="T36" fmla="*/ 2147483647 w 167"/>
                <a:gd name="T37" fmla="*/ 2147483647 h 259"/>
                <a:gd name="T38" fmla="*/ 2147483647 w 167"/>
                <a:gd name="T39" fmla="*/ 2147483647 h 259"/>
                <a:gd name="T40" fmla="*/ 2147483647 w 167"/>
                <a:gd name="T41" fmla="*/ 2147483647 h 259"/>
                <a:gd name="T42" fmla="*/ 2147483647 w 167"/>
                <a:gd name="T43" fmla="*/ 2147483647 h 259"/>
                <a:gd name="T44" fmla="*/ 2147483647 w 167"/>
                <a:gd name="T45" fmla="*/ 2147483647 h 259"/>
                <a:gd name="T46" fmla="*/ 2147483647 w 167"/>
                <a:gd name="T47" fmla="*/ 2147483647 h 259"/>
                <a:gd name="T48" fmla="*/ 2147483647 w 167"/>
                <a:gd name="T49" fmla="*/ 2147483647 h 259"/>
                <a:gd name="T50" fmla="*/ 2147483647 w 167"/>
                <a:gd name="T51" fmla="*/ 2147483647 h 259"/>
                <a:gd name="T52" fmla="*/ 2147483647 w 167"/>
                <a:gd name="T53" fmla="*/ 2147483647 h 259"/>
                <a:gd name="T54" fmla="*/ 2147483647 w 167"/>
                <a:gd name="T55" fmla="*/ 2147483647 h 259"/>
                <a:gd name="T56" fmla="*/ 2147483647 w 167"/>
                <a:gd name="T57" fmla="*/ 2147483647 h 259"/>
                <a:gd name="T58" fmla="*/ 2147483647 w 167"/>
                <a:gd name="T59" fmla="*/ 2147483647 h 259"/>
                <a:gd name="T60" fmla="*/ 2147483647 w 167"/>
                <a:gd name="T61" fmla="*/ 2147483647 h 259"/>
                <a:gd name="T62" fmla="*/ 2147483647 w 167"/>
                <a:gd name="T63" fmla="*/ 2147483647 h 259"/>
                <a:gd name="T64" fmla="*/ 2147483647 w 167"/>
                <a:gd name="T65" fmla="*/ 2147483647 h 259"/>
                <a:gd name="T66" fmla="*/ 0 w 167"/>
                <a:gd name="T67" fmla="*/ 2147483647 h 259"/>
                <a:gd name="T68" fmla="*/ 0 w 167"/>
                <a:gd name="T69" fmla="*/ 2147483647 h 259"/>
                <a:gd name="T70" fmla="*/ 0 w 167"/>
                <a:gd name="T71" fmla="*/ 2147483647 h 259"/>
                <a:gd name="T72" fmla="*/ 2147483647 w 167"/>
                <a:gd name="T73" fmla="*/ 2147483647 h 259"/>
                <a:gd name="T74" fmla="*/ 2147483647 w 167"/>
                <a:gd name="T75" fmla="*/ 2147483647 h 259"/>
                <a:gd name="T76" fmla="*/ 2147483647 w 167"/>
                <a:gd name="T77" fmla="*/ 2147483647 h 259"/>
                <a:gd name="T78" fmla="*/ 2147483647 w 167"/>
                <a:gd name="T79" fmla="*/ 2147483647 h 259"/>
                <a:gd name="T80" fmla="*/ 2147483647 w 167"/>
                <a:gd name="T81" fmla="*/ 2147483647 h 259"/>
                <a:gd name="T82" fmla="*/ 2147483647 w 167"/>
                <a:gd name="T83" fmla="*/ 2147483647 h 259"/>
                <a:gd name="T84" fmla="*/ 2147483647 w 167"/>
                <a:gd name="T85" fmla="*/ 2147483647 h 259"/>
                <a:gd name="T86" fmla="*/ 2147483647 w 167"/>
                <a:gd name="T87" fmla="*/ 2147483647 h 259"/>
                <a:gd name="T88" fmla="*/ 2147483647 w 167"/>
                <a:gd name="T89" fmla="*/ 2147483647 h 259"/>
                <a:gd name="T90" fmla="*/ 2147483647 w 167"/>
                <a:gd name="T91" fmla="*/ 2147483647 h 259"/>
                <a:gd name="T92" fmla="*/ 2147483647 w 167"/>
                <a:gd name="T93" fmla="*/ 2147483647 h 259"/>
                <a:gd name="T94" fmla="*/ 2147483647 w 167"/>
                <a:gd name="T95" fmla="*/ 2147483647 h 259"/>
                <a:gd name="T96" fmla="*/ 2147483647 w 167"/>
                <a:gd name="T97" fmla="*/ 2147483647 h 259"/>
                <a:gd name="T98" fmla="*/ 2147483647 w 167"/>
                <a:gd name="T99" fmla="*/ 2147483647 h 259"/>
                <a:gd name="T100" fmla="*/ 2147483647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67"/>
                <a:gd name="T154" fmla="*/ 0 h 259"/>
                <a:gd name="T155" fmla="*/ 167 w 167"/>
                <a:gd name="T156" fmla="*/ 259 h 25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7" name="Freeform 234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5058354" y="1992969"/>
              <a:ext cx="88233" cy="131782"/>
            </a:xfrm>
            <a:custGeom>
              <a:avLst/>
              <a:gdLst>
                <a:gd name="T0" fmla="*/ 2147483647 w 225"/>
                <a:gd name="T1" fmla="*/ 2147483647 h 273"/>
                <a:gd name="T2" fmla="*/ 2147483647 w 225"/>
                <a:gd name="T3" fmla="*/ 2147483647 h 273"/>
                <a:gd name="T4" fmla="*/ 2147483647 w 225"/>
                <a:gd name="T5" fmla="*/ 2147483647 h 273"/>
                <a:gd name="T6" fmla="*/ 2147483647 w 225"/>
                <a:gd name="T7" fmla="*/ 2147483647 h 273"/>
                <a:gd name="T8" fmla="*/ 2147483647 w 225"/>
                <a:gd name="T9" fmla="*/ 2147483647 h 273"/>
                <a:gd name="T10" fmla="*/ 2147483647 w 225"/>
                <a:gd name="T11" fmla="*/ 2147483647 h 273"/>
                <a:gd name="T12" fmla="*/ 2147483647 w 225"/>
                <a:gd name="T13" fmla="*/ 2147483647 h 273"/>
                <a:gd name="T14" fmla="*/ 2147483647 w 225"/>
                <a:gd name="T15" fmla="*/ 2147483647 h 273"/>
                <a:gd name="T16" fmla="*/ 2147483647 w 225"/>
                <a:gd name="T17" fmla="*/ 2147483647 h 273"/>
                <a:gd name="T18" fmla="*/ 2147483647 w 225"/>
                <a:gd name="T19" fmla="*/ 2147483647 h 273"/>
                <a:gd name="T20" fmla="*/ 2147483647 w 225"/>
                <a:gd name="T21" fmla="*/ 2147483647 h 273"/>
                <a:gd name="T22" fmla="*/ 2147483647 w 225"/>
                <a:gd name="T23" fmla="*/ 2147483647 h 273"/>
                <a:gd name="T24" fmla="*/ 2147483647 w 225"/>
                <a:gd name="T25" fmla="*/ 2147483647 h 273"/>
                <a:gd name="T26" fmla="*/ 2147483647 w 225"/>
                <a:gd name="T27" fmla="*/ 2147483647 h 273"/>
                <a:gd name="T28" fmla="*/ 2147483647 w 225"/>
                <a:gd name="T29" fmla="*/ 2147483647 h 273"/>
                <a:gd name="T30" fmla="*/ 2147483647 w 225"/>
                <a:gd name="T31" fmla="*/ 2147483647 h 273"/>
                <a:gd name="T32" fmla="*/ 2147483647 w 225"/>
                <a:gd name="T33" fmla="*/ 2147483647 h 273"/>
                <a:gd name="T34" fmla="*/ 2147483647 w 225"/>
                <a:gd name="T35" fmla="*/ 2147483647 h 273"/>
                <a:gd name="T36" fmla="*/ 2147483647 w 225"/>
                <a:gd name="T37" fmla="*/ 2147483647 h 273"/>
                <a:gd name="T38" fmla="*/ 2147483647 w 225"/>
                <a:gd name="T39" fmla="*/ 2147483647 h 273"/>
                <a:gd name="T40" fmla="*/ 0 w 225"/>
                <a:gd name="T41" fmla="*/ 2147483647 h 273"/>
                <a:gd name="T42" fmla="*/ 2147483647 w 225"/>
                <a:gd name="T43" fmla="*/ 2147483647 h 273"/>
                <a:gd name="T44" fmla="*/ 2147483647 w 225"/>
                <a:gd name="T45" fmla="*/ 2147483647 h 273"/>
                <a:gd name="T46" fmla="*/ 2147483647 w 225"/>
                <a:gd name="T47" fmla="*/ 2147483647 h 273"/>
                <a:gd name="T48" fmla="*/ 2147483647 w 225"/>
                <a:gd name="T49" fmla="*/ 2147483647 h 273"/>
                <a:gd name="T50" fmla="*/ 2147483647 w 225"/>
                <a:gd name="T51" fmla="*/ 2147483647 h 273"/>
                <a:gd name="T52" fmla="*/ 2147483647 w 225"/>
                <a:gd name="T53" fmla="*/ 2147483647 h 273"/>
                <a:gd name="T54" fmla="*/ 2147483647 w 225"/>
                <a:gd name="T55" fmla="*/ 2147483647 h 273"/>
                <a:gd name="T56" fmla="*/ 2147483647 w 225"/>
                <a:gd name="T57" fmla="*/ 2147483647 h 273"/>
                <a:gd name="T58" fmla="*/ 2147483647 w 225"/>
                <a:gd name="T59" fmla="*/ 2147483647 h 273"/>
                <a:gd name="T60" fmla="*/ 2147483647 w 225"/>
                <a:gd name="T61" fmla="*/ 2147483647 h 273"/>
                <a:gd name="T62" fmla="*/ 2147483647 w 225"/>
                <a:gd name="T63" fmla="*/ 2147483647 h 273"/>
                <a:gd name="T64" fmla="*/ 2147483647 w 225"/>
                <a:gd name="T65" fmla="*/ 2147483647 h 273"/>
                <a:gd name="T66" fmla="*/ 2147483647 w 225"/>
                <a:gd name="T67" fmla="*/ 2147483647 h 273"/>
                <a:gd name="T68" fmla="*/ 2147483647 w 225"/>
                <a:gd name="T69" fmla="*/ 2147483647 h 273"/>
                <a:gd name="T70" fmla="*/ 2147483647 w 225"/>
                <a:gd name="T71" fmla="*/ 2147483647 h 273"/>
                <a:gd name="T72" fmla="*/ 2147483647 w 225"/>
                <a:gd name="T73" fmla="*/ 2147483647 h 273"/>
                <a:gd name="T74" fmla="*/ 2147483647 w 225"/>
                <a:gd name="T75" fmla="*/ 2147483647 h 273"/>
                <a:gd name="T76" fmla="*/ 2147483647 w 225"/>
                <a:gd name="T77" fmla="*/ 2147483647 h 273"/>
                <a:gd name="T78" fmla="*/ 2147483647 w 225"/>
                <a:gd name="T79" fmla="*/ 2147483647 h 273"/>
                <a:gd name="T80" fmla="*/ 2147483647 w 225"/>
                <a:gd name="T81" fmla="*/ 2147483647 h 273"/>
                <a:gd name="T82" fmla="*/ 2147483647 w 225"/>
                <a:gd name="T83" fmla="*/ 2147483647 h 273"/>
                <a:gd name="T84" fmla="*/ 2147483647 w 225"/>
                <a:gd name="T85" fmla="*/ 2147483647 h 273"/>
                <a:gd name="T86" fmla="*/ 2147483647 w 225"/>
                <a:gd name="T87" fmla="*/ 2147483647 h 273"/>
                <a:gd name="T88" fmla="*/ 2147483647 w 225"/>
                <a:gd name="T89" fmla="*/ 2147483647 h 273"/>
                <a:gd name="T90" fmla="*/ 2147483647 w 225"/>
                <a:gd name="T91" fmla="*/ 2147483647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25"/>
                <a:gd name="T139" fmla="*/ 0 h 273"/>
                <a:gd name="T140" fmla="*/ 225 w 225"/>
                <a:gd name="T141" fmla="*/ 273 h 27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8" name="Freeform 235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4887675" y="2824209"/>
              <a:ext cx="279161" cy="356246"/>
            </a:xfrm>
            <a:custGeom>
              <a:avLst/>
              <a:gdLst>
                <a:gd name="T0" fmla="*/ 2147483647 w 232"/>
                <a:gd name="T1" fmla="*/ 2147483647 h 248"/>
                <a:gd name="T2" fmla="*/ 2147483647 w 232"/>
                <a:gd name="T3" fmla="*/ 2147483647 h 248"/>
                <a:gd name="T4" fmla="*/ 2147483647 w 232"/>
                <a:gd name="T5" fmla="*/ 2147483647 h 248"/>
                <a:gd name="T6" fmla="*/ 2147483647 w 232"/>
                <a:gd name="T7" fmla="*/ 2147483647 h 248"/>
                <a:gd name="T8" fmla="*/ 2147483647 w 232"/>
                <a:gd name="T9" fmla="*/ 2147483647 h 248"/>
                <a:gd name="T10" fmla="*/ 2147483647 w 232"/>
                <a:gd name="T11" fmla="*/ 2147483647 h 248"/>
                <a:gd name="T12" fmla="*/ 2147483647 w 232"/>
                <a:gd name="T13" fmla="*/ 2147483647 h 248"/>
                <a:gd name="T14" fmla="*/ 2147483647 w 232"/>
                <a:gd name="T15" fmla="*/ 2147483647 h 248"/>
                <a:gd name="T16" fmla="*/ 2147483647 w 232"/>
                <a:gd name="T17" fmla="*/ 2147483647 h 248"/>
                <a:gd name="T18" fmla="*/ 2147483647 w 232"/>
                <a:gd name="T19" fmla="*/ 2147483647 h 248"/>
                <a:gd name="T20" fmla="*/ 2147483647 w 232"/>
                <a:gd name="T21" fmla="*/ 2147483647 h 248"/>
                <a:gd name="T22" fmla="*/ 2147483647 w 232"/>
                <a:gd name="T23" fmla="*/ 2147483647 h 248"/>
                <a:gd name="T24" fmla="*/ 2147483647 w 232"/>
                <a:gd name="T25" fmla="*/ 2147483647 h 248"/>
                <a:gd name="T26" fmla="*/ 2147483647 w 232"/>
                <a:gd name="T27" fmla="*/ 2147483647 h 248"/>
                <a:gd name="T28" fmla="*/ 2147483647 w 232"/>
                <a:gd name="T29" fmla="*/ 2147483647 h 248"/>
                <a:gd name="T30" fmla="*/ 2147483647 w 232"/>
                <a:gd name="T31" fmla="*/ 2147483647 h 248"/>
                <a:gd name="T32" fmla="*/ 2147483647 w 232"/>
                <a:gd name="T33" fmla="*/ 2147483647 h 248"/>
                <a:gd name="T34" fmla="*/ 2147483647 w 232"/>
                <a:gd name="T35" fmla="*/ 2147483647 h 248"/>
                <a:gd name="T36" fmla="*/ 2147483647 w 232"/>
                <a:gd name="T37" fmla="*/ 2147483647 h 248"/>
                <a:gd name="T38" fmla="*/ 2147483647 w 232"/>
                <a:gd name="T39" fmla="*/ 2147483647 h 248"/>
                <a:gd name="T40" fmla="*/ 2147483647 w 232"/>
                <a:gd name="T41" fmla="*/ 2147483647 h 248"/>
                <a:gd name="T42" fmla="*/ 2147483647 w 232"/>
                <a:gd name="T43" fmla="*/ 2147483647 h 248"/>
                <a:gd name="T44" fmla="*/ 2147483647 w 232"/>
                <a:gd name="T45" fmla="*/ 2147483647 h 248"/>
                <a:gd name="T46" fmla="*/ 2147483647 w 232"/>
                <a:gd name="T47" fmla="*/ 2147483647 h 248"/>
                <a:gd name="T48" fmla="*/ 2147483647 w 232"/>
                <a:gd name="T49" fmla="*/ 2147483647 h 248"/>
                <a:gd name="T50" fmla="*/ 2147483647 w 232"/>
                <a:gd name="T51" fmla="*/ 2147483647 h 248"/>
                <a:gd name="T52" fmla="*/ 2147483647 w 232"/>
                <a:gd name="T53" fmla="*/ 2147483647 h 248"/>
                <a:gd name="T54" fmla="*/ 2147483647 w 232"/>
                <a:gd name="T55" fmla="*/ 2147483647 h 248"/>
                <a:gd name="T56" fmla="*/ 2147483647 w 232"/>
                <a:gd name="T57" fmla="*/ 2147483647 h 248"/>
                <a:gd name="T58" fmla="*/ 2147483647 w 232"/>
                <a:gd name="T59" fmla="*/ 2147483647 h 248"/>
                <a:gd name="T60" fmla="*/ 2147483647 w 232"/>
                <a:gd name="T61" fmla="*/ 2147483647 h 248"/>
                <a:gd name="T62" fmla="*/ 2147483647 w 232"/>
                <a:gd name="T63" fmla="*/ 2147483647 h 248"/>
                <a:gd name="T64" fmla="*/ 2147483647 w 232"/>
                <a:gd name="T65" fmla="*/ 2147483647 h 248"/>
                <a:gd name="T66" fmla="*/ 2147483647 w 232"/>
                <a:gd name="T67" fmla="*/ 2147483647 h 248"/>
                <a:gd name="T68" fmla="*/ 2147483647 w 232"/>
                <a:gd name="T69" fmla="*/ 2147483647 h 248"/>
                <a:gd name="T70" fmla="*/ 2147483647 w 232"/>
                <a:gd name="T71" fmla="*/ 2147483647 h 248"/>
                <a:gd name="T72" fmla="*/ 2147483647 w 232"/>
                <a:gd name="T73" fmla="*/ 2147483647 h 248"/>
                <a:gd name="T74" fmla="*/ 2147483647 w 232"/>
                <a:gd name="T75" fmla="*/ 2147483647 h 248"/>
                <a:gd name="T76" fmla="*/ 2147483647 w 232"/>
                <a:gd name="T77" fmla="*/ 2147483647 h 248"/>
                <a:gd name="T78" fmla="*/ 2147483647 w 232"/>
                <a:gd name="T79" fmla="*/ 2147483647 h 248"/>
                <a:gd name="T80" fmla="*/ 2147483647 w 232"/>
                <a:gd name="T81" fmla="*/ 2147483647 h 248"/>
                <a:gd name="T82" fmla="*/ 2147483647 w 232"/>
                <a:gd name="T83" fmla="*/ 2147483647 h 248"/>
                <a:gd name="T84" fmla="*/ 2147483647 w 232"/>
                <a:gd name="T85" fmla="*/ 2147483647 h 248"/>
                <a:gd name="T86" fmla="*/ 2147483647 w 232"/>
                <a:gd name="T87" fmla="*/ 2147483647 h 248"/>
                <a:gd name="T88" fmla="*/ 2147483647 w 232"/>
                <a:gd name="T89" fmla="*/ 2147483647 h 248"/>
                <a:gd name="T90" fmla="*/ 2147483647 w 232"/>
                <a:gd name="T91" fmla="*/ 2147483647 h 248"/>
                <a:gd name="T92" fmla="*/ 2147483647 w 232"/>
                <a:gd name="T93" fmla="*/ 2147483647 h 248"/>
                <a:gd name="T94" fmla="*/ 2147483647 w 232"/>
                <a:gd name="T95" fmla="*/ 2147483647 h 248"/>
                <a:gd name="T96" fmla="*/ 2147483647 w 232"/>
                <a:gd name="T97" fmla="*/ 2147483647 h 248"/>
                <a:gd name="T98" fmla="*/ 2147483647 w 232"/>
                <a:gd name="T99" fmla="*/ 2147483647 h 248"/>
                <a:gd name="T100" fmla="*/ 2147483647 w 232"/>
                <a:gd name="T101" fmla="*/ 2147483647 h 248"/>
                <a:gd name="T102" fmla="*/ 2147483647 w 232"/>
                <a:gd name="T103" fmla="*/ 2147483647 h 248"/>
                <a:gd name="T104" fmla="*/ 2147483647 w 232"/>
                <a:gd name="T105" fmla="*/ 2147483647 h 248"/>
                <a:gd name="T106" fmla="*/ 2147483647 w 232"/>
                <a:gd name="T107" fmla="*/ 2147483647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32"/>
                <a:gd name="T163" fmla="*/ 0 h 248"/>
                <a:gd name="T164" fmla="*/ 232 w 232"/>
                <a:gd name="T165" fmla="*/ 248 h 2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0" name="Freeform 237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5082944" y="2520097"/>
              <a:ext cx="449839" cy="528577"/>
            </a:xfrm>
            <a:custGeom>
              <a:avLst/>
              <a:gdLst>
                <a:gd name="T0" fmla="*/ 2147483647 w 373"/>
                <a:gd name="T1" fmla="*/ 2147483647 h 370"/>
                <a:gd name="T2" fmla="*/ 2147483647 w 373"/>
                <a:gd name="T3" fmla="*/ 2147483647 h 370"/>
                <a:gd name="T4" fmla="*/ 2147483647 w 373"/>
                <a:gd name="T5" fmla="*/ 2147483647 h 370"/>
                <a:gd name="T6" fmla="*/ 2147483647 w 373"/>
                <a:gd name="T7" fmla="*/ 2147483647 h 370"/>
                <a:gd name="T8" fmla="*/ 2147483647 w 373"/>
                <a:gd name="T9" fmla="*/ 2147483647 h 370"/>
                <a:gd name="T10" fmla="*/ 2147483647 w 373"/>
                <a:gd name="T11" fmla="*/ 2147483647 h 370"/>
                <a:gd name="T12" fmla="*/ 2147483647 w 373"/>
                <a:gd name="T13" fmla="*/ 2147483647 h 370"/>
                <a:gd name="T14" fmla="*/ 2147483647 w 373"/>
                <a:gd name="T15" fmla="*/ 2147483647 h 370"/>
                <a:gd name="T16" fmla="*/ 2147483647 w 373"/>
                <a:gd name="T17" fmla="*/ 2147483647 h 370"/>
                <a:gd name="T18" fmla="*/ 2147483647 w 373"/>
                <a:gd name="T19" fmla="*/ 2147483647 h 370"/>
                <a:gd name="T20" fmla="*/ 2147483647 w 373"/>
                <a:gd name="T21" fmla="*/ 2147483647 h 370"/>
                <a:gd name="T22" fmla="*/ 2147483647 w 373"/>
                <a:gd name="T23" fmla="*/ 2147483647 h 370"/>
                <a:gd name="T24" fmla="*/ 2147483647 w 373"/>
                <a:gd name="T25" fmla="*/ 2147483647 h 370"/>
                <a:gd name="T26" fmla="*/ 2147483647 w 373"/>
                <a:gd name="T27" fmla="*/ 2147483647 h 370"/>
                <a:gd name="T28" fmla="*/ 2147483647 w 373"/>
                <a:gd name="T29" fmla="*/ 2147483647 h 370"/>
                <a:gd name="T30" fmla="*/ 2147483647 w 373"/>
                <a:gd name="T31" fmla="*/ 2147483647 h 370"/>
                <a:gd name="T32" fmla="*/ 2147483647 w 373"/>
                <a:gd name="T33" fmla="*/ 2147483647 h 370"/>
                <a:gd name="T34" fmla="*/ 2147483647 w 373"/>
                <a:gd name="T35" fmla="*/ 2147483647 h 370"/>
                <a:gd name="T36" fmla="*/ 2147483647 w 373"/>
                <a:gd name="T37" fmla="*/ 2147483647 h 370"/>
                <a:gd name="T38" fmla="*/ 2147483647 w 373"/>
                <a:gd name="T39" fmla="*/ 2147483647 h 370"/>
                <a:gd name="T40" fmla="*/ 2147483647 w 373"/>
                <a:gd name="T41" fmla="*/ 2147483647 h 370"/>
                <a:gd name="T42" fmla="*/ 2147483647 w 373"/>
                <a:gd name="T43" fmla="*/ 2147483647 h 370"/>
                <a:gd name="T44" fmla="*/ 2147483647 w 373"/>
                <a:gd name="T45" fmla="*/ 2147483647 h 370"/>
                <a:gd name="T46" fmla="*/ 2147483647 w 373"/>
                <a:gd name="T47" fmla="*/ 2147483647 h 370"/>
                <a:gd name="T48" fmla="*/ 2147483647 w 373"/>
                <a:gd name="T49" fmla="*/ 2147483647 h 370"/>
                <a:gd name="T50" fmla="*/ 2147483647 w 373"/>
                <a:gd name="T51" fmla="*/ 2147483647 h 370"/>
                <a:gd name="T52" fmla="*/ 2147483647 w 373"/>
                <a:gd name="T53" fmla="*/ 2147483647 h 370"/>
                <a:gd name="T54" fmla="*/ 2147483647 w 373"/>
                <a:gd name="T55" fmla="*/ 2147483647 h 370"/>
                <a:gd name="T56" fmla="*/ 2147483647 w 373"/>
                <a:gd name="T57" fmla="*/ 2147483647 h 370"/>
                <a:gd name="T58" fmla="*/ 2147483647 w 373"/>
                <a:gd name="T59" fmla="*/ 2147483647 h 370"/>
                <a:gd name="T60" fmla="*/ 2147483647 w 373"/>
                <a:gd name="T61" fmla="*/ 2147483647 h 370"/>
                <a:gd name="T62" fmla="*/ 2147483647 w 373"/>
                <a:gd name="T63" fmla="*/ 2147483647 h 370"/>
                <a:gd name="T64" fmla="*/ 2147483647 w 373"/>
                <a:gd name="T65" fmla="*/ 2147483647 h 370"/>
                <a:gd name="T66" fmla="*/ 2147483647 w 373"/>
                <a:gd name="T67" fmla="*/ 2147483647 h 370"/>
                <a:gd name="T68" fmla="*/ 2147483647 w 373"/>
                <a:gd name="T69" fmla="*/ 2147483647 h 370"/>
                <a:gd name="T70" fmla="*/ 2147483647 w 373"/>
                <a:gd name="T71" fmla="*/ 2147483647 h 370"/>
                <a:gd name="T72" fmla="*/ 2147483647 w 373"/>
                <a:gd name="T73" fmla="*/ 2147483647 h 370"/>
                <a:gd name="T74" fmla="*/ 2147483647 w 373"/>
                <a:gd name="T75" fmla="*/ 2147483647 h 370"/>
                <a:gd name="T76" fmla="*/ 2147483647 w 373"/>
                <a:gd name="T77" fmla="*/ 2147483647 h 370"/>
                <a:gd name="T78" fmla="*/ 2147483647 w 373"/>
                <a:gd name="T79" fmla="*/ 2147483647 h 370"/>
                <a:gd name="T80" fmla="*/ 2147483647 w 373"/>
                <a:gd name="T81" fmla="*/ 2147483647 h 370"/>
                <a:gd name="T82" fmla="*/ 2147483647 w 373"/>
                <a:gd name="T83" fmla="*/ 2147483647 h 370"/>
                <a:gd name="T84" fmla="*/ 2147483647 w 373"/>
                <a:gd name="T85" fmla="*/ 2147483647 h 370"/>
                <a:gd name="T86" fmla="*/ 2147483647 w 373"/>
                <a:gd name="T87" fmla="*/ 2147483647 h 370"/>
                <a:gd name="T88" fmla="*/ 0 w 373"/>
                <a:gd name="T89" fmla="*/ 2147483647 h 370"/>
                <a:gd name="T90" fmla="*/ 2147483647 w 373"/>
                <a:gd name="T91" fmla="*/ 2147483647 h 370"/>
                <a:gd name="T92" fmla="*/ 2147483647 w 373"/>
                <a:gd name="T93" fmla="*/ 2147483647 h 370"/>
                <a:gd name="T94" fmla="*/ 2147483647 w 373"/>
                <a:gd name="T95" fmla="*/ 2147483647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73"/>
                <a:gd name="T145" fmla="*/ 0 h 370"/>
                <a:gd name="T146" fmla="*/ 373 w 373"/>
                <a:gd name="T147" fmla="*/ 370 h 370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1" name="Freeform 238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5480711" y="2643190"/>
              <a:ext cx="350036" cy="398242"/>
            </a:xfrm>
            <a:custGeom>
              <a:avLst/>
              <a:gdLst>
                <a:gd name="T0" fmla="*/ 2147483647 w 877"/>
                <a:gd name="T1" fmla="*/ 2147483647 h 826"/>
                <a:gd name="T2" fmla="*/ 2147483647 w 877"/>
                <a:gd name="T3" fmla="*/ 2147483647 h 826"/>
                <a:gd name="T4" fmla="*/ 2147483647 w 877"/>
                <a:gd name="T5" fmla="*/ 2147483647 h 826"/>
                <a:gd name="T6" fmla="*/ 2147483647 w 877"/>
                <a:gd name="T7" fmla="*/ 2147483647 h 826"/>
                <a:gd name="T8" fmla="*/ 2147483647 w 877"/>
                <a:gd name="T9" fmla="*/ 2147483647 h 826"/>
                <a:gd name="T10" fmla="*/ 2147483647 w 877"/>
                <a:gd name="T11" fmla="*/ 2147483647 h 826"/>
                <a:gd name="T12" fmla="*/ 2147483647 w 877"/>
                <a:gd name="T13" fmla="*/ 2147483647 h 826"/>
                <a:gd name="T14" fmla="*/ 2147483647 w 877"/>
                <a:gd name="T15" fmla="*/ 2147483647 h 826"/>
                <a:gd name="T16" fmla="*/ 2147483647 w 877"/>
                <a:gd name="T17" fmla="*/ 2147483647 h 826"/>
                <a:gd name="T18" fmla="*/ 2147483647 w 877"/>
                <a:gd name="T19" fmla="*/ 2147483647 h 826"/>
                <a:gd name="T20" fmla="*/ 2147483647 w 877"/>
                <a:gd name="T21" fmla="*/ 2147483647 h 826"/>
                <a:gd name="T22" fmla="*/ 2147483647 w 877"/>
                <a:gd name="T23" fmla="*/ 2147483647 h 826"/>
                <a:gd name="T24" fmla="*/ 2147483647 w 877"/>
                <a:gd name="T25" fmla="*/ 2147483647 h 826"/>
                <a:gd name="T26" fmla="*/ 2147483647 w 877"/>
                <a:gd name="T27" fmla="*/ 2147483647 h 826"/>
                <a:gd name="T28" fmla="*/ 2147483647 w 877"/>
                <a:gd name="T29" fmla="*/ 2147483647 h 826"/>
                <a:gd name="T30" fmla="*/ 2147483647 w 877"/>
                <a:gd name="T31" fmla="*/ 2147483647 h 826"/>
                <a:gd name="T32" fmla="*/ 2147483647 w 877"/>
                <a:gd name="T33" fmla="*/ 2147483647 h 826"/>
                <a:gd name="T34" fmla="*/ 2147483647 w 877"/>
                <a:gd name="T35" fmla="*/ 2147483647 h 826"/>
                <a:gd name="T36" fmla="*/ 2147483647 w 877"/>
                <a:gd name="T37" fmla="*/ 2147483647 h 826"/>
                <a:gd name="T38" fmla="*/ 2147483647 w 877"/>
                <a:gd name="T39" fmla="*/ 2147483647 h 826"/>
                <a:gd name="T40" fmla="*/ 2147483647 w 877"/>
                <a:gd name="T41" fmla="*/ 2147483647 h 826"/>
                <a:gd name="T42" fmla="*/ 2147483647 w 877"/>
                <a:gd name="T43" fmla="*/ 2147483647 h 826"/>
                <a:gd name="T44" fmla="*/ 2147483647 w 877"/>
                <a:gd name="T45" fmla="*/ 2147483647 h 826"/>
                <a:gd name="T46" fmla="*/ 2147483647 w 877"/>
                <a:gd name="T47" fmla="*/ 0 h 826"/>
                <a:gd name="T48" fmla="*/ 2147483647 w 877"/>
                <a:gd name="T49" fmla="*/ 2147483647 h 826"/>
                <a:gd name="T50" fmla="*/ 2147483647 w 877"/>
                <a:gd name="T51" fmla="*/ 2147483647 h 826"/>
                <a:gd name="T52" fmla="*/ 2147483647 w 877"/>
                <a:gd name="T53" fmla="*/ 2147483647 h 826"/>
                <a:gd name="T54" fmla="*/ 2147483647 w 877"/>
                <a:gd name="T55" fmla="*/ 2147483647 h 826"/>
                <a:gd name="T56" fmla="*/ 2147483647 w 877"/>
                <a:gd name="T57" fmla="*/ 2147483647 h 826"/>
                <a:gd name="T58" fmla="*/ 2147483647 w 877"/>
                <a:gd name="T59" fmla="*/ 2147483647 h 826"/>
                <a:gd name="T60" fmla="*/ 2147483647 w 877"/>
                <a:gd name="T61" fmla="*/ 2147483647 h 826"/>
                <a:gd name="T62" fmla="*/ 2147483647 w 877"/>
                <a:gd name="T63" fmla="*/ 2147483647 h 826"/>
                <a:gd name="T64" fmla="*/ 2147483647 w 877"/>
                <a:gd name="T65" fmla="*/ 2147483647 h 826"/>
                <a:gd name="T66" fmla="*/ 2147483647 w 877"/>
                <a:gd name="T67" fmla="*/ 2147483647 h 826"/>
                <a:gd name="T68" fmla="*/ 2147483647 w 877"/>
                <a:gd name="T69" fmla="*/ 2147483647 h 826"/>
                <a:gd name="T70" fmla="*/ 2147483647 w 877"/>
                <a:gd name="T71" fmla="*/ 2147483647 h 826"/>
                <a:gd name="T72" fmla="*/ 2147483647 w 877"/>
                <a:gd name="T73" fmla="*/ 2147483647 h 826"/>
                <a:gd name="T74" fmla="*/ 2147483647 w 877"/>
                <a:gd name="T75" fmla="*/ 2147483647 h 826"/>
                <a:gd name="T76" fmla="*/ 2147483647 w 877"/>
                <a:gd name="T77" fmla="*/ 2147483647 h 826"/>
                <a:gd name="T78" fmla="*/ 2147483647 w 877"/>
                <a:gd name="T79" fmla="*/ 2147483647 h 826"/>
                <a:gd name="T80" fmla="*/ 2147483647 w 877"/>
                <a:gd name="T81" fmla="*/ 2147483647 h 826"/>
                <a:gd name="T82" fmla="*/ 2147483647 w 877"/>
                <a:gd name="T83" fmla="*/ 2147483647 h 826"/>
                <a:gd name="T84" fmla="*/ 2147483647 w 877"/>
                <a:gd name="T85" fmla="*/ 2147483647 h 826"/>
                <a:gd name="T86" fmla="*/ 2147483647 w 877"/>
                <a:gd name="T87" fmla="*/ 2147483647 h 826"/>
                <a:gd name="T88" fmla="*/ 2147483647 w 877"/>
                <a:gd name="T89" fmla="*/ 2147483647 h 826"/>
                <a:gd name="T90" fmla="*/ 2147483647 w 877"/>
                <a:gd name="T91" fmla="*/ 2147483647 h 826"/>
                <a:gd name="T92" fmla="*/ 2147483647 w 877"/>
                <a:gd name="T93" fmla="*/ 2147483647 h 826"/>
                <a:gd name="T94" fmla="*/ 2147483647 w 877"/>
                <a:gd name="T95" fmla="*/ 2147483647 h 826"/>
                <a:gd name="T96" fmla="*/ 2147483647 w 877"/>
                <a:gd name="T97" fmla="*/ 2147483647 h 826"/>
                <a:gd name="T98" fmla="*/ 2147483647 w 877"/>
                <a:gd name="T99" fmla="*/ 2147483647 h 826"/>
                <a:gd name="T100" fmla="*/ 2147483647 w 877"/>
                <a:gd name="T101" fmla="*/ 2147483647 h 826"/>
                <a:gd name="T102" fmla="*/ 2147483647 w 877"/>
                <a:gd name="T103" fmla="*/ 2147483647 h 826"/>
                <a:gd name="T104" fmla="*/ 2147483647 w 877"/>
                <a:gd name="T105" fmla="*/ 2147483647 h 826"/>
                <a:gd name="T106" fmla="*/ 2147483647 w 877"/>
                <a:gd name="T107" fmla="*/ 2147483647 h 826"/>
                <a:gd name="T108" fmla="*/ 2147483647 w 877"/>
                <a:gd name="T109" fmla="*/ 2147483647 h 826"/>
                <a:gd name="T110" fmla="*/ 2147483647 w 877"/>
                <a:gd name="T111" fmla="*/ 2147483647 h 826"/>
                <a:gd name="T112" fmla="*/ 2147483647 w 877"/>
                <a:gd name="T113" fmla="*/ 2147483647 h 826"/>
                <a:gd name="T114" fmla="*/ 2147483647 w 877"/>
                <a:gd name="T115" fmla="*/ 2147483647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877"/>
                <a:gd name="T175" fmla="*/ 0 h 826"/>
                <a:gd name="T176" fmla="*/ 877 w 877"/>
                <a:gd name="T177" fmla="*/ 826 h 82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2" name="Freeform 239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5437318" y="2520097"/>
              <a:ext cx="85340" cy="215775"/>
            </a:xfrm>
            <a:custGeom>
              <a:avLst/>
              <a:gdLst>
                <a:gd name="T0" fmla="*/ 2147483647 w 206"/>
                <a:gd name="T1" fmla="*/ 2147483647 h 455"/>
                <a:gd name="T2" fmla="*/ 2147483647 w 206"/>
                <a:gd name="T3" fmla="*/ 2147483647 h 455"/>
                <a:gd name="T4" fmla="*/ 2147483647 w 206"/>
                <a:gd name="T5" fmla="*/ 2147483647 h 455"/>
                <a:gd name="T6" fmla="*/ 2147483647 w 206"/>
                <a:gd name="T7" fmla="*/ 2147483647 h 455"/>
                <a:gd name="T8" fmla="*/ 2147483647 w 206"/>
                <a:gd name="T9" fmla="*/ 2147483647 h 455"/>
                <a:gd name="T10" fmla="*/ 2147483647 w 206"/>
                <a:gd name="T11" fmla="*/ 2147483647 h 455"/>
                <a:gd name="T12" fmla="*/ 2147483647 w 206"/>
                <a:gd name="T13" fmla="*/ 2147483647 h 455"/>
                <a:gd name="T14" fmla="*/ 2147483647 w 206"/>
                <a:gd name="T15" fmla="*/ 2147483647 h 455"/>
                <a:gd name="T16" fmla="*/ 2147483647 w 206"/>
                <a:gd name="T17" fmla="*/ 2147483647 h 455"/>
                <a:gd name="T18" fmla="*/ 2147483647 w 206"/>
                <a:gd name="T19" fmla="*/ 2147483647 h 455"/>
                <a:gd name="T20" fmla="*/ 2147483647 w 206"/>
                <a:gd name="T21" fmla="*/ 2147483647 h 455"/>
                <a:gd name="T22" fmla="*/ 2147483647 w 206"/>
                <a:gd name="T23" fmla="*/ 2147483647 h 455"/>
                <a:gd name="T24" fmla="*/ 2147483647 w 206"/>
                <a:gd name="T25" fmla="*/ 2147483647 h 455"/>
                <a:gd name="T26" fmla="*/ 2147483647 w 206"/>
                <a:gd name="T27" fmla="*/ 2147483647 h 455"/>
                <a:gd name="T28" fmla="*/ 2147483647 w 206"/>
                <a:gd name="T29" fmla="*/ 2147483647 h 455"/>
                <a:gd name="T30" fmla="*/ 2147483647 w 206"/>
                <a:gd name="T31" fmla="*/ 2147483647 h 455"/>
                <a:gd name="T32" fmla="*/ 2147483647 w 206"/>
                <a:gd name="T33" fmla="*/ 2147483647 h 455"/>
                <a:gd name="T34" fmla="*/ 2147483647 w 206"/>
                <a:gd name="T35" fmla="*/ 2147483647 h 455"/>
                <a:gd name="T36" fmla="*/ 2147483647 w 206"/>
                <a:gd name="T37" fmla="*/ 2147483647 h 455"/>
                <a:gd name="T38" fmla="*/ 2147483647 w 206"/>
                <a:gd name="T39" fmla="*/ 2147483647 h 455"/>
                <a:gd name="T40" fmla="*/ 2147483647 w 206"/>
                <a:gd name="T41" fmla="*/ 2147483647 h 455"/>
                <a:gd name="T42" fmla="*/ 2147483647 w 206"/>
                <a:gd name="T43" fmla="*/ 2147483647 h 455"/>
                <a:gd name="T44" fmla="*/ 2147483647 w 206"/>
                <a:gd name="T45" fmla="*/ 2147483647 h 455"/>
                <a:gd name="T46" fmla="*/ 2147483647 w 206"/>
                <a:gd name="T47" fmla="*/ 2147483647 h 455"/>
                <a:gd name="T48" fmla="*/ 2147483647 w 206"/>
                <a:gd name="T49" fmla="*/ 2147483647 h 455"/>
                <a:gd name="T50" fmla="*/ 2147483647 w 206"/>
                <a:gd name="T51" fmla="*/ 2147483647 h 455"/>
                <a:gd name="T52" fmla="*/ 2147483647 w 206"/>
                <a:gd name="T53" fmla="*/ 2147483647 h 455"/>
                <a:gd name="T54" fmla="*/ 2147483647 w 206"/>
                <a:gd name="T55" fmla="*/ 2147483647 h 455"/>
                <a:gd name="T56" fmla="*/ 2147483647 w 206"/>
                <a:gd name="T57" fmla="*/ 2147483647 h 455"/>
                <a:gd name="T58" fmla="*/ 2147483647 w 206"/>
                <a:gd name="T59" fmla="*/ 2147483647 h 455"/>
                <a:gd name="T60" fmla="*/ 2147483647 w 206"/>
                <a:gd name="T61" fmla="*/ 2147483647 h 455"/>
                <a:gd name="T62" fmla="*/ 2147483647 w 206"/>
                <a:gd name="T63" fmla="*/ 2147483647 h 455"/>
                <a:gd name="T64" fmla="*/ 2147483647 w 206"/>
                <a:gd name="T65" fmla="*/ 2147483647 h 455"/>
                <a:gd name="T66" fmla="*/ 2147483647 w 206"/>
                <a:gd name="T67" fmla="*/ 2147483647 h 455"/>
                <a:gd name="T68" fmla="*/ 2147483647 w 206"/>
                <a:gd name="T69" fmla="*/ 2147483647 h 455"/>
                <a:gd name="T70" fmla="*/ 2147483647 w 206"/>
                <a:gd name="T71" fmla="*/ 2147483647 h 455"/>
                <a:gd name="T72" fmla="*/ 2147483647 w 206"/>
                <a:gd name="T73" fmla="*/ 2147483647 h 455"/>
                <a:gd name="T74" fmla="*/ 2147483647 w 206"/>
                <a:gd name="T75" fmla="*/ 0 h 455"/>
                <a:gd name="T76" fmla="*/ 2147483647 w 206"/>
                <a:gd name="T77" fmla="*/ 2147483647 h 455"/>
                <a:gd name="T78" fmla="*/ 2147483647 w 206"/>
                <a:gd name="T79" fmla="*/ 2147483647 h 455"/>
                <a:gd name="T80" fmla="*/ 2147483647 w 206"/>
                <a:gd name="T81" fmla="*/ 2147483647 h 455"/>
                <a:gd name="T82" fmla="*/ 2147483647 w 206"/>
                <a:gd name="T83" fmla="*/ 2147483647 h 455"/>
                <a:gd name="T84" fmla="*/ 2147483647 w 206"/>
                <a:gd name="T85" fmla="*/ 2147483647 h 455"/>
                <a:gd name="T86" fmla="*/ 2147483647 w 206"/>
                <a:gd name="T87" fmla="*/ 2147483647 h 455"/>
                <a:gd name="T88" fmla="*/ 2147483647 w 206"/>
                <a:gd name="T89" fmla="*/ 2147483647 h 455"/>
                <a:gd name="T90" fmla="*/ 2147483647 w 206"/>
                <a:gd name="T91" fmla="*/ 2147483647 h 455"/>
                <a:gd name="T92" fmla="*/ 0 w 206"/>
                <a:gd name="T93" fmla="*/ 2147483647 h 455"/>
                <a:gd name="T94" fmla="*/ 2147483647 w 206"/>
                <a:gd name="T95" fmla="*/ 2147483647 h 455"/>
                <a:gd name="T96" fmla="*/ 2147483647 w 206"/>
                <a:gd name="T97" fmla="*/ 2147483647 h 455"/>
                <a:gd name="T98" fmla="*/ 2147483647 w 206"/>
                <a:gd name="T99" fmla="*/ 2147483647 h 455"/>
                <a:gd name="T100" fmla="*/ 2147483647 w 206"/>
                <a:gd name="T101" fmla="*/ 2147483647 h 455"/>
                <a:gd name="T102" fmla="*/ 2147483647 w 206"/>
                <a:gd name="T103" fmla="*/ 2147483647 h 455"/>
                <a:gd name="T104" fmla="*/ 2147483647 w 206"/>
                <a:gd name="T105" fmla="*/ 2147483647 h 455"/>
                <a:gd name="T106" fmla="*/ 2147483647 w 206"/>
                <a:gd name="T107" fmla="*/ 2147483647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06"/>
                <a:gd name="T163" fmla="*/ 0 h 455"/>
                <a:gd name="T164" fmla="*/ 206 w 206"/>
                <a:gd name="T165" fmla="*/ 455 h 45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3" name="Freeform 240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4874658" y="2803935"/>
              <a:ext cx="211179" cy="196949"/>
            </a:xfrm>
            <a:custGeom>
              <a:avLst/>
              <a:gdLst>
                <a:gd name="T0" fmla="*/ 2147483647 w 518"/>
                <a:gd name="T1" fmla="*/ 2147483647 h 406"/>
                <a:gd name="T2" fmla="*/ 2147483647 w 518"/>
                <a:gd name="T3" fmla="*/ 2147483647 h 406"/>
                <a:gd name="T4" fmla="*/ 2147483647 w 518"/>
                <a:gd name="T5" fmla="*/ 2147483647 h 406"/>
                <a:gd name="T6" fmla="*/ 2147483647 w 518"/>
                <a:gd name="T7" fmla="*/ 2147483647 h 406"/>
                <a:gd name="T8" fmla="*/ 2147483647 w 518"/>
                <a:gd name="T9" fmla="*/ 2147483647 h 406"/>
                <a:gd name="T10" fmla="*/ 2147483647 w 518"/>
                <a:gd name="T11" fmla="*/ 2147483647 h 406"/>
                <a:gd name="T12" fmla="*/ 2147483647 w 518"/>
                <a:gd name="T13" fmla="*/ 2147483647 h 406"/>
                <a:gd name="T14" fmla="*/ 2147483647 w 518"/>
                <a:gd name="T15" fmla="*/ 2147483647 h 406"/>
                <a:gd name="T16" fmla="*/ 2147483647 w 518"/>
                <a:gd name="T17" fmla="*/ 2147483647 h 406"/>
                <a:gd name="T18" fmla="*/ 2147483647 w 518"/>
                <a:gd name="T19" fmla="*/ 2147483647 h 406"/>
                <a:gd name="T20" fmla="*/ 2147483647 w 518"/>
                <a:gd name="T21" fmla="*/ 2147483647 h 406"/>
                <a:gd name="T22" fmla="*/ 2147483647 w 518"/>
                <a:gd name="T23" fmla="*/ 2147483647 h 406"/>
                <a:gd name="T24" fmla="*/ 2147483647 w 518"/>
                <a:gd name="T25" fmla="*/ 2147483647 h 406"/>
                <a:gd name="T26" fmla="*/ 2147483647 w 518"/>
                <a:gd name="T27" fmla="*/ 2147483647 h 406"/>
                <a:gd name="T28" fmla="*/ 2147483647 w 518"/>
                <a:gd name="T29" fmla="*/ 2147483647 h 406"/>
                <a:gd name="T30" fmla="*/ 2147483647 w 518"/>
                <a:gd name="T31" fmla="*/ 2147483647 h 406"/>
                <a:gd name="T32" fmla="*/ 2147483647 w 518"/>
                <a:gd name="T33" fmla="*/ 2147483647 h 406"/>
                <a:gd name="T34" fmla="*/ 2147483647 w 518"/>
                <a:gd name="T35" fmla="*/ 2147483647 h 406"/>
                <a:gd name="T36" fmla="*/ 2147483647 w 518"/>
                <a:gd name="T37" fmla="*/ 2147483647 h 406"/>
                <a:gd name="T38" fmla="*/ 2147483647 w 518"/>
                <a:gd name="T39" fmla="*/ 2147483647 h 406"/>
                <a:gd name="T40" fmla="*/ 2147483647 w 518"/>
                <a:gd name="T41" fmla="*/ 2147483647 h 406"/>
                <a:gd name="T42" fmla="*/ 2147483647 w 518"/>
                <a:gd name="T43" fmla="*/ 2147483647 h 406"/>
                <a:gd name="T44" fmla="*/ 2147483647 w 518"/>
                <a:gd name="T45" fmla="*/ 2147483647 h 406"/>
                <a:gd name="T46" fmla="*/ 2147483647 w 518"/>
                <a:gd name="T47" fmla="*/ 2147483647 h 406"/>
                <a:gd name="T48" fmla="*/ 2147483647 w 518"/>
                <a:gd name="T49" fmla="*/ 2147483647 h 406"/>
                <a:gd name="T50" fmla="*/ 2147483647 w 518"/>
                <a:gd name="T51" fmla="*/ 2147483647 h 406"/>
                <a:gd name="T52" fmla="*/ 2147483647 w 518"/>
                <a:gd name="T53" fmla="*/ 2147483647 h 406"/>
                <a:gd name="T54" fmla="*/ 2147483647 w 518"/>
                <a:gd name="T55" fmla="*/ 2147483647 h 406"/>
                <a:gd name="T56" fmla="*/ 2147483647 w 518"/>
                <a:gd name="T57" fmla="*/ 2147483647 h 406"/>
                <a:gd name="T58" fmla="*/ 2147483647 w 518"/>
                <a:gd name="T59" fmla="*/ 2147483647 h 406"/>
                <a:gd name="T60" fmla="*/ 2147483647 w 518"/>
                <a:gd name="T61" fmla="*/ 2147483647 h 406"/>
                <a:gd name="T62" fmla="*/ 2147483647 w 518"/>
                <a:gd name="T63" fmla="*/ 2147483647 h 406"/>
                <a:gd name="T64" fmla="*/ 2147483647 w 518"/>
                <a:gd name="T65" fmla="*/ 2147483647 h 406"/>
                <a:gd name="T66" fmla="*/ 2147483647 w 518"/>
                <a:gd name="T67" fmla="*/ 2147483647 h 406"/>
                <a:gd name="T68" fmla="*/ 2147483647 w 518"/>
                <a:gd name="T69" fmla="*/ 2147483647 h 406"/>
                <a:gd name="T70" fmla="*/ 2147483647 w 518"/>
                <a:gd name="T71" fmla="*/ 2147483647 h 406"/>
                <a:gd name="T72" fmla="*/ 2147483647 w 518"/>
                <a:gd name="T73" fmla="*/ 2147483647 h 406"/>
                <a:gd name="T74" fmla="*/ 2147483647 w 518"/>
                <a:gd name="T75" fmla="*/ 2147483647 h 406"/>
                <a:gd name="T76" fmla="*/ 2147483647 w 518"/>
                <a:gd name="T77" fmla="*/ 0 h 406"/>
                <a:gd name="T78" fmla="*/ 2147483647 w 518"/>
                <a:gd name="T79" fmla="*/ 2147483647 h 406"/>
                <a:gd name="T80" fmla="*/ 2147483647 w 518"/>
                <a:gd name="T81" fmla="*/ 2147483647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18"/>
                <a:gd name="T124" fmla="*/ 0 h 406"/>
                <a:gd name="T125" fmla="*/ 518 w 518"/>
                <a:gd name="T126" fmla="*/ 406 h 40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4" name="Freeform 241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4845729" y="1716372"/>
              <a:ext cx="173571" cy="85441"/>
            </a:xfrm>
            <a:custGeom>
              <a:avLst/>
              <a:gdLst>
                <a:gd name="T0" fmla="*/ 2147483647 w 446"/>
                <a:gd name="T1" fmla="*/ 2147483647 h 178"/>
                <a:gd name="T2" fmla="*/ 2147483647 w 446"/>
                <a:gd name="T3" fmla="*/ 2147483647 h 178"/>
                <a:gd name="T4" fmla="*/ 2147483647 w 446"/>
                <a:gd name="T5" fmla="*/ 2147483647 h 178"/>
                <a:gd name="T6" fmla="*/ 2147483647 w 446"/>
                <a:gd name="T7" fmla="*/ 2147483647 h 178"/>
                <a:gd name="T8" fmla="*/ 2147483647 w 446"/>
                <a:gd name="T9" fmla="*/ 2147483647 h 178"/>
                <a:gd name="T10" fmla="*/ 2147483647 w 446"/>
                <a:gd name="T11" fmla="*/ 0 h 178"/>
                <a:gd name="T12" fmla="*/ 2147483647 w 446"/>
                <a:gd name="T13" fmla="*/ 2147483647 h 178"/>
                <a:gd name="T14" fmla="*/ 2147483647 w 446"/>
                <a:gd name="T15" fmla="*/ 2147483647 h 178"/>
                <a:gd name="T16" fmla="*/ 2147483647 w 446"/>
                <a:gd name="T17" fmla="*/ 2147483647 h 178"/>
                <a:gd name="T18" fmla="*/ 2147483647 w 446"/>
                <a:gd name="T19" fmla="*/ 2147483647 h 178"/>
                <a:gd name="T20" fmla="*/ 2147483647 w 446"/>
                <a:gd name="T21" fmla="*/ 2147483647 h 178"/>
                <a:gd name="T22" fmla="*/ 2147483647 w 446"/>
                <a:gd name="T23" fmla="*/ 2147483647 h 178"/>
                <a:gd name="T24" fmla="*/ 2147483647 w 446"/>
                <a:gd name="T25" fmla="*/ 2147483647 h 178"/>
                <a:gd name="T26" fmla="*/ 2147483647 w 446"/>
                <a:gd name="T27" fmla="*/ 2147483647 h 178"/>
                <a:gd name="T28" fmla="*/ 2147483647 w 446"/>
                <a:gd name="T29" fmla="*/ 2147483647 h 178"/>
                <a:gd name="T30" fmla="*/ 2147483647 w 446"/>
                <a:gd name="T31" fmla="*/ 2147483647 h 178"/>
                <a:gd name="T32" fmla="*/ 2147483647 w 446"/>
                <a:gd name="T33" fmla="*/ 2147483647 h 178"/>
                <a:gd name="T34" fmla="*/ 2147483647 w 446"/>
                <a:gd name="T35" fmla="*/ 2147483647 h 178"/>
                <a:gd name="T36" fmla="*/ 2147483647 w 446"/>
                <a:gd name="T37" fmla="*/ 2147483647 h 178"/>
                <a:gd name="T38" fmla="*/ 2147483647 w 446"/>
                <a:gd name="T39" fmla="*/ 2147483647 h 178"/>
                <a:gd name="T40" fmla="*/ 2147483647 w 446"/>
                <a:gd name="T41" fmla="*/ 2147483647 h 178"/>
                <a:gd name="T42" fmla="*/ 2147483647 w 446"/>
                <a:gd name="T43" fmla="*/ 2147483647 h 178"/>
                <a:gd name="T44" fmla="*/ 2147483647 w 446"/>
                <a:gd name="T45" fmla="*/ 2147483647 h 178"/>
                <a:gd name="T46" fmla="*/ 2147483647 w 446"/>
                <a:gd name="T47" fmla="*/ 2147483647 h 178"/>
                <a:gd name="T48" fmla="*/ 2147483647 w 446"/>
                <a:gd name="T49" fmla="*/ 2147483647 h 178"/>
                <a:gd name="T50" fmla="*/ 2147483647 w 446"/>
                <a:gd name="T51" fmla="*/ 2147483647 h 178"/>
                <a:gd name="T52" fmla="*/ 2147483647 w 446"/>
                <a:gd name="T53" fmla="*/ 2147483647 h 178"/>
                <a:gd name="T54" fmla="*/ 2147483647 w 446"/>
                <a:gd name="T55" fmla="*/ 2147483647 h 178"/>
                <a:gd name="T56" fmla="*/ 2147483647 w 446"/>
                <a:gd name="T57" fmla="*/ 2147483647 h 178"/>
                <a:gd name="T58" fmla="*/ 2147483647 w 446"/>
                <a:gd name="T59" fmla="*/ 2147483647 h 178"/>
                <a:gd name="T60" fmla="*/ 2147483647 w 446"/>
                <a:gd name="T61" fmla="*/ 2147483647 h 178"/>
                <a:gd name="T62" fmla="*/ 2147483647 w 446"/>
                <a:gd name="T63" fmla="*/ 2147483647 h 178"/>
                <a:gd name="T64" fmla="*/ 2147483647 w 446"/>
                <a:gd name="T65" fmla="*/ 2147483647 h 178"/>
                <a:gd name="T66" fmla="*/ 2147483647 w 446"/>
                <a:gd name="T67" fmla="*/ 2147483647 h 178"/>
                <a:gd name="T68" fmla="*/ 2147483647 w 446"/>
                <a:gd name="T69" fmla="*/ 2147483647 h 178"/>
                <a:gd name="T70" fmla="*/ 2147483647 w 446"/>
                <a:gd name="T71" fmla="*/ 2147483647 h 178"/>
                <a:gd name="T72" fmla="*/ 2147483647 w 446"/>
                <a:gd name="T73" fmla="*/ 2147483647 h 178"/>
                <a:gd name="T74" fmla="*/ 2147483647 w 446"/>
                <a:gd name="T75" fmla="*/ 2147483647 h 178"/>
                <a:gd name="T76" fmla="*/ 2147483647 w 446"/>
                <a:gd name="T77" fmla="*/ 2147483647 h 178"/>
                <a:gd name="T78" fmla="*/ 2147483647 w 446"/>
                <a:gd name="T79" fmla="*/ 2147483647 h 178"/>
                <a:gd name="T80" fmla="*/ 0 w 446"/>
                <a:gd name="T81" fmla="*/ 2147483647 h 178"/>
                <a:gd name="T82" fmla="*/ 2147483647 w 446"/>
                <a:gd name="T83" fmla="*/ 2147483647 h 178"/>
                <a:gd name="T84" fmla="*/ 2147483647 w 446"/>
                <a:gd name="T85" fmla="*/ 2147483647 h 178"/>
                <a:gd name="T86" fmla="*/ 2147483647 w 446"/>
                <a:gd name="T87" fmla="*/ 2147483647 h 178"/>
                <a:gd name="T88" fmla="*/ 2147483647 w 446"/>
                <a:gd name="T89" fmla="*/ 2147483647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46"/>
                <a:gd name="T136" fmla="*/ 0 h 178"/>
                <a:gd name="T137" fmla="*/ 446 w 446"/>
                <a:gd name="T138" fmla="*/ 178 h 17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5" name="Freeform 242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5567497" y="1956766"/>
              <a:ext cx="13018" cy="52134"/>
            </a:xfrm>
            <a:custGeom>
              <a:avLst/>
              <a:gdLst>
                <a:gd name="T0" fmla="*/ 0 w 28"/>
                <a:gd name="T1" fmla="*/ 2147483647 h 73"/>
                <a:gd name="T2" fmla="*/ 2147483647 w 28"/>
                <a:gd name="T3" fmla="*/ 2147483647 h 73"/>
                <a:gd name="T4" fmla="*/ 2147483647 w 28"/>
                <a:gd name="T5" fmla="*/ 2147483647 h 73"/>
                <a:gd name="T6" fmla="*/ 2147483647 w 28"/>
                <a:gd name="T7" fmla="*/ 2147483647 h 73"/>
                <a:gd name="T8" fmla="*/ 2147483647 w 28"/>
                <a:gd name="T9" fmla="*/ 2147483647 h 73"/>
                <a:gd name="T10" fmla="*/ 2147483647 w 28"/>
                <a:gd name="T11" fmla="*/ 2147483647 h 73"/>
                <a:gd name="T12" fmla="*/ 0 w 28"/>
                <a:gd name="T13" fmla="*/ 0 h 73"/>
                <a:gd name="T14" fmla="*/ 2147483647 w 28"/>
                <a:gd name="T15" fmla="*/ 0 h 73"/>
                <a:gd name="T16" fmla="*/ 2147483647 w 28"/>
                <a:gd name="T17" fmla="*/ 2147483647 h 73"/>
                <a:gd name="T18" fmla="*/ 2147483647 w 28"/>
                <a:gd name="T19" fmla="*/ 2147483647 h 73"/>
                <a:gd name="T20" fmla="*/ 2147483647 w 28"/>
                <a:gd name="T21" fmla="*/ 2147483647 h 73"/>
                <a:gd name="T22" fmla="*/ 2147483647 w 28"/>
                <a:gd name="T23" fmla="*/ 2147483647 h 73"/>
                <a:gd name="T24" fmla="*/ 0 w 28"/>
                <a:gd name="T25" fmla="*/ 2147483647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8"/>
                <a:gd name="T40" fmla="*/ 0 h 73"/>
                <a:gd name="T41" fmla="*/ 28 w 28"/>
                <a:gd name="T42" fmla="*/ 73 h 7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6" name="Freeform 243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5464801" y="1649757"/>
              <a:ext cx="214071" cy="360590"/>
            </a:xfrm>
            <a:custGeom>
              <a:avLst/>
              <a:gdLst>
                <a:gd name="T0" fmla="*/ 2147483647 w 531"/>
                <a:gd name="T1" fmla="*/ 2147483647 h 757"/>
                <a:gd name="T2" fmla="*/ 2147483647 w 531"/>
                <a:gd name="T3" fmla="*/ 2147483647 h 757"/>
                <a:gd name="T4" fmla="*/ 2147483647 w 531"/>
                <a:gd name="T5" fmla="*/ 2147483647 h 757"/>
                <a:gd name="T6" fmla="*/ 2147483647 w 531"/>
                <a:gd name="T7" fmla="*/ 2147483647 h 757"/>
                <a:gd name="T8" fmla="*/ 2147483647 w 531"/>
                <a:gd name="T9" fmla="*/ 2147483647 h 757"/>
                <a:gd name="T10" fmla="*/ 2147483647 w 531"/>
                <a:gd name="T11" fmla="*/ 2147483647 h 757"/>
                <a:gd name="T12" fmla="*/ 2147483647 w 531"/>
                <a:gd name="T13" fmla="*/ 2147483647 h 757"/>
                <a:gd name="T14" fmla="*/ 2147483647 w 531"/>
                <a:gd name="T15" fmla="*/ 2147483647 h 757"/>
                <a:gd name="T16" fmla="*/ 2147483647 w 531"/>
                <a:gd name="T17" fmla="*/ 2147483647 h 757"/>
                <a:gd name="T18" fmla="*/ 2147483647 w 531"/>
                <a:gd name="T19" fmla="*/ 2147483647 h 757"/>
                <a:gd name="T20" fmla="*/ 2147483647 w 531"/>
                <a:gd name="T21" fmla="*/ 2147483647 h 757"/>
                <a:gd name="T22" fmla="*/ 2147483647 w 531"/>
                <a:gd name="T23" fmla="*/ 2147483647 h 757"/>
                <a:gd name="T24" fmla="*/ 2147483647 w 531"/>
                <a:gd name="T25" fmla="*/ 2147483647 h 757"/>
                <a:gd name="T26" fmla="*/ 2147483647 w 531"/>
                <a:gd name="T27" fmla="*/ 2147483647 h 757"/>
                <a:gd name="T28" fmla="*/ 2147483647 w 531"/>
                <a:gd name="T29" fmla="*/ 2147483647 h 757"/>
                <a:gd name="T30" fmla="*/ 2147483647 w 531"/>
                <a:gd name="T31" fmla="*/ 2147483647 h 757"/>
                <a:gd name="T32" fmla="*/ 2147483647 w 531"/>
                <a:gd name="T33" fmla="*/ 2147483647 h 757"/>
                <a:gd name="T34" fmla="*/ 2147483647 w 531"/>
                <a:gd name="T35" fmla="*/ 2147483647 h 757"/>
                <a:gd name="T36" fmla="*/ 2147483647 w 531"/>
                <a:gd name="T37" fmla="*/ 2147483647 h 757"/>
                <a:gd name="T38" fmla="*/ 2147483647 w 531"/>
                <a:gd name="T39" fmla="*/ 2147483647 h 757"/>
                <a:gd name="T40" fmla="*/ 2147483647 w 531"/>
                <a:gd name="T41" fmla="*/ 2147483647 h 757"/>
                <a:gd name="T42" fmla="*/ 2147483647 w 531"/>
                <a:gd name="T43" fmla="*/ 2147483647 h 757"/>
                <a:gd name="T44" fmla="*/ 2147483647 w 531"/>
                <a:gd name="T45" fmla="*/ 2147483647 h 757"/>
                <a:gd name="T46" fmla="*/ 2147483647 w 531"/>
                <a:gd name="T47" fmla="*/ 2147483647 h 757"/>
                <a:gd name="T48" fmla="*/ 2147483647 w 531"/>
                <a:gd name="T49" fmla="*/ 2147483647 h 757"/>
                <a:gd name="T50" fmla="*/ 2147483647 w 531"/>
                <a:gd name="T51" fmla="*/ 2147483647 h 757"/>
                <a:gd name="T52" fmla="*/ 2147483647 w 531"/>
                <a:gd name="T53" fmla="*/ 2147483647 h 757"/>
                <a:gd name="T54" fmla="*/ 2147483647 w 531"/>
                <a:gd name="T55" fmla="*/ 2147483647 h 757"/>
                <a:gd name="T56" fmla="*/ 2147483647 w 531"/>
                <a:gd name="T57" fmla="*/ 2147483647 h 757"/>
                <a:gd name="T58" fmla="*/ 2147483647 w 531"/>
                <a:gd name="T59" fmla="*/ 2147483647 h 757"/>
                <a:gd name="T60" fmla="*/ 2147483647 w 531"/>
                <a:gd name="T61" fmla="*/ 2147483647 h 757"/>
                <a:gd name="T62" fmla="*/ 2147483647 w 531"/>
                <a:gd name="T63" fmla="*/ 2147483647 h 757"/>
                <a:gd name="T64" fmla="*/ 2147483647 w 531"/>
                <a:gd name="T65" fmla="*/ 2147483647 h 757"/>
                <a:gd name="T66" fmla="*/ 2147483647 w 531"/>
                <a:gd name="T67" fmla="*/ 2147483647 h 757"/>
                <a:gd name="T68" fmla="*/ 2147483647 w 531"/>
                <a:gd name="T69" fmla="*/ 2147483647 h 757"/>
                <a:gd name="T70" fmla="*/ 2147483647 w 531"/>
                <a:gd name="T71" fmla="*/ 2147483647 h 757"/>
                <a:gd name="T72" fmla="*/ 2147483647 w 531"/>
                <a:gd name="T73" fmla="*/ 2147483647 h 757"/>
                <a:gd name="T74" fmla="*/ 2147483647 w 531"/>
                <a:gd name="T75" fmla="*/ 2147483647 h 757"/>
                <a:gd name="T76" fmla="*/ 2147483647 w 531"/>
                <a:gd name="T77" fmla="*/ 2147483647 h 757"/>
                <a:gd name="T78" fmla="*/ 2147483647 w 531"/>
                <a:gd name="T79" fmla="*/ 2147483647 h 757"/>
                <a:gd name="T80" fmla="*/ 2147483647 w 531"/>
                <a:gd name="T81" fmla="*/ 2147483647 h 757"/>
                <a:gd name="T82" fmla="*/ 2147483647 w 531"/>
                <a:gd name="T83" fmla="*/ 2147483647 h 757"/>
                <a:gd name="T84" fmla="*/ 2147483647 w 531"/>
                <a:gd name="T85" fmla="*/ 2147483647 h 757"/>
                <a:gd name="T86" fmla="*/ 2147483647 w 531"/>
                <a:gd name="T87" fmla="*/ 2147483647 h 757"/>
                <a:gd name="T88" fmla="*/ 2147483647 w 531"/>
                <a:gd name="T89" fmla="*/ 2147483647 h 757"/>
                <a:gd name="T90" fmla="*/ 2147483647 w 531"/>
                <a:gd name="T91" fmla="*/ 2147483647 h 757"/>
                <a:gd name="T92" fmla="*/ 2147483647 w 531"/>
                <a:gd name="T93" fmla="*/ 2147483647 h 757"/>
                <a:gd name="T94" fmla="*/ 2147483647 w 531"/>
                <a:gd name="T95" fmla="*/ 2147483647 h 757"/>
                <a:gd name="T96" fmla="*/ 2147483647 w 531"/>
                <a:gd name="T97" fmla="*/ 2147483647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31"/>
                <a:gd name="T148" fmla="*/ 0 h 757"/>
                <a:gd name="T149" fmla="*/ 531 w 531"/>
                <a:gd name="T150" fmla="*/ 757 h 75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7" name="Freeform 244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5590640" y="1936492"/>
              <a:ext cx="24590" cy="52134"/>
            </a:xfrm>
            <a:custGeom>
              <a:avLst/>
              <a:gdLst>
                <a:gd name="T0" fmla="*/ 0 w 60"/>
                <a:gd name="T1" fmla="*/ 2147483647 h 51"/>
                <a:gd name="T2" fmla="*/ 2147483647 w 60"/>
                <a:gd name="T3" fmla="*/ 2147483647 h 51"/>
                <a:gd name="T4" fmla="*/ 2147483647 w 60"/>
                <a:gd name="T5" fmla="*/ 2147483647 h 51"/>
                <a:gd name="T6" fmla="*/ 2147483647 w 60"/>
                <a:gd name="T7" fmla="*/ 2147483647 h 51"/>
                <a:gd name="T8" fmla="*/ 2147483647 w 60"/>
                <a:gd name="T9" fmla="*/ 2147483647 h 51"/>
                <a:gd name="T10" fmla="*/ 2147483647 w 60"/>
                <a:gd name="T11" fmla="*/ 2147483647 h 51"/>
                <a:gd name="T12" fmla="*/ 2147483647 w 60"/>
                <a:gd name="T13" fmla="*/ 0 h 51"/>
                <a:gd name="T14" fmla="*/ 2147483647 w 60"/>
                <a:gd name="T15" fmla="*/ 2147483647 h 51"/>
                <a:gd name="T16" fmla="*/ 2147483647 w 60"/>
                <a:gd name="T17" fmla="*/ 2147483647 h 51"/>
                <a:gd name="T18" fmla="*/ 2147483647 w 60"/>
                <a:gd name="T19" fmla="*/ 2147483647 h 51"/>
                <a:gd name="T20" fmla="*/ 2147483647 w 60"/>
                <a:gd name="T21" fmla="*/ 2147483647 h 51"/>
                <a:gd name="T22" fmla="*/ 2147483647 w 60"/>
                <a:gd name="T23" fmla="*/ 2147483647 h 51"/>
                <a:gd name="T24" fmla="*/ 2147483647 w 60"/>
                <a:gd name="T25" fmla="*/ 2147483647 h 51"/>
                <a:gd name="T26" fmla="*/ 2147483647 w 60"/>
                <a:gd name="T27" fmla="*/ 2147483647 h 51"/>
                <a:gd name="T28" fmla="*/ 2147483647 w 60"/>
                <a:gd name="T29" fmla="*/ 2147483647 h 51"/>
                <a:gd name="T30" fmla="*/ 2147483647 w 60"/>
                <a:gd name="T31" fmla="*/ 2147483647 h 51"/>
                <a:gd name="T32" fmla="*/ 2147483647 w 60"/>
                <a:gd name="T33" fmla="*/ 2147483647 h 51"/>
                <a:gd name="T34" fmla="*/ 2147483647 w 60"/>
                <a:gd name="T35" fmla="*/ 2147483647 h 51"/>
                <a:gd name="T36" fmla="*/ 2147483647 w 60"/>
                <a:gd name="T37" fmla="*/ 2147483647 h 51"/>
                <a:gd name="T38" fmla="*/ 2147483647 w 60"/>
                <a:gd name="T39" fmla="*/ 2147483647 h 51"/>
                <a:gd name="T40" fmla="*/ 2147483647 w 60"/>
                <a:gd name="T41" fmla="*/ 2147483647 h 51"/>
                <a:gd name="T42" fmla="*/ 2147483647 w 60"/>
                <a:gd name="T43" fmla="*/ 2147483647 h 51"/>
                <a:gd name="T44" fmla="*/ 0 w 60"/>
                <a:gd name="T45" fmla="*/ 2147483647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0"/>
                <a:gd name="T70" fmla="*/ 0 h 51"/>
                <a:gd name="T71" fmla="*/ 60 w 60"/>
                <a:gd name="T72" fmla="*/ 51 h 5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8" name="Freeform 245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5084390" y="2084203"/>
              <a:ext cx="26036" cy="52134"/>
            </a:xfrm>
            <a:custGeom>
              <a:avLst/>
              <a:gdLst>
                <a:gd name="T0" fmla="*/ 2147483647 w 66"/>
                <a:gd name="T1" fmla="*/ 2147483647 h 51"/>
                <a:gd name="T2" fmla="*/ 2147483647 w 66"/>
                <a:gd name="T3" fmla="*/ 2147483647 h 51"/>
                <a:gd name="T4" fmla="*/ 2147483647 w 66"/>
                <a:gd name="T5" fmla="*/ 2147483647 h 51"/>
                <a:gd name="T6" fmla="*/ 2147483647 w 66"/>
                <a:gd name="T7" fmla="*/ 2147483647 h 51"/>
                <a:gd name="T8" fmla="*/ 2147483647 w 66"/>
                <a:gd name="T9" fmla="*/ 2147483647 h 51"/>
                <a:gd name="T10" fmla="*/ 2147483647 w 66"/>
                <a:gd name="T11" fmla="*/ 2147483647 h 51"/>
                <a:gd name="T12" fmla="*/ 2147483647 w 66"/>
                <a:gd name="T13" fmla="*/ 2147483647 h 51"/>
                <a:gd name="T14" fmla="*/ 2147483647 w 66"/>
                <a:gd name="T15" fmla="*/ 2147483647 h 51"/>
                <a:gd name="T16" fmla="*/ 2147483647 w 66"/>
                <a:gd name="T17" fmla="*/ 2147483647 h 51"/>
                <a:gd name="T18" fmla="*/ 0 w 66"/>
                <a:gd name="T19" fmla="*/ 2147483647 h 51"/>
                <a:gd name="T20" fmla="*/ 0 w 66"/>
                <a:gd name="T21" fmla="*/ 2147483647 h 51"/>
                <a:gd name="T22" fmla="*/ 2147483647 w 66"/>
                <a:gd name="T23" fmla="*/ 2147483647 h 51"/>
                <a:gd name="T24" fmla="*/ 2147483647 w 66"/>
                <a:gd name="T25" fmla="*/ 2147483647 h 51"/>
                <a:gd name="T26" fmla="*/ 2147483647 w 66"/>
                <a:gd name="T27" fmla="*/ 2147483647 h 51"/>
                <a:gd name="T28" fmla="*/ 2147483647 w 66"/>
                <a:gd name="T29" fmla="*/ 2147483647 h 51"/>
                <a:gd name="T30" fmla="*/ 2147483647 w 66"/>
                <a:gd name="T31" fmla="*/ 2147483647 h 51"/>
                <a:gd name="T32" fmla="*/ 2147483647 w 66"/>
                <a:gd name="T33" fmla="*/ 0 h 51"/>
                <a:gd name="T34" fmla="*/ 2147483647 w 66"/>
                <a:gd name="T35" fmla="*/ 2147483647 h 51"/>
                <a:gd name="T36" fmla="*/ 2147483647 w 66"/>
                <a:gd name="T37" fmla="*/ 2147483647 h 51"/>
                <a:gd name="T38" fmla="*/ 2147483647 w 66"/>
                <a:gd name="T39" fmla="*/ 2147483647 h 51"/>
                <a:gd name="T40" fmla="*/ 2147483647 w 66"/>
                <a:gd name="T41" fmla="*/ 0 h 51"/>
                <a:gd name="T42" fmla="*/ 2147483647 w 66"/>
                <a:gd name="T43" fmla="*/ 2147483647 h 51"/>
                <a:gd name="T44" fmla="*/ 2147483647 w 66"/>
                <a:gd name="T45" fmla="*/ 2147483647 h 51"/>
                <a:gd name="T46" fmla="*/ 2147483647 w 66"/>
                <a:gd name="T47" fmla="*/ 2147483647 h 51"/>
                <a:gd name="T48" fmla="*/ 2147483647 w 66"/>
                <a:gd name="T49" fmla="*/ 2147483647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6"/>
                <a:gd name="T76" fmla="*/ 0 h 51"/>
                <a:gd name="T77" fmla="*/ 66 w 66"/>
                <a:gd name="T78" fmla="*/ 51 h 5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9" name="Freeform 246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5952247" y="2566438"/>
              <a:ext cx="46286" cy="52134"/>
            </a:xfrm>
            <a:custGeom>
              <a:avLst/>
              <a:gdLst>
                <a:gd name="T0" fmla="*/ 0 w 113"/>
                <a:gd name="T1" fmla="*/ 2147483647 h 74"/>
                <a:gd name="T2" fmla="*/ 2147483647 w 113"/>
                <a:gd name="T3" fmla="*/ 2147483647 h 74"/>
                <a:gd name="T4" fmla="*/ 2147483647 w 113"/>
                <a:gd name="T5" fmla="*/ 2147483647 h 74"/>
                <a:gd name="T6" fmla="*/ 2147483647 w 113"/>
                <a:gd name="T7" fmla="*/ 2147483647 h 74"/>
                <a:gd name="T8" fmla="*/ 2147483647 w 113"/>
                <a:gd name="T9" fmla="*/ 2147483647 h 74"/>
                <a:gd name="T10" fmla="*/ 2147483647 w 113"/>
                <a:gd name="T11" fmla="*/ 2147483647 h 74"/>
                <a:gd name="T12" fmla="*/ 2147483647 w 113"/>
                <a:gd name="T13" fmla="*/ 2147483647 h 74"/>
                <a:gd name="T14" fmla="*/ 2147483647 w 113"/>
                <a:gd name="T15" fmla="*/ 2147483647 h 74"/>
                <a:gd name="T16" fmla="*/ 2147483647 w 113"/>
                <a:gd name="T17" fmla="*/ 2147483647 h 74"/>
                <a:gd name="T18" fmla="*/ 2147483647 w 113"/>
                <a:gd name="T19" fmla="*/ 2147483647 h 74"/>
                <a:gd name="T20" fmla="*/ 2147483647 w 113"/>
                <a:gd name="T21" fmla="*/ 2147483647 h 74"/>
                <a:gd name="T22" fmla="*/ 2147483647 w 113"/>
                <a:gd name="T23" fmla="*/ 2147483647 h 74"/>
                <a:gd name="T24" fmla="*/ 2147483647 w 113"/>
                <a:gd name="T25" fmla="*/ 2147483647 h 74"/>
                <a:gd name="T26" fmla="*/ 2147483647 w 113"/>
                <a:gd name="T27" fmla="*/ 2147483647 h 74"/>
                <a:gd name="T28" fmla="*/ 2147483647 w 113"/>
                <a:gd name="T29" fmla="*/ 2147483647 h 74"/>
                <a:gd name="T30" fmla="*/ 2147483647 w 113"/>
                <a:gd name="T31" fmla="*/ 2147483647 h 74"/>
                <a:gd name="T32" fmla="*/ 2147483647 w 113"/>
                <a:gd name="T33" fmla="*/ 2147483647 h 74"/>
                <a:gd name="T34" fmla="*/ 2147483647 w 113"/>
                <a:gd name="T35" fmla="*/ 2147483647 h 74"/>
                <a:gd name="T36" fmla="*/ 2147483647 w 113"/>
                <a:gd name="T37" fmla="*/ 2147483647 h 74"/>
                <a:gd name="T38" fmla="*/ 2147483647 w 113"/>
                <a:gd name="T39" fmla="*/ 0 h 74"/>
                <a:gd name="T40" fmla="*/ 2147483647 w 113"/>
                <a:gd name="T41" fmla="*/ 2147483647 h 74"/>
                <a:gd name="T42" fmla="*/ 2147483647 w 113"/>
                <a:gd name="T43" fmla="*/ 2147483647 h 74"/>
                <a:gd name="T44" fmla="*/ 2147483647 w 113"/>
                <a:gd name="T45" fmla="*/ 2147483647 h 74"/>
                <a:gd name="T46" fmla="*/ 2147483647 w 113"/>
                <a:gd name="T47" fmla="*/ 2147483647 h 74"/>
                <a:gd name="T48" fmla="*/ 2147483647 w 113"/>
                <a:gd name="T49" fmla="*/ 2147483647 h 74"/>
                <a:gd name="T50" fmla="*/ 0 w 113"/>
                <a:gd name="T51" fmla="*/ 2147483647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13"/>
                <a:gd name="T79" fmla="*/ 0 h 74"/>
                <a:gd name="T80" fmla="*/ 113 w 113"/>
                <a:gd name="T81" fmla="*/ 74 h 7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0" name="Freeform 247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5594979" y="3289067"/>
              <a:ext cx="296517" cy="223016"/>
            </a:xfrm>
            <a:custGeom>
              <a:avLst/>
              <a:gdLst>
                <a:gd name="T0" fmla="*/ 2147483647 w 746"/>
                <a:gd name="T1" fmla="*/ 2147483647 h 469"/>
                <a:gd name="T2" fmla="*/ 2147483647 w 746"/>
                <a:gd name="T3" fmla="*/ 2147483647 h 469"/>
                <a:gd name="T4" fmla="*/ 2147483647 w 746"/>
                <a:gd name="T5" fmla="*/ 2147483647 h 469"/>
                <a:gd name="T6" fmla="*/ 2147483647 w 746"/>
                <a:gd name="T7" fmla="*/ 2147483647 h 469"/>
                <a:gd name="T8" fmla="*/ 0 w 746"/>
                <a:gd name="T9" fmla="*/ 2147483647 h 469"/>
                <a:gd name="T10" fmla="*/ 2147483647 w 746"/>
                <a:gd name="T11" fmla="*/ 2147483647 h 469"/>
                <a:gd name="T12" fmla="*/ 2147483647 w 746"/>
                <a:gd name="T13" fmla="*/ 2147483647 h 469"/>
                <a:gd name="T14" fmla="*/ 2147483647 w 746"/>
                <a:gd name="T15" fmla="*/ 2147483647 h 469"/>
                <a:gd name="T16" fmla="*/ 2147483647 w 746"/>
                <a:gd name="T17" fmla="*/ 2147483647 h 469"/>
                <a:gd name="T18" fmla="*/ 2147483647 w 746"/>
                <a:gd name="T19" fmla="*/ 2147483647 h 469"/>
                <a:gd name="T20" fmla="*/ 2147483647 w 746"/>
                <a:gd name="T21" fmla="*/ 2147483647 h 469"/>
                <a:gd name="T22" fmla="*/ 2147483647 w 746"/>
                <a:gd name="T23" fmla="*/ 2147483647 h 469"/>
                <a:gd name="T24" fmla="*/ 2147483647 w 746"/>
                <a:gd name="T25" fmla="*/ 2147483647 h 469"/>
                <a:gd name="T26" fmla="*/ 2147483647 w 746"/>
                <a:gd name="T27" fmla="*/ 2147483647 h 469"/>
                <a:gd name="T28" fmla="*/ 2147483647 w 746"/>
                <a:gd name="T29" fmla="*/ 2147483647 h 469"/>
                <a:gd name="T30" fmla="*/ 2147483647 w 746"/>
                <a:gd name="T31" fmla="*/ 2147483647 h 469"/>
                <a:gd name="T32" fmla="*/ 2147483647 w 746"/>
                <a:gd name="T33" fmla="*/ 2147483647 h 469"/>
                <a:gd name="T34" fmla="*/ 2147483647 w 746"/>
                <a:gd name="T35" fmla="*/ 2147483647 h 469"/>
                <a:gd name="T36" fmla="*/ 2147483647 w 746"/>
                <a:gd name="T37" fmla="*/ 2147483647 h 469"/>
                <a:gd name="T38" fmla="*/ 2147483647 w 746"/>
                <a:gd name="T39" fmla="*/ 0 h 469"/>
                <a:gd name="T40" fmla="*/ 2147483647 w 746"/>
                <a:gd name="T41" fmla="*/ 2147483647 h 469"/>
                <a:gd name="T42" fmla="*/ 2147483647 w 746"/>
                <a:gd name="T43" fmla="*/ 2147483647 h 469"/>
                <a:gd name="T44" fmla="*/ 2147483647 w 746"/>
                <a:gd name="T45" fmla="*/ 2147483647 h 469"/>
                <a:gd name="T46" fmla="*/ 2147483647 w 746"/>
                <a:gd name="T47" fmla="*/ 2147483647 h 469"/>
                <a:gd name="T48" fmla="*/ 2147483647 w 746"/>
                <a:gd name="T49" fmla="*/ 2147483647 h 469"/>
                <a:gd name="T50" fmla="*/ 2147483647 w 746"/>
                <a:gd name="T51" fmla="*/ 2147483647 h 469"/>
                <a:gd name="T52" fmla="*/ 2147483647 w 746"/>
                <a:gd name="T53" fmla="*/ 2147483647 h 469"/>
                <a:gd name="T54" fmla="*/ 2147483647 w 746"/>
                <a:gd name="T55" fmla="*/ 2147483647 h 469"/>
                <a:gd name="T56" fmla="*/ 2147483647 w 746"/>
                <a:gd name="T57" fmla="*/ 2147483647 h 469"/>
                <a:gd name="T58" fmla="*/ 2147483647 w 746"/>
                <a:gd name="T59" fmla="*/ 2147483647 h 469"/>
                <a:gd name="T60" fmla="*/ 2147483647 w 746"/>
                <a:gd name="T61" fmla="*/ 2147483647 h 469"/>
                <a:gd name="T62" fmla="*/ 2147483647 w 746"/>
                <a:gd name="T63" fmla="*/ 2147483647 h 469"/>
                <a:gd name="T64" fmla="*/ 2147483647 w 746"/>
                <a:gd name="T65" fmla="*/ 2147483647 h 469"/>
                <a:gd name="T66" fmla="*/ 2147483647 w 746"/>
                <a:gd name="T67" fmla="*/ 2147483647 h 469"/>
                <a:gd name="T68" fmla="*/ 2147483647 w 746"/>
                <a:gd name="T69" fmla="*/ 2147483647 h 469"/>
                <a:gd name="T70" fmla="*/ 2147483647 w 746"/>
                <a:gd name="T71" fmla="*/ 2147483647 h 469"/>
                <a:gd name="T72" fmla="*/ 2147483647 w 746"/>
                <a:gd name="T73" fmla="*/ 2147483647 h 469"/>
                <a:gd name="T74" fmla="*/ 2147483647 w 746"/>
                <a:gd name="T75" fmla="*/ 2147483647 h 469"/>
                <a:gd name="T76" fmla="*/ 2147483647 w 746"/>
                <a:gd name="T77" fmla="*/ 2147483647 h 469"/>
                <a:gd name="T78" fmla="*/ 2147483647 w 746"/>
                <a:gd name="T79" fmla="*/ 2147483647 h 469"/>
                <a:gd name="T80" fmla="*/ 2147483647 w 746"/>
                <a:gd name="T81" fmla="*/ 2147483647 h 469"/>
                <a:gd name="T82" fmla="*/ 2147483647 w 746"/>
                <a:gd name="T83" fmla="*/ 2147483647 h 469"/>
                <a:gd name="T84" fmla="*/ 2147483647 w 746"/>
                <a:gd name="T85" fmla="*/ 2147483647 h 469"/>
                <a:gd name="T86" fmla="*/ 2147483647 w 746"/>
                <a:gd name="T87" fmla="*/ 2147483647 h 469"/>
                <a:gd name="T88" fmla="*/ 2147483647 w 746"/>
                <a:gd name="T89" fmla="*/ 2147483647 h 469"/>
                <a:gd name="T90" fmla="*/ 2147483647 w 746"/>
                <a:gd name="T91" fmla="*/ 2147483647 h 469"/>
                <a:gd name="T92" fmla="*/ 2147483647 w 746"/>
                <a:gd name="T93" fmla="*/ 2147483647 h 469"/>
                <a:gd name="T94" fmla="*/ 2147483647 w 746"/>
                <a:gd name="T95" fmla="*/ 2147483647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46"/>
                <a:gd name="T145" fmla="*/ 0 h 469"/>
                <a:gd name="T146" fmla="*/ 746 w 746"/>
                <a:gd name="T147" fmla="*/ 469 h 46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chemeClr val="bg2">
                <a:lumMod val="9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1" name="Freeform 248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5537122" y="3442571"/>
              <a:ext cx="455625" cy="503957"/>
            </a:xfrm>
            <a:custGeom>
              <a:avLst/>
              <a:gdLst>
                <a:gd name="T0" fmla="*/ 2147483647 w 1145"/>
                <a:gd name="T1" fmla="*/ 2147483647 h 1053"/>
                <a:gd name="T2" fmla="*/ 2147483647 w 1145"/>
                <a:gd name="T3" fmla="*/ 2147483647 h 1053"/>
                <a:gd name="T4" fmla="*/ 2147483647 w 1145"/>
                <a:gd name="T5" fmla="*/ 2147483647 h 1053"/>
                <a:gd name="T6" fmla="*/ 2147483647 w 1145"/>
                <a:gd name="T7" fmla="*/ 2147483647 h 1053"/>
                <a:gd name="T8" fmla="*/ 2147483647 w 1145"/>
                <a:gd name="T9" fmla="*/ 2147483647 h 1053"/>
                <a:gd name="T10" fmla="*/ 2147483647 w 1145"/>
                <a:gd name="T11" fmla="*/ 2147483647 h 1053"/>
                <a:gd name="T12" fmla="*/ 2147483647 w 1145"/>
                <a:gd name="T13" fmla="*/ 2147483647 h 1053"/>
                <a:gd name="T14" fmla="*/ 2147483647 w 1145"/>
                <a:gd name="T15" fmla="*/ 2147483647 h 1053"/>
                <a:gd name="T16" fmla="*/ 2147483647 w 1145"/>
                <a:gd name="T17" fmla="*/ 2147483647 h 1053"/>
                <a:gd name="T18" fmla="*/ 2147483647 w 1145"/>
                <a:gd name="T19" fmla="*/ 2147483647 h 1053"/>
                <a:gd name="T20" fmla="*/ 2147483647 w 1145"/>
                <a:gd name="T21" fmla="*/ 2147483647 h 1053"/>
                <a:gd name="T22" fmla="*/ 2147483647 w 1145"/>
                <a:gd name="T23" fmla="*/ 2147483647 h 1053"/>
                <a:gd name="T24" fmla="*/ 2147483647 w 1145"/>
                <a:gd name="T25" fmla="*/ 2147483647 h 1053"/>
                <a:gd name="T26" fmla="*/ 2147483647 w 1145"/>
                <a:gd name="T27" fmla="*/ 2147483647 h 1053"/>
                <a:gd name="T28" fmla="*/ 2147483647 w 1145"/>
                <a:gd name="T29" fmla="*/ 2147483647 h 1053"/>
                <a:gd name="T30" fmla="*/ 2147483647 w 1145"/>
                <a:gd name="T31" fmla="*/ 2147483647 h 1053"/>
                <a:gd name="T32" fmla="*/ 2147483647 w 1145"/>
                <a:gd name="T33" fmla="*/ 2147483647 h 1053"/>
                <a:gd name="T34" fmla="*/ 2147483647 w 1145"/>
                <a:gd name="T35" fmla="*/ 2147483647 h 1053"/>
                <a:gd name="T36" fmla="*/ 2147483647 w 1145"/>
                <a:gd name="T37" fmla="*/ 2147483647 h 1053"/>
                <a:gd name="T38" fmla="*/ 2147483647 w 1145"/>
                <a:gd name="T39" fmla="*/ 2147483647 h 1053"/>
                <a:gd name="T40" fmla="*/ 2147483647 w 1145"/>
                <a:gd name="T41" fmla="*/ 2147483647 h 1053"/>
                <a:gd name="T42" fmla="*/ 2147483647 w 1145"/>
                <a:gd name="T43" fmla="*/ 2147483647 h 1053"/>
                <a:gd name="T44" fmla="*/ 2147483647 w 1145"/>
                <a:gd name="T45" fmla="*/ 2147483647 h 1053"/>
                <a:gd name="T46" fmla="*/ 2147483647 w 1145"/>
                <a:gd name="T47" fmla="*/ 2147483647 h 1053"/>
                <a:gd name="T48" fmla="*/ 2147483647 w 1145"/>
                <a:gd name="T49" fmla="*/ 2147483647 h 1053"/>
                <a:gd name="T50" fmla="*/ 2147483647 w 1145"/>
                <a:gd name="T51" fmla="*/ 2147483647 h 1053"/>
                <a:gd name="T52" fmla="*/ 2147483647 w 1145"/>
                <a:gd name="T53" fmla="*/ 2147483647 h 1053"/>
                <a:gd name="T54" fmla="*/ 2147483647 w 1145"/>
                <a:gd name="T55" fmla="*/ 2147483647 h 1053"/>
                <a:gd name="T56" fmla="*/ 2147483647 w 1145"/>
                <a:gd name="T57" fmla="*/ 2147483647 h 1053"/>
                <a:gd name="T58" fmla="*/ 2147483647 w 1145"/>
                <a:gd name="T59" fmla="*/ 2147483647 h 1053"/>
                <a:gd name="T60" fmla="*/ 2147483647 w 1145"/>
                <a:gd name="T61" fmla="*/ 2147483647 h 1053"/>
                <a:gd name="T62" fmla="*/ 2147483647 w 1145"/>
                <a:gd name="T63" fmla="*/ 2147483647 h 1053"/>
                <a:gd name="T64" fmla="*/ 2147483647 w 1145"/>
                <a:gd name="T65" fmla="*/ 2147483647 h 1053"/>
                <a:gd name="T66" fmla="*/ 2147483647 w 1145"/>
                <a:gd name="T67" fmla="*/ 2147483647 h 1053"/>
                <a:gd name="T68" fmla="*/ 2147483647 w 1145"/>
                <a:gd name="T69" fmla="*/ 2147483647 h 1053"/>
                <a:gd name="T70" fmla="*/ 2147483647 w 1145"/>
                <a:gd name="T71" fmla="*/ 2147483647 h 1053"/>
                <a:gd name="T72" fmla="*/ 2147483647 w 1145"/>
                <a:gd name="T73" fmla="*/ 2147483647 h 1053"/>
                <a:gd name="T74" fmla="*/ 2147483647 w 1145"/>
                <a:gd name="T75" fmla="*/ 2147483647 h 1053"/>
                <a:gd name="T76" fmla="*/ 2147483647 w 1145"/>
                <a:gd name="T77" fmla="*/ 2147483647 h 1053"/>
                <a:gd name="T78" fmla="*/ 2147483647 w 1145"/>
                <a:gd name="T79" fmla="*/ 2147483647 h 1053"/>
                <a:gd name="T80" fmla="*/ 2147483647 w 1145"/>
                <a:gd name="T81" fmla="*/ 2147483647 h 1053"/>
                <a:gd name="T82" fmla="*/ 2147483647 w 1145"/>
                <a:gd name="T83" fmla="*/ 2147483647 h 1053"/>
                <a:gd name="T84" fmla="*/ 2147483647 w 1145"/>
                <a:gd name="T85" fmla="*/ 2147483647 h 1053"/>
                <a:gd name="T86" fmla="*/ 2147483647 w 1145"/>
                <a:gd name="T87" fmla="*/ 2147483647 h 1053"/>
                <a:gd name="T88" fmla="*/ 2147483647 w 1145"/>
                <a:gd name="T89" fmla="*/ 2147483647 h 1053"/>
                <a:gd name="T90" fmla="*/ 2147483647 w 1145"/>
                <a:gd name="T91" fmla="*/ 2147483647 h 1053"/>
                <a:gd name="T92" fmla="*/ 2147483647 w 1145"/>
                <a:gd name="T93" fmla="*/ 2147483647 h 1053"/>
                <a:gd name="T94" fmla="*/ 2147483647 w 1145"/>
                <a:gd name="T95" fmla="*/ 2147483647 h 1053"/>
                <a:gd name="T96" fmla="*/ 2147483647 w 1145"/>
                <a:gd name="T97" fmla="*/ 2147483647 h 1053"/>
                <a:gd name="T98" fmla="*/ 2147483647 w 1145"/>
                <a:gd name="T99" fmla="*/ 2147483647 h 1053"/>
                <a:gd name="T100" fmla="*/ 2147483647 w 1145"/>
                <a:gd name="T101" fmla="*/ 2147483647 h 1053"/>
                <a:gd name="T102" fmla="*/ 2147483647 w 1145"/>
                <a:gd name="T103" fmla="*/ 2147483647 h 1053"/>
                <a:gd name="T104" fmla="*/ 2147483647 w 1145"/>
                <a:gd name="T105" fmla="*/ 2147483647 h 1053"/>
                <a:gd name="T106" fmla="*/ 2147483647 w 1145"/>
                <a:gd name="T107" fmla="*/ 2147483647 h 1053"/>
                <a:gd name="T108" fmla="*/ 2147483647 w 1145"/>
                <a:gd name="T109" fmla="*/ 2147483647 h 1053"/>
                <a:gd name="T110" fmla="*/ 2147483647 w 1145"/>
                <a:gd name="T111" fmla="*/ 2147483647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145"/>
                <a:gd name="T169" fmla="*/ 0 h 1053"/>
                <a:gd name="T170" fmla="*/ 1145 w 1145"/>
                <a:gd name="T171" fmla="*/ 1053 h 105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92D05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2" name="Freeform 249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5479265" y="3533804"/>
              <a:ext cx="50625" cy="50686"/>
            </a:xfrm>
            <a:custGeom>
              <a:avLst/>
              <a:gdLst>
                <a:gd name="T0" fmla="*/ 2147483647 w 125"/>
                <a:gd name="T1" fmla="*/ 0 h 81"/>
                <a:gd name="T2" fmla="*/ 2147483647 w 125"/>
                <a:gd name="T3" fmla="*/ 2147483647 h 81"/>
                <a:gd name="T4" fmla="*/ 2147483647 w 125"/>
                <a:gd name="T5" fmla="*/ 2147483647 h 81"/>
                <a:gd name="T6" fmla="*/ 2147483647 w 125"/>
                <a:gd name="T7" fmla="*/ 2147483647 h 81"/>
                <a:gd name="T8" fmla="*/ 2147483647 w 125"/>
                <a:gd name="T9" fmla="*/ 2147483647 h 81"/>
                <a:gd name="T10" fmla="*/ 2147483647 w 125"/>
                <a:gd name="T11" fmla="*/ 2147483647 h 81"/>
                <a:gd name="T12" fmla="*/ 2147483647 w 125"/>
                <a:gd name="T13" fmla="*/ 2147483647 h 81"/>
                <a:gd name="T14" fmla="*/ 2147483647 w 125"/>
                <a:gd name="T15" fmla="*/ 2147483647 h 81"/>
                <a:gd name="T16" fmla="*/ 2147483647 w 125"/>
                <a:gd name="T17" fmla="*/ 2147483647 h 81"/>
                <a:gd name="T18" fmla="*/ 2147483647 w 125"/>
                <a:gd name="T19" fmla="*/ 2147483647 h 81"/>
                <a:gd name="T20" fmla="*/ 2147483647 w 125"/>
                <a:gd name="T21" fmla="*/ 2147483647 h 81"/>
                <a:gd name="T22" fmla="*/ 2147483647 w 125"/>
                <a:gd name="T23" fmla="*/ 2147483647 h 81"/>
                <a:gd name="T24" fmla="*/ 2147483647 w 125"/>
                <a:gd name="T25" fmla="*/ 2147483647 h 81"/>
                <a:gd name="T26" fmla="*/ 2147483647 w 125"/>
                <a:gd name="T27" fmla="*/ 2147483647 h 81"/>
                <a:gd name="T28" fmla="*/ 2147483647 w 125"/>
                <a:gd name="T29" fmla="*/ 2147483647 h 81"/>
                <a:gd name="T30" fmla="*/ 2147483647 w 125"/>
                <a:gd name="T31" fmla="*/ 2147483647 h 81"/>
                <a:gd name="T32" fmla="*/ 0 w 125"/>
                <a:gd name="T33" fmla="*/ 2147483647 h 81"/>
                <a:gd name="T34" fmla="*/ 0 w 125"/>
                <a:gd name="T35" fmla="*/ 2147483647 h 81"/>
                <a:gd name="T36" fmla="*/ 2147483647 w 125"/>
                <a:gd name="T37" fmla="*/ 2147483647 h 81"/>
                <a:gd name="T38" fmla="*/ 2147483647 w 125"/>
                <a:gd name="T39" fmla="*/ 2147483647 h 81"/>
                <a:gd name="T40" fmla="*/ 2147483647 w 125"/>
                <a:gd name="T41" fmla="*/ 2147483647 h 81"/>
                <a:gd name="T42" fmla="*/ 2147483647 w 125"/>
                <a:gd name="T43" fmla="*/ 2147483647 h 81"/>
                <a:gd name="T44" fmla="*/ 2147483647 w 125"/>
                <a:gd name="T45" fmla="*/ 2147483647 h 81"/>
                <a:gd name="T46" fmla="*/ 2147483647 w 125"/>
                <a:gd name="T47" fmla="*/ 2147483647 h 81"/>
                <a:gd name="T48" fmla="*/ 2147483647 w 125"/>
                <a:gd name="T49" fmla="*/ 0 h 81"/>
                <a:gd name="T50" fmla="*/ 2147483647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5"/>
                <a:gd name="T79" fmla="*/ 0 h 81"/>
                <a:gd name="T80" fmla="*/ 125 w 125"/>
                <a:gd name="T81" fmla="*/ 81 h 8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3" name="Freeform 250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5463354" y="3533804"/>
              <a:ext cx="138857" cy="183916"/>
            </a:xfrm>
            <a:custGeom>
              <a:avLst/>
              <a:gdLst>
                <a:gd name="T0" fmla="*/ 2147483647 w 355"/>
                <a:gd name="T1" fmla="*/ 2147483647 h 388"/>
                <a:gd name="T2" fmla="*/ 2147483647 w 355"/>
                <a:gd name="T3" fmla="*/ 2147483647 h 388"/>
                <a:gd name="T4" fmla="*/ 2147483647 w 355"/>
                <a:gd name="T5" fmla="*/ 2147483647 h 388"/>
                <a:gd name="T6" fmla="*/ 2147483647 w 355"/>
                <a:gd name="T7" fmla="*/ 2147483647 h 388"/>
                <a:gd name="T8" fmla="*/ 2147483647 w 355"/>
                <a:gd name="T9" fmla="*/ 2147483647 h 388"/>
                <a:gd name="T10" fmla="*/ 2147483647 w 355"/>
                <a:gd name="T11" fmla="*/ 2147483647 h 388"/>
                <a:gd name="T12" fmla="*/ 2147483647 w 355"/>
                <a:gd name="T13" fmla="*/ 2147483647 h 388"/>
                <a:gd name="T14" fmla="*/ 2147483647 w 355"/>
                <a:gd name="T15" fmla="*/ 2147483647 h 388"/>
                <a:gd name="T16" fmla="*/ 2147483647 w 355"/>
                <a:gd name="T17" fmla="*/ 2147483647 h 388"/>
                <a:gd name="T18" fmla="*/ 2147483647 w 355"/>
                <a:gd name="T19" fmla="*/ 2147483647 h 388"/>
                <a:gd name="T20" fmla="*/ 2147483647 w 355"/>
                <a:gd name="T21" fmla="*/ 2147483647 h 388"/>
                <a:gd name="T22" fmla="*/ 2147483647 w 355"/>
                <a:gd name="T23" fmla="*/ 2147483647 h 388"/>
                <a:gd name="T24" fmla="*/ 2147483647 w 355"/>
                <a:gd name="T25" fmla="*/ 2147483647 h 388"/>
                <a:gd name="T26" fmla="*/ 2147483647 w 355"/>
                <a:gd name="T27" fmla="*/ 2147483647 h 388"/>
                <a:gd name="T28" fmla="*/ 2147483647 w 355"/>
                <a:gd name="T29" fmla="*/ 2147483647 h 388"/>
                <a:gd name="T30" fmla="*/ 2147483647 w 355"/>
                <a:gd name="T31" fmla="*/ 2147483647 h 388"/>
                <a:gd name="T32" fmla="*/ 2147483647 w 355"/>
                <a:gd name="T33" fmla="*/ 2147483647 h 388"/>
                <a:gd name="T34" fmla="*/ 2147483647 w 355"/>
                <a:gd name="T35" fmla="*/ 2147483647 h 388"/>
                <a:gd name="T36" fmla="*/ 2147483647 w 355"/>
                <a:gd name="T37" fmla="*/ 2147483647 h 388"/>
                <a:gd name="T38" fmla="*/ 2147483647 w 355"/>
                <a:gd name="T39" fmla="*/ 2147483647 h 388"/>
                <a:gd name="T40" fmla="*/ 2147483647 w 355"/>
                <a:gd name="T41" fmla="*/ 2147483647 h 388"/>
                <a:gd name="T42" fmla="*/ 2147483647 w 355"/>
                <a:gd name="T43" fmla="*/ 2147483647 h 388"/>
                <a:gd name="T44" fmla="*/ 2147483647 w 355"/>
                <a:gd name="T45" fmla="*/ 2147483647 h 388"/>
                <a:gd name="T46" fmla="*/ 2147483647 w 355"/>
                <a:gd name="T47" fmla="*/ 2147483647 h 388"/>
                <a:gd name="T48" fmla="*/ 2147483647 w 355"/>
                <a:gd name="T49" fmla="*/ 2147483647 h 388"/>
                <a:gd name="T50" fmla="*/ 2147483647 w 355"/>
                <a:gd name="T51" fmla="*/ 2147483647 h 388"/>
                <a:gd name="T52" fmla="*/ 2147483647 w 355"/>
                <a:gd name="T53" fmla="*/ 2147483647 h 388"/>
                <a:gd name="T54" fmla="*/ 2147483647 w 355"/>
                <a:gd name="T55" fmla="*/ 2147483647 h 388"/>
                <a:gd name="T56" fmla="*/ 2147483647 w 355"/>
                <a:gd name="T57" fmla="*/ 2147483647 h 388"/>
                <a:gd name="T58" fmla="*/ 2147483647 w 355"/>
                <a:gd name="T59" fmla="*/ 2147483647 h 388"/>
                <a:gd name="T60" fmla="*/ 2147483647 w 355"/>
                <a:gd name="T61" fmla="*/ 2147483647 h 388"/>
                <a:gd name="T62" fmla="*/ 2147483647 w 355"/>
                <a:gd name="T63" fmla="*/ 2147483647 h 388"/>
                <a:gd name="T64" fmla="*/ 2147483647 w 355"/>
                <a:gd name="T65" fmla="*/ 2147483647 h 388"/>
                <a:gd name="T66" fmla="*/ 2147483647 w 355"/>
                <a:gd name="T67" fmla="*/ 2147483647 h 388"/>
                <a:gd name="T68" fmla="*/ 2147483647 w 355"/>
                <a:gd name="T69" fmla="*/ 2147483647 h 388"/>
                <a:gd name="T70" fmla="*/ 2147483647 w 355"/>
                <a:gd name="T71" fmla="*/ 2147483647 h 388"/>
                <a:gd name="T72" fmla="*/ 2147483647 w 355"/>
                <a:gd name="T73" fmla="*/ 2147483647 h 388"/>
                <a:gd name="T74" fmla="*/ 2147483647 w 355"/>
                <a:gd name="T75" fmla="*/ 2147483647 h 388"/>
                <a:gd name="T76" fmla="*/ 2147483647 w 355"/>
                <a:gd name="T77" fmla="*/ 2147483647 h 388"/>
                <a:gd name="T78" fmla="*/ 2147483647 w 355"/>
                <a:gd name="T79" fmla="*/ 2147483647 h 388"/>
                <a:gd name="T80" fmla="*/ 2147483647 w 355"/>
                <a:gd name="T81" fmla="*/ 2147483647 h 388"/>
                <a:gd name="T82" fmla="*/ 2147483647 w 355"/>
                <a:gd name="T83" fmla="*/ 2147483647 h 388"/>
                <a:gd name="T84" fmla="*/ 2147483647 w 355"/>
                <a:gd name="T85" fmla="*/ 2147483647 h 388"/>
                <a:gd name="T86" fmla="*/ 2147483647 w 355"/>
                <a:gd name="T87" fmla="*/ 2147483647 h 388"/>
                <a:gd name="T88" fmla="*/ 2147483647 w 355"/>
                <a:gd name="T89" fmla="*/ 2147483647 h 388"/>
                <a:gd name="T90" fmla="*/ 2147483647 w 355"/>
                <a:gd name="T91" fmla="*/ 2147483647 h 388"/>
                <a:gd name="T92" fmla="*/ 2147483647 w 355"/>
                <a:gd name="T93" fmla="*/ 2147483647 h 388"/>
                <a:gd name="T94" fmla="*/ 2147483647 w 355"/>
                <a:gd name="T95" fmla="*/ 2147483647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55"/>
                <a:gd name="T145" fmla="*/ 0 h 388"/>
                <a:gd name="T146" fmla="*/ 355 w 355"/>
                <a:gd name="T147" fmla="*/ 388 h 38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5" name="Freeform 252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5707801" y="4121755"/>
              <a:ext cx="216964" cy="262116"/>
            </a:xfrm>
            <a:custGeom>
              <a:avLst/>
              <a:gdLst>
                <a:gd name="T0" fmla="*/ 2147483647 w 545"/>
                <a:gd name="T1" fmla="*/ 2147483647 h 549"/>
                <a:gd name="T2" fmla="*/ 2147483647 w 545"/>
                <a:gd name="T3" fmla="*/ 2147483647 h 549"/>
                <a:gd name="T4" fmla="*/ 2147483647 w 545"/>
                <a:gd name="T5" fmla="*/ 2147483647 h 549"/>
                <a:gd name="T6" fmla="*/ 2147483647 w 545"/>
                <a:gd name="T7" fmla="*/ 2147483647 h 549"/>
                <a:gd name="T8" fmla="*/ 2147483647 w 545"/>
                <a:gd name="T9" fmla="*/ 2147483647 h 549"/>
                <a:gd name="T10" fmla="*/ 2147483647 w 545"/>
                <a:gd name="T11" fmla="*/ 2147483647 h 549"/>
                <a:gd name="T12" fmla="*/ 2147483647 w 545"/>
                <a:gd name="T13" fmla="*/ 2147483647 h 549"/>
                <a:gd name="T14" fmla="*/ 2147483647 w 545"/>
                <a:gd name="T15" fmla="*/ 2147483647 h 549"/>
                <a:gd name="T16" fmla="*/ 2147483647 w 545"/>
                <a:gd name="T17" fmla="*/ 2147483647 h 549"/>
                <a:gd name="T18" fmla="*/ 2147483647 w 545"/>
                <a:gd name="T19" fmla="*/ 2147483647 h 549"/>
                <a:gd name="T20" fmla="*/ 2147483647 w 545"/>
                <a:gd name="T21" fmla="*/ 2147483647 h 549"/>
                <a:gd name="T22" fmla="*/ 2147483647 w 545"/>
                <a:gd name="T23" fmla="*/ 2147483647 h 549"/>
                <a:gd name="T24" fmla="*/ 2147483647 w 545"/>
                <a:gd name="T25" fmla="*/ 2147483647 h 549"/>
                <a:gd name="T26" fmla="*/ 2147483647 w 545"/>
                <a:gd name="T27" fmla="*/ 2147483647 h 549"/>
                <a:gd name="T28" fmla="*/ 2147483647 w 545"/>
                <a:gd name="T29" fmla="*/ 2147483647 h 549"/>
                <a:gd name="T30" fmla="*/ 2147483647 w 545"/>
                <a:gd name="T31" fmla="*/ 2147483647 h 549"/>
                <a:gd name="T32" fmla="*/ 2147483647 w 545"/>
                <a:gd name="T33" fmla="*/ 2147483647 h 549"/>
                <a:gd name="T34" fmla="*/ 2147483647 w 545"/>
                <a:gd name="T35" fmla="*/ 2147483647 h 549"/>
                <a:gd name="T36" fmla="*/ 2147483647 w 545"/>
                <a:gd name="T37" fmla="*/ 2147483647 h 549"/>
                <a:gd name="T38" fmla="*/ 2147483647 w 545"/>
                <a:gd name="T39" fmla="*/ 2147483647 h 549"/>
                <a:gd name="T40" fmla="*/ 2147483647 w 545"/>
                <a:gd name="T41" fmla="*/ 2147483647 h 549"/>
                <a:gd name="T42" fmla="*/ 2147483647 w 545"/>
                <a:gd name="T43" fmla="*/ 2147483647 h 549"/>
                <a:gd name="T44" fmla="*/ 2147483647 w 545"/>
                <a:gd name="T45" fmla="*/ 2147483647 h 549"/>
                <a:gd name="T46" fmla="*/ 2147483647 w 545"/>
                <a:gd name="T47" fmla="*/ 2147483647 h 549"/>
                <a:gd name="T48" fmla="*/ 2147483647 w 545"/>
                <a:gd name="T49" fmla="*/ 2147483647 h 549"/>
                <a:gd name="T50" fmla="*/ 2147483647 w 545"/>
                <a:gd name="T51" fmla="*/ 2147483647 h 549"/>
                <a:gd name="T52" fmla="*/ 2147483647 w 545"/>
                <a:gd name="T53" fmla="*/ 2147483647 h 549"/>
                <a:gd name="T54" fmla="*/ 2147483647 w 545"/>
                <a:gd name="T55" fmla="*/ 2147483647 h 549"/>
                <a:gd name="T56" fmla="*/ 2147483647 w 545"/>
                <a:gd name="T57" fmla="*/ 2147483647 h 549"/>
                <a:gd name="T58" fmla="*/ 2147483647 w 545"/>
                <a:gd name="T59" fmla="*/ 2147483647 h 549"/>
                <a:gd name="T60" fmla="*/ 2147483647 w 545"/>
                <a:gd name="T61" fmla="*/ 2147483647 h 549"/>
                <a:gd name="T62" fmla="*/ 2147483647 w 545"/>
                <a:gd name="T63" fmla="*/ 2147483647 h 549"/>
                <a:gd name="T64" fmla="*/ 2147483647 w 545"/>
                <a:gd name="T65" fmla="*/ 0 h 549"/>
                <a:gd name="T66" fmla="*/ 2147483647 w 545"/>
                <a:gd name="T67" fmla="*/ 2147483647 h 549"/>
                <a:gd name="T68" fmla="*/ 2147483647 w 545"/>
                <a:gd name="T69" fmla="*/ 2147483647 h 549"/>
                <a:gd name="T70" fmla="*/ 2147483647 w 545"/>
                <a:gd name="T71" fmla="*/ 2147483647 h 549"/>
                <a:gd name="T72" fmla="*/ 2147483647 w 545"/>
                <a:gd name="T73" fmla="*/ 2147483647 h 549"/>
                <a:gd name="T74" fmla="*/ 2147483647 w 545"/>
                <a:gd name="T75" fmla="*/ 2147483647 h 549"/>
                <a:gd name="T76" fmla="*/ 2147483647 w 545"/>
                <a:gd name="T77" fmla="*/ 2147483647 h 549"/>
                <a:gd name="T78" fmla="*/ 2147483647 w 545"/>
                <a:gd name="T79" fmla="*/ 2147483647 h 549"/>
                <a:gd name="T80" fmla="*/ 2147483647 w 545"/>
                <a:gd name="T81" fmla="*/ 2147483647 h 549"/>
                <a:gd name="T82" fmla="*/ 2147483647 w 545"/>
                <a:gd name="T83" fmla="*/ 2147483647 h 549"/>
                <a:gd name="T84" fmla="*/ 2147483647 w 545"/>
                <a:gd name="T85" fmla="*/ 2147483647 h 549"/>
                <a:gd name="T86" fmla="*/ 2147483647 w 545"/>
                <a:gd name="T87" fmla="*/ 2147483647 h 549"/>
                <a:gd name="T88" fmla="*/ 2147483647 w 545"/>
                <a:gd name="T89" fmla="*/ 2147483647 h 549"/>
                <a:gd name="T90" fmla="*/ 2147483647 w 545"/>
                <a:gd name="T91" fmla="*/ 2147483647 h 549"/>
                <a:gd name="T92" fmla="*/ 2147483647 w 545"/>
                <a:gd name="T93" fmla="*/ 2147483647 h 549"/>
                <a:gd name="T94" fmla="*/ 2147483647 w 545"/>
                <a:gd name="T95" fmla="*/ 2147483647 h 549"/>
                <a:gd name="T96" fmla="*/ 2147483647 w 545"/>
                <a:gd name="T97" fmla="*/ 2147483647 h 549"/>
                <a:gd name="T98" fmla="*/ 0 w 545"/>
                <a:gd name="T99" fmla="*/ 2147483647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545"/>
                <a:gd name="T151" fmla="*/ 0 h 549"/>
                <a:gd name="T152" fmla="*/ 545 w 545"/>
                <a:gd name="T153" fmla="*/ 549 h 549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6" name="Freeform 253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6229961" y="3940736"/>
              <a:ext cx="179357" cy="396794"/>
            </a:xfrm>
            <a:custGeom>
              <a:avLst/>
              <a:gdLst>
                <a:gd name="T0" fmla="*/ 2147483647 w 452"/>
                <a:gd name="T1" fmla="*/ 2147483647 h 832"/>
                <a:gd name="T2" fmla="*/ 2147483647 w 452"/>
                <a:gd name="T3" fmla="*/ 2147483647 h 832"/>
                <a:gd name="T4" fmla="*/ 2147483647 w 452"/>
                <a:gd name="T5" fmla="*/ 2147483647 h 832"/>
                <a:gd name="T6" fmla="*/ 2147483647 w 452"/>
                <a:gd name="T7" fmla="*/ 2147483647 h 832"/>
                <a:gd name="T8" fmla="*/ 2147483647 w 452"/>
                <a:gd name="T9" fmla="*/ 2147483647 h 832"/>
                <a:gd name="T10" fmla="*/ 2147483647 w 452"/>
                <a:gd name="T11" fmla="*/ 2147483647 h 832"/>
                <a:gd name="T12" fmla="*/ 2147483647 w 452"/>
                <a:gd name="T13" fmla="*/ 2147483647 h 832"/>
                <a:gd name="T14" fmla="*/ 2147483647 w 452"/>
                <a:gd name="T15" fmla="*/ 2147483647 h 832"/>
                <a:gd name="T16" fmla="*/ 2147483647 w 452"/>
                <a:gd name="T17" fmla="*/ 2147483647 h 832"/>
                <a:gd name="T18" fmla="*/ 2147483647 w 452"/>
                <a:gd name="T19" fmla="*/ 2147483647 h 832"/>
                <a:gd name="T20" fmla="*/ 2147483647 w 452"/>
                <a:gd name="T21" fmla="*/ 2147483647 h 832"/>
                <a:gd name="T22" fmla="*/ 2147483647 w 452"/>
                <a:gd name="T23" fmla="*/ 2147483647 h 832"/>
                <a:gd name="T24" fmla="*/ 2147483647 w 452"/>
                <a:gd name="T25" fmla="*/ 0 h 832"/>
                <a:gd name="T26" fmla="*/ 2147483647 w 452"/>
                <a:gd name="T27" fmla="*/ 2147483647 h 832"/>
                <a:gd name="T28" fmla="*/ 2147483647 w 452"/>
                <a:gd name="T29" fmla="*/ 2147483647 h 832"/>
                <a:gd name="T30" fmla="*/ 2147483647 w 452"/>
                <a:gd name="T31" fmla="*/ 2147483647 h 832"/>
                <a:gd name="T32" fmla="*/ 2147483647 w 452"/>
                <a:gd name="T33" fmla="*/ 2147483647 h 832"/>
                <a:gd name="T34" fmla="*/ 2147483647 w 452"/>
                <a:gd name="T35" fmla="*/ 2147483647 h 832"/>
                <a:gd name="T36" fmla="*/ 2147483647 w 452"/>
                <a:gd name="T37" fmla="*/ 2147483647 h 832"/>
                <a:gd name="T38" fmla="*/ 2147483647 w 452"/>
                <a:gd name="T39" fmla="*/ 2147483647 h 832"/>
                <a:gd name="T40" fmla="*/ 2147483647 w 452"/>
                <a:gd name="T41" fmla="*/ 2147483647 h 832"/>
                <a:gd name="T42" fmla="*/ 2147483647 w 452"/>
                <a:gd name="T43" fmla="*/ 2147483647 h 832"/>
                <a:gd name="T44" fmla="*/ 2147483647 w 452"/>
                <a:gd name="T45" fmla="*/ 2147483647 h 832"/>
                <a:gd name="T46" fmla="*/ 2147483647 w 452"/>
                <a:gd name="T47" fmla="*/ 2147483647 h 832"/>
                <a:gd name="T48" fmla="*/ 2147483647 w 452"/>
                <a:gd name="T49" fmla="*/ 2147483647 h 832"/>
                <a:gd name="T50" fmla="*/ 2147483647 w 452"/>
                <a:gd name="T51" fmla="*/ 2147483647 h 832"/>
                <a:gd name="T52" fmla="*/ 2147483647 w 452"/>
                <a:gd name="T53" fmla="*/ 2147483647 h 832"/>
                <a:gd name="T54" fmla="*/ 2147483647 w 452"/>
                <a:gd name="T55" fmla="*/ 2147483647 h 832"/>
                <a:gd name="T56" fmla="*/ 2147483647 w 452"/>
                <a:gd name="T57" fmla="*/ 2147483647 h 832"/>
                <a:gd name="T58" fmla="*/ 2147483647 w 452"/>
                <a:gd name="T59" fmla="*/ 2147483647 h 832"/>
                <a:gd name="T60" fmla="*/ 2147483647 w 452"/>
                <a:gd name="T61" fmla="*/ 2147483647 h 832"/>
                <a:gd name="T62" fmla="*/ 2147483647 w 452"/>
                <a:gd name="T63" fmla="*/ 2147483647 h 832"/>
                <a:gd name="T64" fmla="*/ 2147483647 w 452"/>
                <a:gd name="T65" fmla="*/ 2147483647 h 832"/>
                <a:gd name="T66" fmla="*/ 2147483647 w 452"/>
                <a:gd name="T67" fmla="*/ 2147483647 h 832"/>
                <a:gd name="T68" fmla="*/ 2147483647 w 452"/>
                <a:gd name="T69" fmla="*/ 2147483647 h 832"/>
                <a:gd name="T70" fmla="*/ 2147483647 w 452"/>
                <a:gd name="T71" fmla="*/ 2147483647 h 832"/>
                <a:gd name="T72" fmla="*/ 2147483647 w 452"/>
                <a:gd name="T73" fmla="*/ 2147483647 h 832"/>
                <a:gd name="T74" fmla="*/ 2147483647 w 452"/>
                <a:gd name="T75" fmla="*/ 2147483647 h 832"/>
                <a:gd name="T76" fmla="*/ 2147483647 w 452"/>
                <a:gd name="T77" fmla="*/ 2147483647 h 832"/>
                <a:gd name="T78" fmla="*/ 2147483647 w 452"/>
                <a:gd name="T79" fmla="*/ 2147483647 h 832"/>
                <a:gd name="T80" fmla="*/ 2147483647 w 452"/>
                <a:gd name="T81" fmla="*/ 2147483647 h 832"/>
                <a:gd name="T82" fmla="*/ 2147483647 w 452"/>
                <a:gd name="T83" fmla="*/ 2147483647 h 832"/>
                <a:gd name="T84" fmla="*/ 2147483647 w 452"/>
                <a:gd name="T85" fmla="*/ 2147483647 h 832"/>
                <a:gd name="T86" fmla="*/ 2147483647 w 452"/>
                <a:gd name="T87" fmla="*/ 2147483647 h 832"/>
                <a:gd name="T88" fmla="*/ 2147483647 w 452"/>
                <a:gd name="T89" fmla="*/ 2147483647 h 832"/>
                <a:gd name="T90" fmla="*/ 2147483647 w 452"/>
                <a:gd name="T91" fmla="*/ 2147483647 h 832"/>
                <a:gd name="T92" fmla="*/ 0 w 452"/>
                <a:gd name="T93" fmla="*/ 2147483647 h 832"/>
                <a:gd name="T94" fmla="*/ 2147483647 w 452"/>
                <a:gd name="T95" fmla="*/ 2147483647 h 832"/>
                <a:gd name="T96" fmla="*/ 2147483647 w 452"/>
                <a:gd name="T97" fmla="*/ 2147483647 h 832"/>
                <a:gd name="T98" fmla="*/ 2147483647 w 452"/>
                <a:gd name="T99" fmla="*/ 2147483647 h 832"/>
                <a:gd name="T100" fmla="*/ 0 w 452"/>
                <a:gd name="T101" fmla="*/ 2147483647 h 832"/>
                <a:gd name="T102" fmla="*/ 2147483647 w 452"/>
                <a:gd name="T103" fmla="*/ 2147483647 h 832"/>
                <a:gd name="T104" fmla="*/ 2147483647 w 452"/>
                <a:gd name="T105" fmla="*/ 2147483647 h 832"/>
                <a:gd name="T106" fmla="*/ 2147483647 w 452"/>
                <a:gd name="T107" fmla="*/ 2147483647 h 832"/>
                <a:gd name="T108" fmla="*/ 2147483647 w 452"/>
                <a:gd name="T109" fmla="*/ 2147483647 h 832"/>
                <a:gd name="T110" fmla="*/ 2147483647 w 452"/>
                <a:gd name="T111" fmla="*/ 2147483647 h 832"/>
                <a:gd name="T112" fmla="*/ 2147483647 w 452"/>
                <a:gd name="T113" fmla="*/ 2147483647 h 832"/>
                <a:gd name="T114" fmla="*/ 2147483647 w 452"/>
                <a:gd name="T115" fmla="*/ 2147483647 h 832"/>
                <a:gd name="T116" fmla="*/ 2147483647 w 452"/>
                <a:gd name="T117" fmla="*/ 2147483647 h 832"/>
                <a:gd name="T118" fmla="*/ 2147483647 w 452"/>
                <a:gd name="T119" fmla="*/ 2147483647 h 832"/>
                <a:gd name="T120" fmla="*/ 2147483647 w 452"/>
                <a:gd name="T121" fmla="*/ 2147483647 h 832"/>
                <a:gd name="T122" fmla="*/ 2147483647 w 452"/>
                <a:gd name="T123" fmla="*/ 2147483647 h 832"/>
                <a:gd name="T124" fmla="*/ 2147483647 w 452"/>
                <a:gd name="T125" fmla="*/ 2147483647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52"/>
                <a:gd name="T190" fmla="*/ 0 h 832"/>
                <a:gd name="T191" fmla="*/ 452 w 452"/>
                <a:gd name="T192" fmla="*/ 832 h 83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7" name="Freeform 254"/>
            <p:cNvSpPr>
              <a:spLocks/>
            </p:cNvSpPr>
            <p:nvPr>
              <p:custDataLst>
                <p:tags r:id="rId209"/>
              </p:custDataLst>
            </p:nvPr>
          </p:nvSpPr>
          <p:spPr bwMode="auto">
            <a:xfrm>
              <a:off x="5934890" y="3665587"/>
              <a:ext cx="33268" cy="60822"/>
            </a:xfrm>
            <a:custGeom>
              <a:avLst/>
              <a:gdLst>
                <a:gd name="T0" fmla="*/ 2147483647 w 80"/>
                <a:gd name="T1" fmla="*/ 2147483647 h 126"/>
                <a:gd name="T2" fmla="*/ 2147483647 w 80"/>
                <a:gd name="T3" fmla="*/ 2147483647 h 126"/>
                <a:gd name="T4" fmla="*/ 2147483647 w 80"/>
                <a:gd name="T5" fmla="*/ 2147483647 h 126"/>
                <a:gd name="T6" fmla="*/ 2147483647 w 80"/>
                <a:gd name="T7" fmla="*/ 2147483647 h 126"/>
                <a:gd name="T8" fmla="*/ 2147483647 w 80"/>
                <a:gd name="T9" fmla="*/ 2147483647 h 126"/>
                <a:gd name="T10" fmla="*/ 2147483647 w 80"/>
                <a:gd name="T11" fmla="*/ 2147483647 h 126"/>
                <a:gd name="T12" fmla="*/ 2147483647 w 80"/>
                <a:gd name="T13" fmla="*/ 2147483647 h 126"/>
                <a:gd name="T14" fmla="*/ 2147483647 w 80"/>
                <a:gd name="T15" fmla="*/ 2147483647 h 126"/>
                <a:gd name="T16" fmla="*/ 2147483647 w 80"/>
                <a:gd name="T17" fmla="*/ 2147483647 h 126"/>
                <a:gd name="T18" fmla="*/ 2147483647 w 80"/>
                <a:gd name="T19" fmla="*/ 2147483647 h 126"/>
                <a:gd name="T20" fmla="*/ 2147483647 w 80"/>
                <a:gd name="T21" fmla="*/ 2147483647 h 126"/>
                <a:gd name="T22" fmla="*/ 0 w 80"/>
                <a:gd name="T23" fmla="*/ 2147483647 h 126"/>
                <a:gd name="T24" fmla="*/ 2147483647 w 80"/>
                <a:gd name="T25" fmla="*/ 2147483647 h 126"/>
                <a:gd name="T26" fmla="*/ 2147483647 w 80"/>
                <a:gd name="T27" fmla="*/ 2147483647 h 126"/>
                <a:gd name="T28" fmla="*/ 2147483647 w 80"/>
                <a:gd name="T29" fmla="*/ 2147483647 h 126"/>
                <a:gd name="T30" fmla="*/ 2147483647 w 80"/>
                <a:gd name="T31" fmla="*/ 2147483647 h 126"/>
                <a:gd name="T32" fmla="*/ 2147483647 w 80"/>
                <a:gd name="T33" fmla="*/ 2147483647 h 126"/>
                <a:gd name="T34" fmla="*/ 2147483647 w 80"/>
                <a:gd name="T35" fmla="*/ 0 h 126"/>
                <a:gd name="T36" fmla="*/ 2147483647 w 80"/>
                <a:gd name="T37" fmla="*/ 0 h 126"/>
                <a:gd name="T38" fmla="*/ 2147483647 w 80"/>
                <a:gd name="T39" fmla="*/ 2147483647 h 126"/>
                <a:gd name="T40" fmla="*/ 2147483647 w 80"/>
                <a:gd name="T41" fmla="*/ 2147483647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80"/>
                <a:gd name="T64" fmla="*/ 0 h 126"/>
                <a:gd name="T65" fmla="*/ 80 w 80"/>
                <a:gd name="T66" fmla="*/ 126 h 12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8" name="Freeform 255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5924765" y="3629383"/>
              <a:ext cx="50625" cy="55030"/>
            </a:xfrm>
            <a:custGeom>
              <a:avLst/>
              <a:gdLst>
                <a:gd name="T0" fmla="*/ 2147483647 w 124"/>
                <a:gd name="T1" fmla="*/ 0 h 117"/>
                <a:gd name="T2" fmla="*/ 2147483647 w 124"/>
                <a:gd name="T3" fmla="*/ 2147483647 h 117"/>
                <a:gd name="T4" fmla="*/ 2147483647 w 124"/>
                <a:gd name="T5" fmla="*/ 2147483647 h 117"/>
                <a:gd name="T6" fmla="*/ 2147483647 w 124"/>
                <a:gd name="T7" fmla="*/ 2147483647 h 117"/>
                <a:gd name="T8" fmla="*/ 2147483647 w 124"/>
                <a:gd name="T9" fmla="*/ 2147483647 h 117"/>
                <a:gd name="T10" fmla="*/ 2147483647 w 124"/>
                <a:gd name="T11" fmla="*/ 2147483647 h 117"/>
                <a:gd name="T12" fmla="*/ 2147483647 w 124"/>
                <a:gd name="T13" fmla="*/ 2147483647 h 117"/>
                <a:gd name="T14" fmla="*/ 2147483647 w 124"/>
                <a:gd name="T15" fmla="*/ 2147483647 h 117"/>
                <a:gd name="T16" fmla="*/ 2147483647 w 124"/>
                <a:gd name="T17" fmla="*/ 2147483647 h 117"/>
                <a:gd name="T18" fmla="*/ 2147483647 w 124"/>
                <a:gd name="T19" fmla="*/ 2147483647 h 117"/>
                <a:gd name="T20" fmla="*/ 2147483647 w 124"/>
                <a:gd name="T21" fmla="*/ 2147483647 h 117"/>
                <a:gd name="T22" fmla="*/ 2147483647 w 124"/>
                <a:gd name="T23" fmla="*/ 2147483647 h 117"/>
                <a:gd name="T24" fmla="*/ 2147483647 w 124"/>
                <a:gd name="T25" fmla="*/ 2147483647 h 117"/>
                <a:gd name="T26" fmla="*/ 2147483647 w 124"/>
                <a:gd name="T27" fmla="*/ 2147483647 h 117"/>
                <a:gd name="T28" fmla="*/ 2147483647 w 124"/>
                <a:gd name="T29" fmla="*/ 2147483647 h 117"/>
                <a:gd name="T30" fmla="*/ 2147483647 w 124"/>
                <a:gd name="T31" fmla="*/ 2147483647 h 117"/>
                <a:gd name="T32" fmla="*/ 2147483647 w 124"/>
                <a:gd name="T33" fmla="*/ 2147483647 h 117"/>
                <a:gd name="T34" fmla="*/ 2147483647 w 124"/>
                <a:gd name="T35" fmla="*/ 2147483647 h 117"/>
                <a:gd name="T36" fmla="*/ 2147483647 w 124"/>
                <a:gd name="T37" fmla="*/ 2147483647 h 117"/>
                <a:gd name="T38" fmla="*/ 2147483647 w 124"/>
                <a:gd name="T39" fmla="*/ 2147483647 h 117"/>
                <a:gd name="T40" fmla="*/ 0 w 124"/>
                <a:gd name="T41" fmla="*/ 2147483647 h 117"/>
                <a:gd name="T42" fmla="*/ 2147483647 w 124"/>
                <a:gd name="T43" fmla="*/ 2147483647 h 117"/>
                <a:gd name="T44" fmla="*/ 2147483647 w 124"/>
                <a:gd name="T45" fmla="*/ 2147483647 h 117"/>
                <a:gd name="T46" fmla="*/ 2147483647 w 124"/>
                <a:gd name="T47" fmla="*/ 2147483647 h 117"/>
                <a:gd name="T48" fmla="*/ 2147483647 w 124"/>
                <a:gd name="T49" fmla="*/ 2147483647 h 117"/>
                <a:gd name="T50" fmla="*/ 2147483647 w 124"/>
                <a:gd name="T51" fmla="*/ 2147483647 h 117"/>
                <a:gd name="T52" fmla="*/ 2147483647 w 124"/>
                <a:gd name="T53" fmla="*/ 2147483647 h 117"/>
                <a:gd name="T54" fmla="*/ 2147483647 w 124"/>
                <a:gd name="T55" fmla="*/ 2147483647 h 117"/>
                <a:gd name="T56" fmla="*/ 2147483647 w 124"/>
                <a:gd name="T57" fmla="*/ 2147483647 h 117"/>
                <a:gd name="T58" fmla="*/ 2147483647 w 124"/>
                <a:gd name="T59" fmla="*/ 2147483647 h 117"/>
                <a:gd name="T60" fmla="*/ 2147483647 w 124"/>
                <a:gd name="T61" fmla="*/ 2147483647 h 117"/>
                <a:gd name="T62" fmla="*/ 2147483647 w 124"/>
                <a:gd name="T63" fmla="*/ 2147483647 h 117"/>
                <a:gd name="T64" fmla="*/ 2147483647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4"/>
                <a:gd name="T100" fmla="*/ 0 h 117"/>
                <a:gd name="T101" fmla="*/ 124 w 124"/>
                <a:gd name="T102" fmla="*/ 117 h 11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9" name="Freeform 256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6206818" y="2443345"/>
              <a:ext cx="458518" cy="431550"/>
            </a:xfrm>
            <a:custGeom>
              <a:avLst/>
              <a:gdLst>
                <a:gd name="T0" fmla="*/ 2147483647 w 1156"/>
                <a:gd name="T1" fmla="*/ 2147483647 h 900"/>
                <a:gd name="T2" fmla="*/ 2147483647 w 1156"/>
                <a:gd name="T3" fmla="*/ 2147483647 h 900"/>
                <a:gd name="T4" fmla="*/ 2147483647 w 1156"/>
                <a:gd name="T5" fmla="*/ 2147483647 h 900"/>
                <a:gd name="T6" fmla="*/ 2147483647 w 1156"/>
                <a:gd name="T7" fmla="*/ 2147483647 h 900"/>
                <a:gd name="T8" fmla="*/ 2147483647 w 1156"/>
                <a:gd name="T9" fmla="*/ 2147483647 h 900"/>
                <a:gd name="T10" fmla="*/ 2147483647 w 1156"/>
                <a:gd name="T11" fmla="*/ 2147483647 h 900"/>
                <a:gd name="T12" fmla="*/ 2147483647 w 1156"/>
                <a:gd name="T13" fmla="*/ 2147483647 h 900"/>
                <a:gd name="T14" fmla="*/ 2147483647 w 1156"/>
                <a:gd name="T15" fmla="*/ 2147483647 h 900"/>
                <a:gd name="T16" fmla="*/ 2147483647 w 1156"/>
                <a:gd name="T17" fmla="*/ 2147483647 h 900"/>
                <a:gd name="T18" fmla="*/ 2147483647 w 1156"/>
                <a:gd name="T19" fmla="*/ 2147483647 h 900"/>
                <a:gd name="T20" fmla="*/ 2147483647 w 1156"/>
                <a:gd name="T21" fmla="*/ 2147483647 h 900"/>
                <a:gd name="T22" fmla="*/ 2147483647 w 1156"/>
                <a:gd name="T23" fmla="*/ 2147483647 h 900"/>
                <a:gd name="T24" fmla="*/ 2147483647 w 1156"/>
                <a:gd name="T25" fmla="*/ 2147483647 h 900"/>
                <a:gd name="T26" fmla="*/ 2147483647 w 1156"/>
                <a:gd name="T27" fmla="*/ 2147483647 h 900"/>
                <a:gd name="T28" fmla="*/ 2147483647 w 1156"/>
                <a:gd name="T29" fmla="*/ 2147483647 h 900"/>
                <a:gd name="T30" fmla="*/ 2147483647 w 1156"/>
                <a:gd name="T31" fmla="*/ 2147483647 h 900"/>
                <a:gd name="T32" fmla="*/ 2147483647 w 1156"/>
                <a:gd name="T33" fmla="*/ 2147483647 h 900"/>
                <a:gd name="T34" fmla="*/ 2147483647 w 1156"/>
                <a:gd name="T35" fmla="*/ 2147483647 h 900"/>
                <a:gd name="T36" fmla="*/ 2147483647 w 1156"/>
                <a:gd name="T37" fmla="*/ 2147483647 h 900"/>
                <a:gd name="T38" fmla="*/ 2147483647 w 1156"/>
                <a:gd name="T39" fmla="*/ 2147483647 h 900"/>
                <a:gd name="T40" fmla="*/ 2147483647 w 1156"/>
                <a:gd name="T41" fmla="*/ 2147483647 h 900"/>
                <a:gd name="T42" fmla="*/ 2147483647 w 1156"/>
                <a:gd name="T43" fmla="*/ 2147483647 h 900"/>
                <a:gd name="T44" fmla="*/ 2147483647 w 1156"/>
                <a:gd name="T45" fmla="*/ 2147483647 h 900"/>
                <a:gd name="T46" fmla="*/ 2147483647 w 1156"/>
                <a:gd name="T47" fmla="*/ 2147483647 h 900"/>
                <a:gd name="T48" fmla="*/ 2147483647 w 1156"/>
                <a:gd name="T49" fmla="*/ 2147483647 h 900"/>
                <a:gd name="T50" fmla="*/ 2147483647 w 1156"/>
                <a:gd name="T51" fmla="*/ 2147483647 h 900"/>
                <a:gd name="T52" fmla="*/ 2147483647 w 1156"/>
                <a:gd name="T53" fmla="*/ 2147483647 h 900"/>
                <a:gd name="T54" fmla="*/ 2147483647 w 1156"/>
                <a:gd name="T55" fmla="*/ 2147483647 h 900"/>
                <a:gd name="T56" fmla="*/ 2147483647 w 1156"/>
                <a:gd name="T57" fmla="*/ 2147483647 h 900"/>
                <a:gd name="T58" fmla="*/ 2147483647 w 1156"/>
                <a:gd name="T59" fmla="*/ 2147483647 h 900"/>
                <a:gd name="T60" fmla="*/ 2147483647 w 1156"/>
                <a:gd name="T61" fmla="*/ 2147483647 h 900"/>
                <a:gd name="T62" fmla="*/ 2147483647 w 1156"/>
                <a:gd name="T63" fmla="*/ 2147483647 h 900"/>
                <a:gd name="T64" fmla="*/ 2147483647 w 1156"/>
                <a:gd name="T65" fmla="*/ 2147483647 h 900"/>
                <a:gd name="T66" fmla="*/ 2147483647 w 1156"/>
                <a:gd name="T67" fmla="*/ 2147483647 h 900"/>
                <a:gd name="T68" fmla="*/ 2147483647 w 1156"/>
                <a:gd name="T69" fmla="*/ 2147483647 h 900"/>
                <a:gd name="T70" fmla="*/ 2147483647 w 1156"/>
                <a:gd name="T71" fmla="*/ 2147483647 h 900"/>
                <a:gd name="T72" fmla="*/ 2147483647 w 1156"/>
                <a:gd name="T73" fmla="*/ 2147483647 h 900"/>
                <a:gd name="T74" fmla="*/ 2147483647 w 1156"/>
                <a:gd name="T75" fmla="*/ 2147483647 h 900"/>
                <a:gd name="T76" fmla="*/ 2147483647 w 1156"/>
                <a:gd name="T77" fmla="*/ 2147483647 h 900"/>
                <a:gd name="T78" fmla="*/ 2147483647 w 1156"/>
                <a:gd name="T79" fmla="*/ 2147483647 h 900"/>
                <a:gd name="T80" fmla="*/ 2147483647 w 1156"/>
                <a:gd name="T81" fmla="*/ 2147483647 h 900"/>
                <a:gd name="T82" fmla="*/ 2147483647 w 1156"/>
                <a:gd name="T83" fmla="*/ 2147483647 h 900"/>
                <a:gd name="T84" fmla="*/ 2147483647 w 1156"/>
                <a:gd name="T85" fmla="*/ 2147483647 h 900"/>
                <a:gd name="T86" fmla="*/ 2147483647 w 1156"/>
                <a:gd name="T87" fmla="*/ 2147483647 h 900"/>
                <a:gd name="T88" fmla="*/ 2147483647 w 1156"/>
                <a:gd name="T89" fmla="*/ 2147483647 h 900"/>
                <a:gd name="T90" fmla="*/ 2147483647 w 1156"/>
                <a:gd name="T91" fmla="*/ 2147483647 h 900"/>
                <a:gd name="T92" fmla="*/ 2147483647 w 1156"/>
                <a:gd name="T93" fmla="*/ 2147483647 h 900"/>
                <a:gd name="T94" fmla="*/ 2147483647 w 1156"/>
                <a:gd name="T95" fmla="*/ 2147483647 h 900"/>
                <a:gd name="T96" fmla="*/ 2147483647 w 1156"/>
                <a:gd name="T97" fmla="*/ 2147483647 h 900"/>
                <a:gd name="T98" fmla="*/ 2147483647 w 1156"/>
                <a:gd name="T99" fmla="*/ 2147483647 h 900"/>
                <a:gd name="T100" fmla="*/ 2147483647 w 1156"/>
                <a:gd name="T101" fmla="*/ 2147483647 h 900"/>
                <a:gd name="T102" fmla="*/ 2147483647 w 1156"/>
                <a:gd name="T103" fmla="*/ 2147483647 h 900"/>
                <a:gd name="T104" fmla="*/ 2147483647 w 1156"/>
                <a:gd name="T105" fmla="*/ 2147483647 h 900"/>
                <a:gd name="T106" fmla="*/ 2147483647 w 1156"/>
                <a:gd name="T107" fmla="*/ 2147483647 h 900"/>
                <a:gd name="T108" fmla="*/ 2147483647 w 1156"/>
                <a:gd name="T109" fmla="*/ 2147483647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156"/>
                <a:gd name="T166" fmla="*/ 0 h 900"/>
                <a:gd name="T167" fmla="*/ 1156 w 1156"/>
                <a:gd name="T168" fmla="*/ 900 h 90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1" name="Freeform 258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6406425" y="2837243"/>
              <a:ext cx="109929" cy="110060"/>
            </a:xfrm>
            <a:custGeom>
              <a:avLst/>
              <a:gdLst>
                <a:gd name="T0" fmla="*/ 0 w 286"/>
                <a:gd name="T1" fmla="*/ 2147483647 h 228"/>
                <a:gd name="T2" fmla="*/ 2147483647 w 286"/>
                <a:gd name="T3" fmla="*/ 2147483647 h 228"/>
                <a:gd name="T4" fmla="*/ 2147483647 w 286"/>
                <a:gd name="T5" fmla="*/ 2147483647 h 228"/>
                <a:gd name="T6" fmla="*/ 2147483647 w 286"/>
                <a:gd name="T7" fmla="*/ 2147483647 h 228"/>
                <a:gd name="T8" fmla="*/ 2147483647 w 286"/>
                <a:gd name="T9" fmla="*/ 2147483647 h 228"/>
                <a:gd name="T10" fmla="*/ 2147483647 w 286"/>
                <a:gd name="T11" fmla="*/ 2147483647 h 228"/>
                <a:gd name="T12" fmla="*/ 2147483647 w 286"/>
                <a:gd name="T13" fmla="*/ 2147483647 h 228"/>
                <a:gd name="T14" fmla="*/ 2147483647 w 286"/>
                <a:gd name="T15" fmla="*/ 2147483647 h 228"/>
                <a:gd name="T16" fmla="*/ 2147483647 w 286"/>
                <a:gd name="T17" fmla="*/ 2147483647 h 228"/>
                <a:gd name="T18" fmla="*/ 2147483647 w 286"/>
                <a:gd name="T19" fmla="*/ 2147483647 h 228"/>
                <a:gd name="T20" fmla="*/ 2147483647 w 286"/>
                <a:gd name="T21" fmla="*/ 2147483647 h 228"/>
                <a:gd name="T22" fmla="*/ 2147483647 w 286"/>
                <a:gd name="T23" fmla="*/ 2147483647 h 228"/>
                <a:gd name="T24" fmla="*/ 2147483647 w 286"/>
                <a:gd name="T25" fmla="*/ 2147483647 h 228"/>
                <a:gd name="T26" fmla="*/ 2147483647 w 286"/>
                <a:gd name="T27" fmla="*/ 2147483647 h 228"/>
                <a:gd name="T28" fmla="*/ 2147483647 w 286"/>
                <a:gd name="T29" fmla="*/ 2147483647 h 228"/>
                <a:gd name="T30" fmla="*/ 2147483647 w 286"/>
                <a:gd name="T31" fmla="*/ 2147483647 h 228"/>
                <a:gd name="T32" fmla="*/ 2147483647 w 286"/>
                <a:gd name="T33" fmla="*/ 2147483647 h 228"/>
                <a:gd name="T34" fmla="*/ 2147483647 w 286"/>
                <a:gd name="T35" fmla="*/ 2147483647 h 228"/>
                <a:gd name="T36" fmla="*/ 2147483647 w 286"/>
                <a:gd name="T37" fmla="*/ 2147483647 h 228"/>
                <a:gd name="T38" fmla="*/ 2147483647 w 286"/>
                <a:gd name="T39" fmla="*/ 2147483647 h 228"/>
                <a:gd name="T40" fmla="*/ 2147483647 w 286"/>
                <a:gd name="T41" fmla="*/ 2147483647 h 228"/>
                <a:gd name="T42" fmla="*/ 2147483647 w 286"/>
                <a:gd name="T43" fmla="*/ 2147483647 h 228"/>
                <a:gd name="T44" fmla="*/ 2147483647 w 286"/>
                <a:gd name="T45" fmla="*/ 2147483647 h 228"/>
                <a:gd name="T46" fmla="*/ 2147483647 w 286"/>
                <a:gd name="T47" fmla="*/ 2147483647 h 228"/>
                <a:gd name="T48" fmla="*/ 2147483647 w 286"/>
                <a:gd name="T49" fmla="*/ 2147483647 h 228"/>
                <a:gd name="T50" fmla="*/ 2147483647 w 286"/>
                <a:gd name="T51" fmla="*/ 2147483647 h 228"/>
                <a:gd name="T52" fmla="*/ 2147483647 w 286"/>
                <a:gd name="T53" fmla="*/ 2147483647 h 228"/>
                <a:gd name="T54" fmla="*/ 2147483647 w 286"/>
                <a:gd name="T55" fmla="*/ 2147483647 h 228"/>
                <a:gd name="T56" fmla="*/ 2147483647 w 286"/>
                <a:gd name="T57" fmla="*/ 0 h 228"/>
                <a:gd name="T58" fmla="*/ 2147483647 w 286"/>
                <a:gd name="T59" fmla="*/ 2147483647 h 228"/>
                <a:gd name="T60" fmla="*/ 2147483647 w 286"/>
                <a:gd name="T61" fmla="*/ 2147483647 h 228"/>
                <a:gd name="T62" fmla="*/ 2147483647 w 286"/>
                <a:gd name="T63" fmla="*/ 2147483647 h 228"/>
                <a:gd name="T64" fmla="*/ 2147483647 w 286"/>
                <a:gd name="T65" fmla="*/ 2147483647 h 228"/>
                <a:gd name="T66" fmla="*/ 2147483647 w 286"/>
                <a:gd name="T67" fmla="*/ 2147483647 h 228"/>
                <a:gd name="T68" fmla="*/ 2147483647 w 286"/>
                <a:gd name="T69" fmla="*/ 2147483647 h 228"/>
                <a:gd name="T70" fmla="*/ 2147483647 w 286"/>
                <a:gd name="T71" fmla="*/ 2147483647 h 228"/>
                <a:gd name="T72" fmla="*/ 2147483647 w 286"/>
                <a:gd name="T73" fmla="*/ 2147483647 h 228"/>
                <a:gd name="T74" fmla="*/ 2147483647 w 286"/>
                <a:gd name="T75" fmla="*/ 2147483647 h 228"/>
                <a:gd name="T76" fmla="*/ 0 w 286"/>
                <a:gd name="T77" fmla="*/ 2147483647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86"/>
                <a:gd name="T118" fmla="*/ 0 h 228"/>
                <a:gd name="T119" fmla="*/ 286 w 286"/>
                <a:gd name="T120" fmla="*/ 228 h 228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2" name="Freeform 259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6121479" y="2520097"/>
              <a:ext cx="202500" cy="240393"/>
            </a:xfrm>
            <a:custGeom>
              <a:avLst/>
              <a:gdLst>
                <a:gd name="T0" fmla="*/ 2147483647 w 524"/>
                <a:gd name="T1" fmla="*/ 2147483647 h 505"/>
                <a:gd name="T2" fmla="*/ 2147483647 w 524"/>
                <a:gd name="T3" fmla="*/ 2147483647 h 505"/>
                <a:gd name="T4" fmla="*/ 2147483647 w 524"/>
                <a:gd name="T5" fmla="*/ 2147483647 h 505"/>
                <a:gd name="T6" fmla="*/ 2147483647 w 524"/>
                <a:gd name="T7" fmla="*/ 2147483647 h 505"/>
                <a:gd name="T8" fmla="*/ 2147483647 w 524"/>
                <a:gd name="T9" fmla="*/ 2147483647 h 505"/>
                <a:gd name="T10" fmla="*/ 2147483647 w 524"/>
                <a:gd name="T11" fmla="*/ 2147483647 h 505"/>
                <a:gd name="T12" fmla="*/ 2147483647 w 524"/>
                <a:gd name="T13" fmla="*/ 2147483647 h 505"/>
                <a:gd name="T14" fmla="*/ 2147483647 w 524"/>
                <a:gd name="T15" fmla="*/ 2147483647 h 505"/>
                <a:gd name="T16" fmla="*/ 2147483647 w 524"/>
                <a:gd name="T17" fmla="*/ 2147483647 h 505"/>
                <a:gd name="T18" fmla="*/ 2147483647 w 524"/>
                <a:gd name="T19" fmla="*/ 2147483647 h 505"/>
                <a:gd name="T20" fmla="*/ 2147483647 w 524"/>
                <a:gd name="T21" fmla="*/ 2147483647 h 505"/>
                <a:gd name="T22" fmla="*/ 2147483647 w 524"/>
                <a:gd name="T23" fmla="*/ 2147483647 h 505"/>
                <a:gd name="T24" fmla="*/ 2147483647 w 524"/>
                <a:gd name="T25" fmla="*/ 2147483647 h 505"/>
                <a:gd name="T26" fmla="*/ 2147483647 w 524"/>
                <a:gd name="T27" fmla="*/ 2147483647 h 505"/>
                <a:gd name="T28" fmla="*/ 2147483647 w 524"/>
                <a:gd name="T29" fmla="*/ 2147483647 h 505"/>
                <a:gd name="T30" fmla="*/ 2147483647 w 524"/>
                <a:gd name="T31" fmla="*/ 2147483647 h 505"/>
                <a:gd name="T32" fmla="*/ 2147483647 w 524"/>
                <a:gd name="T33" fmla="*/ 2147483647 h 505"/>
                <a:gd name="T34" fmla="*/ 2147483647 w 524"/>
                <a:gd name="T35" fmla="*/ 2147483647 h 505"/>
                <a:gd name="T36" fmla="*/ 2147483647 w 524"/>
                <a:gd name="T37" fmla="*/ 2147483647 h 505"/>
                <a:gd name="T38" fmla="*/ 2147483647 w 524"/>
                <a:gd name="T39" fmla="*/ 2147483647 h 505"/>
                <a:gd name="T40" fmla="*/ 2147483647 w 524"/>
                <a:gd name="T41" fmla="*/ 2147483647 h 505"/>
                <a:gd name="T42" fmla="*/ 2147483647 w 524"/>
                <a:gd name="T43" fmla="*/ 2147483647 h 505"/>
                <a:gd name="T44" fmla="*/ 2147483647 w 524"/>
                <a:gd name="T45" fmla="*/ 2147483647 h 505"/>
                <a:gd name="T46" fmla="*/ 2147483647 w 524"/>
                <a:gd name="T47" fmla="*/ 2147483647 h 505"/>
                <a:gd name="T48" fmla="*/ 2147483647 w 524"/>
                <a:gd name="T49" fmla="*/ 2147483647 h 505"/>
                <a:gd name="T50" fmla="*/ 2147483647 w 524"/>
                <a:gd name="T51" fmla="*/ 2147483647 h 505"/>
                <a:gd name="T52" fmla="*/ 2147483647 w 524"/>
                <a:gd name="T53" fmla="*/ 2147483647 h 505"/>
                <a:gd name="T54" fmla="*/ 2147483647 w 524"/>
                <a:gd name="T55" fmla="*/ 2147483647 h 505"/>
                <a:gd name="T56" fmla="*/ 2147483647 w 524"/>
                <a:gd name="T57" fmla="*/ 2147483647 h 505"/>
                <a:gd name="T58" fmla="*/ 2147483647 w 524"/>
                <a:gd name="T59" fmla="*/ 2147483647 h 505"/>
                <a:gd name="T60" fmla="*/ 2147483647 w 524"/>
                <a:gd name="T61" fmla="*/ 2147483647 h 505"/>
                <a:gd name="T62" fmla="*/ 2147483647 w 524"/>
                <a:gd name="T63" fmla="*/ 2147483647 h 505"/>
                <a:gd name="T64" fmla="*/ 2147483647 w 524"/>
                <a:gd name="T65" fmla="*/ 2147483647 h 505"/>
                <a:gd name="T66" fmla="*/ 2147483647 w 524"/>
                <a:gd name="T67" fmla="*/ 2147483647 h 505"/>
                <a:gd name="T68" fmla="*/ 2147483647 w 524"/>
                <a:gd name="T69" fmla="*/ 2147483647 h 505"/>
                <a:gd name="T70" fmla="*/ 2147483647 w 524"/>
                <a:gd name="T71" fmla="*/ 2147483647 h 505"/>
                <a:gd name="T72" fmla="*/ 2147483647 w 524"/>
                <a:gd name="T73" fmla="*/ 2147483647 h 505"/>
                <a:gd name="T74" fmla="*/ 2147483647 w 524"/>
                <a:gd name="T75" fmla="*/ 2147483647 h 505"/>
                <a:gd name="T76" fmla="*/ 0 w 524"/>
                <a:gd name="T77" fmla="*/ 2147483647 h 505"/>
                <a:gd name="T78" fmla="*/ 0 w 524"/>
                <a:gd name="T79" fmla="*/ 2147483647 h 505"/>
                <a:gd name="T80" fmla="*/ 2147483647 w 524"/>
                <a:gd name="T81" fmla="*/ 2147483647 h 505"/>
                <a:gd name="T82" fmla="*/ 2147483647 w 524"/>
                <a:gd name="T83" fmla="*/ 2147483647 h 505"/>
                <a:gd name="T84" fmla="*/ 2147483647 w 524"/>
                <a:gd name="T85" fmla="*/ 2147483647 h 505"/>
                <a:gd name="T86" fmla="*/ 2147483647 w 524"/>
                <a:gd name="T87" fmla="*/ 2147483647 h 505"/>
                <a:gd name="T88" fmla="*/ 2147483647 w 524"/>
                <a:gd name="T89" fmla="*/ 2147483647 h 505"/>
                <a:gd name="T90" fmla="*/ 2147483647 w 524"/>
                <a:gd name="T91" fmla="*/ 2147483647 h 505"/>
                <a:gd name="T92" fmla="*/ 2147483647 w 524"/>
                <a:gd name="T93" fmla="*/ 2147483647 h 505"/>
                <a:gd name="T94" fmla="*/ 2147483647 w 524"/>
                <a:gd name="T95" fmla="*/ 2147483647 h 505"/>
                <a:gd name="T96" fmla="*/ 2147483647 w 524"/>
                <a:gd name="T97" fmla="*/ 2147483647 h 505"/>
                <a:gd name="T98" fmla="*/ 2147483647 w 524"/>
                <a:gd name="T99" fmla="*/ 2147483647 h 505"/>
                <a:gd name="T100" fmla="*/ 2147483647 w 524"/>
                <a:gd name="T101" fmla="*/ 2147483647 h 505"/>
                <a:gd name="T102" fmla="*/ 2147483647 w 524"/>
                <a:gd name="T103" fmla="*/ 2147483647 h 505"/>
                <a:gd name="T104" fmla="*/ 2147483647 w 524"/>
                <a:gd name="T105" fmla="*/ 2147483647 h 505"/>
                <a:gd name="T106" fmla="*/ 2147483647 w 524"/>
                <a:gd name="T107" fmla="*/ 2147483647 h 505"/>
                <a:gd name="T108" fmla="*/ 2147483647 w 524"/>
                <a:gd name="T109" fmla="*/ 2147483647 h 505"/>
                <a:gd name="T110" fmla="*/ 2147483647 w 524"/>
                <a:gd name="T111" fmla="*/ 2147483647 h 505"/>
                <a:gd name="T112" fmla="*/ 2147483647 w 524"/>
                <a:gd name="T113" fmla="*/ 2147483647 h 505"/>
                <a:gd name="T114" fmla="*/ 2147483647 w 524"/>
                <a:gd name="T115" fmla="*/ 2147483647 h 505"/>
                <a:gd name="T116" fmla="*/ 2147483647 w 524"/>
                <a:gd name="T117" fmla="*/ 2147483647 h 505"/>
                <a:gd name="T118" fmla="*/ 2147483647 w 524"/>
                <a:gd name="T119" fmla="*/ 2147483647 h 505"/>
                <a:gd name="T120" fmla="*/ 2147483647 w 524"/>
                <a:gd name="T121" fmla="*/ 2147483647 h 505"/>
                <a:gd name="T122" fmla="*/ 2147483647 w 524"/>
                <a:gd name="T123" fmla="*/ 2147483647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524"/>
                <a:gd name="T187" fmla="*/ 0 h 505"/>
                <a:gd name="T188" fmla="*/ 524 w 524"/>
                <a:gd name="T189" fmla="*/ 505 h 50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3" name="Freeform 260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6577104" y="2483894"/>
              <a:ext cx="302304" cy="265012"/>
            </a:xfrm>
            <a:custGeom>
              <a:avLst/>
              <a:gdLst>
                <a:gd name="T0" fmla="*/ 2147483647 w 764"/>
                <a:gd name="T1" fmla="*/ 2147483647 h 555"/>
                <a:gd name="T2" fmla="*/ 2147483647 w 764"/>
                <a:gd name="T3" fmla="*/ 2147483647 h 555"/>
                <a:gd name="T4" fmla="*/ 2147483647 w 764"/>
                <a:gd name="T5" fmla="*/ 2147483647 h 555"/>
                <a:gd name="T6" fmla="*/ 2147483647 w 764"/>
                <a:gd name="T7" fmla="*/ 2147483647 h 555"/>
                <a:gd name="T8" fmla="*/ 2147483647 w 764"/>
                <a:gd name="T9" fmla="*/ 2147483647 h 555"/>
                <a:gd name="T10" fmla="*/ 2147483647 w 764"/>
                <a:gd name="T11" fmla="*/ 2147483647 h 555"/>
                <a:gd name="T12" fmla="*/ 2147483647 w 764"/>
                <a:gd name="T13" fmla="*/ 2147483647 h 555"/>
                <a:gd name="T14" fmla="*/ 2147483647 w 764"/>
                <a:gd name="T15" fmla="*/ 2147483647 h 555"/>
                <a:gd name="T16" fmla="*/ 2147483647 w 764"/>
                <a:gd name="T17" fmla="*/ 2147483647 h 555"/>
                <a:gd name="T18" fmla="*/ 2147483647 w 764"/>
                <a:gd name="T19" fmla="*/ 2147483647 h 555"/>
                <a:gd name="T20" fmla="*/ 2147483647 w 764"/>
                <a:gd name="T21" fmla="*/ 2147483647 h 555"/>
                <a:gd name="T22" fmla="*/ 2147483647 w 764"/>
                <a:gd name="T23" fmla="*/ 2147483647 h 555"/>
                <a:gd name="T24" fmla="*/ 2147483647 w 764"/>
                <a:gd name="T25" fmla="*/ 2147483647 h 555"/>
                <a:gd name="T26" fmla="*/ 2147483647 w 764"/>
                <a:gd name="T27" fmla="*/ 2147483647 h 555"/>
                <a:gd name="T28" fmla="*/ 2147483647 w 764"/>
                <a:gd name="T29" fmla="*/ 2147483647 h 555"/>
                <a:gd name="T30" fmla="*/ 2147483647 w 764"/>
                <a:gd name="T31" fmla="*/ 2147483647 h 555"/>
                <a:gd name="T32" fmla="*/ 2147483647 w 764"/>
                <a:gd name="T33" fmla="*/ 2147483647 h 555"/>
                <a:gd name="T34" fmla="*/ 2147483647 w 764"/>
                <a:gd name="T35" fmla="*/ 2147483647 h 555"/>
                <a:gd name="T36" fmla="*/ 2147483647 w 764"/>
                <a:gd name="T37" fmla="*/ 2147483647 h 555"/>
                <a:gd name="T38" fmla="*/ 2147483647 w 764"/>
                <a:gd name="T39" fmla="*/ 2147483647 h 555"/>
                <a:gd name="T40" fmla="*/ 2147483647 w 764"/>
                <a:gd name="T41" fmla="*/ 2147483647 h 555"/>
                <a:gd name="T42" fmla="*/ 2147483647 w 764"/>
                <a:gd name="T43" fmla="*/ 2147483647 h 555"/>
                <a:gd name="T44" fmla="*/ 2147483647 w 764"/>
                <a:gd name="T45" fmla="*/ 2147483647 h 555"/>
                <a:gd name="T46" fmla="*/ 2147483647 w 764"/>
                <a:gd name="T47" fmla="*/ 2147483647 h 555"/>
                <a:gd name="T48" fmla="*/ 2147483647 w 764"/>
                <a:gd name="T49" fmla="*/ 2147483647 h 555"/>
                <a:gd name="T50" fmla="*/ 2147483647 w 764"/>
                <a:gd name="T51" fmla="*/ 2147483647 h 555"/>
                <a:gd name="T52" fmla="*/ 2147483647 w 764"/>
                <a:gd name="T53" fmla="*/ 2147483647 h 555"/>
                <a:gd name="T54" fmla="*/ 2147483647 w 764"/>
                <a:gd name="T55" fmla="*/ 2147483647 h 555"/>
                <a:gd name="T56" fmla="*/ 2147483647 w 764"/>
                <a:gd name="T57" fmla="*/ 2147483647 h 555"/>
                <a:gd name="T58" fmla="*/ 2147483647 w 764"/>
                <a:gd name="T59" fmla="*/ 2147483647 h 555"/>
                <a:gd name="T60" fmla="*/ 2147483647 w 764"/>
                <a:gd name="T61" fmla="*/ 2147483647 h 555"/>
                <a:gd name="T62" fmla="*/ 2147483647 w 764"/>
                <a:gd name="T63" fmla="*/ 2147483647 h 555"/>
                <a:gd name="T64" fmla="*/ 2147483647 w 764"/>
                <a:gd name="T65" fmla="*/ 2147483647 h 555"/>
                <a:gd name="T66" fmla="*/ 2147483647 w 764"/>
                <a:gd name="T67" fmla="*/ 2147483647 h 555"/>
                <a:gd name="T68" fmla="*/ 2147483647 w 764"/>
                <a:gd name="T69" fmla="*/ 2147483647 h 555"/>
                <a:gd name="T70" fmla="*/ 2147483647 w 764"/>
                <a:gd name="T71" fmla="*/ 2147483647 h 555"/>
                <a:gd name="T72" fmla="*/ 2147483647 w 764"/>
                <a:gd name="T73" fmla="*/ 2147483647 h 555"/>
                <a:gd name="T74" fmla="*/ 2147483647 w 764"/>
                <a:gd name="T75" fmla="*/ 2147483647 h 555"/>
                <a:gd name="T76" fmla="*/ 2147483647 w 764"/>
                <a:gd name="T77" fmla="*/ 2147483647 h 555"/>
                <a:gd name="T78" fmla="*/ 2147483647 w 764"/>
                <a:gd name="T79" fmla="*/ 2147483647 h 555"/>
                <a:gd name="T80" fmla="*/ 2147483647 w 764"/>
                <a:gd name="T81" fmla="*/ 2147483647 h 555"/>
                <a:gd name="T82" fmla="*/ 2147483647 w 764"/>
                <a:gd name="T83" fmla="*/ 2147483647 h 555"/>
                <a:gd name="T84" fmla="*/ 2147483647 w 764"/>
                <a:gd name="T85" fmla="*/ 2147483647 h 555"/>
                <a:gd name="T86" fmla="*/ 2147483647 w 764"/>
                <a:gd name="T87" fmla="*/ 2147483647 h 555"/>
                <a:gd name="T88" fmla="*/ 2147483647 w 764"/>
                <a:gd name="T89" fmla="*/ 2147483647 h 555"/>
                <a:gd name="T90" fmla="*/ 2147483647 w 764"/>
                <a:gd name="T91" fmla="*/ 2147483647 h 555"/>
                <a:gd name="T92" fmla="*/ 2147483647 w 764"/>
                <a:gd name="T93" fmla="*/ 2147483647 h 555"/>
                <a:gd name="T94" fmla="*/ 2147483647 w 764"/>
                <a:gd name="T95" fmla="*/ 2147483647 h 555"/>
                <a:gd name="T96" fmla="*/ 2147483647 w 764"/>
                <a:gd name="T97" fmla="*/ 2147483647 h 555"/>
                <a:gd name="T98" fmla="*/ 2147483647 w 764"/>
                <a:gd name="T99" fmla="*/ 2147483647 h 555"/>
                <a:gd name="T100" fmla="*/ 2147483647 w 764"/>
                <a:gd name="T101" fmla="*/ 2147483647 h 555"/>
                <a:gd name="T102" fmla="*/ 2147483647 w 764"/>
                <a:gd name="T103" fmla="*/ 2147483647 h 555"/>
                <a:gd name="T104" fmla="*/ 2147483647 w 764"/>
                <a:gd name="T105" fmla="*/ 2147483647 h 555"/>
                <a:gd name="T106" fmla="*/ 2147483647 w 764"/>
                <a:gd name="T107" fmla="*/ 2147483647 h 555"/>
                <a:gd name="T108" fmla="*/ 2147483647 w 764"/>
                <a:gd name="T109" fmla="*/ 2147483647 h 555"/>
                <a:gd name="T110" fmla="*/ 2147483647 w 764"/>
                <a:gd name="T111" fmla="*/ 2147483647 h 555"/>
                <a:gd name="T112" fmla="*/ 2147483647 w 764"/>
                <a:gd name="T113" fmla="*/ 2147483647 h 555"/>
                <a:gd name="T114" fmla="*/ 2147483647 w 764"/>
                <a:gd name="T115" fmla="*/ 2147483647 h 555"/>
                <a:gd name="T116" fmla="*/ 2147483647 w 764"/>
                <a:gd name="T117" fmla="*/ 2147483647 h 555"/>
                <a:gd name="T118" fmla="*/ 0 w 764"/>
                <a:gd name="T119" fmla="*/ 2147483647 h 555"/>
                <a:gd name="T120" fmla="*/ 2147483647 w 764"/>
                <a:gd name="T121" fmla="*/ 2147483647 h 555"/>
                <a:gd name="T122" fmla="*/ 2147483647 w 764"/>
                <a:gd name="T123" fmla="*/ 2147483647 h 555"/>
                <a:gd name="T124" fmla="*/ 2147483647 w 764"/>
                <a:gd name="T125" fmla="*/ 2147483647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764"/>
                <a:gd name="T190" fmla="*/ 0 h 555"/>
                <a:gd name="T191" fmla="*/ 764 w 764"/>
                <a:gd name="T192" fmla="*/ 555 h 555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4" name="Freeform 261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6606032" y="2528786"/>
              <a:ext cx="332679" cy="386657"/>
            </a:xfrm>
            <a:custGeom>
              <a:avLst/>
              <a:gdLst>
                <a:gd name="T0" fmla="*/ 2147483647 w 831"/>
                <a:gd name="T1" fmla="*/ 2147483647 h 812"/>
                <a:gd name="T2" fmla="*/ 2147483647 w 831"/>
                <a:gd name="T3" fmla="*/ 2147483647 h 812"/>
                <a:gd name="T4" fmla="*/ 2147483647 w 831"/>
                <a:gd name="T5" fmla="*/ 2147483647 h 812"/>
                <a:gd name="T6" fmla="*/ 2147483647 w 831"/>
                <a:gd name="T7" fmla="*/ 2147483647 h 812"/>
                <a:gd name="T8" fmla="*/ 2147483647 w 831"/>
                <a:gd name="T9" fmla="*/ 2147483647 h 812"/>
                <a:gd name="T10" fmla="*/ 2147483647 w 831"/>
                <a:gd name="T11" fmla="*/ 2147483647 h 812"/>
                <a:gd name="T12" fmla="*/ 2147483647 w 831"/>
                <a:gd name="T13" fmla="*/ 2147483647 h 812"/>
                <a:gd name="T14" fmla="*/ 2147483647 w 831"/>
                <a:gd name="T15" fmla="*/ 2147483647 h 812"/>
                <a:gd name="T16" fmla="*/ 2147483647 w 831"/>
                <a:gd name="T17" fmla="*/ 2147483647 h 812"/>
                <a:gd name="T18" fmla="*/ 2147483647 w 831"/>
                <a:gd name="T19" fmla="*/ 2147483647 h 812"/>
                <a:gd name="T20" fmla="*/ 2147483647 w 831"/>
                <a:gd name="T21" fmla="*/ 2147483647 h 812"/>
                <a:gd name="T22" fmla="*/ 2147483647 w 831"/>
                <a:gd name="T23" fmla="*/ 2147483647 h 812"/>
                <a:gd name="T24" fmla="*/ 2147483647 w 831"/>
                <a:gd name="T25" fmla="*/ 2147483647 h 812"/>
                <a:gd name="T26" fmla="*/ 2147483647 w 831"/>
                <a:gd name="T27" fmla="*/ 2147483647 h 812"/>
                <a:gd name="T28" fmla="*/ 2147483647 w 831"/>
                <a:gd name="T29" fmla="*/ 2147483647 h 812"/>
                <a:gd name="T30" fmla="*/ 2147483647 w 831"/>
                <a:gd name="T31" fmla="*/ 2147483647 h 812"/>
                <a:gd name="T32" fmla="*/ 2147483647 w 831"/>
                <a:gd name="T33" fmla="*/ 2147483647 h 812"/>
                <a:gd name="T34" fmla="*/ 2147483647 w 831"/>
                <a:gd name="T35" fmla="*/ 2147483647 h 812"/>
                <a:gd name="T36" fmla="*/ 2147483647 w 831"/>
                <a:gd name="T37" fmla="*/ 2147483647 h 812"/>
                <a:gd name="T38" fmla="*/ 2147483647 w 831"/>
                <a:gd name="T39" fmla="*/ 2147483647 h 812"/>
                <a:gd name="T40" fmla="*/ 2147483647 w 831"/>
                <a:gd name="T41" fmla="*/ 2147483647 h 812"/>
                <a:gd name="T42" fmla="*/ 2147483647 w 831"/>
                <a:gd name="T43" fmla="*/ 2147483647 h 812"/>
                <a:gd name="T44" fmla="*/ 2147483647 w 831"/>
                <a:gd name="T45" fmla="*/ 2147483647 h 812"/>
                <a:gd name="T46" fmla="*/ 2147483647 w 831"/>
                <a:gd name="T47" fmla="*/ 2147483647 h 812"/>
                <a:gd name="T48" fmla="*/ 2147483647 w 831"/>
                <a:gd name="T49" fmla="*/ 2147483647 h 812"/>
                <a:gd name="T50" fmla="*/ 2147483647 w 831"/>
                <a:gd name="T51" fmla="*/ 2147483647 h 812"/>
                <a:gd name="T52" fmla="*/ 2147483647 w 831"/>
                <a:gd name="T53" fmla="*/ 2147483647 h 812"/>
                <a:gd name="T54" fmla="*/ 2147483647 w 831"/>
                <a:gd name="T55" fmla="*/ 2147483647 h 812"/>
                <a:gd name="T56" fmla="*/ 2147483647 w 831"/>
                <a:gd name="T57" fmla="*/ 2147483647 h 812"/>
                <a:gd name="T58" fmla="*/ 2147483647 w 831"/>
                <a:gd name="T59" fmla="*/ 2147483647 h 812"/>
                <a:gd name="T60" fmla="*/ 2147483647 w 831"/>
                <a:gd name="T61" fmla="*/ 2147483647 h 812"/>
                <a:gd name="T62" fmla="*/ 2147483647 w 831"/>
                <a:gd name="T63" fmla="*/ 2147483647 h 812"/>
                <a:gd name="T64" fmla="*/ 2147483647 w 831"/>
                <a:gd name="T65" fmla="*/ 2147483647 h 812"/>
                <a:gd name="T66" fmla="*/ 2147483647 w 831"/>
                <a:gd name="T67" fmla="*/ 2147483647 h 812"/>
                <a:gd name="T68" fmla="*/ 2147483647 w 831"/>
                <a:gd name="T69" fmla="*/ 2147483647 h 812"/>
                <a:gd name="T70" fmla="*/ 2147483647 w 831"/>
                <a:gd name="T71" fmla="*/ 2147483647 h 812"/>
                <a:gd name="T72" fmla="*/ 2147483647 w 831"/>
                <a:gd name="T73" fmla="*/ 2147483647 h 812"/>
                <a:gd name="T74" fmla="*/ 2147483647 w 831"/>
                <a:gd name="T75" fmla="*/ 2147483647 h 812"/>
                <a:gd name="T76" fmla="*/ 2147483647 w 831"/>
                <a:gd name="T77" fmla="*/ 2147483647 h 812"/>
                <a:gd name="T78" fmla="*/ 2147483647 w 831"/>
                <a:gd name="T79" fmla="*/ 2147483647 h 812"/>
                <a:gd name="T80" fmla="*/ 2147483647 w 831"/>
                <a:gd name="T81" fmla="*/ 2147483647 h 812"/>
                <a:gd name="T82" fmla="*/ 2147483647 w 831"/>
                <a:gd name="T83" fmla="*/ 2147483647 h 812"/>
                <a:gd name="T84" fmla="*/ 2147483647 w 831"/>
                <a:gd name="T85" fmla="*/ 2147483647 h 812"/>
                <a:gd name="T86" fmla="*/ 2147483647 w 831"/>
                <a:gd name="T87" fmla="*/ 2147483647 h 812"/>
                <a:gd name="T88" fmla="*/ 2147483647 w 831"/>
                <a:gd name="T89" fmla="*/ 2147483647 h 812"/>
                <a:gd name="T90" fmla="*/ 2147483647 w 831"/>
                <a:gd name="T91" fmla="*/ 2147483647 h 812"/>
                <a:gd name="T92" fmla="*/ 2147483647 w 831"/>
                <a:gd name="T93" fmla="*/ 2147483647 h 812"/>
                <a:gd name="T94" fmla="*/ 2147483647 w 831"/>
                <a:gd name="T95" fmla="*/ 2147483647 h 812"/>
                <a:gd name="T96" fmla="*/ 2147483647 w 831"/>
                <a:gd name="T97" fmla="*/ 2147483647 h 812"/>
                <a:gd name="T98" fmla="*/ 2147483647 w 831"/>
                <a:gd name="T99" fmla="*/ 2147483647 h 812"/>
                <a:gd name="T100" fmla="*/ 2147483647 w 831"/>
                <a:gd name="T101" fmla="*/ 2147483647 h 812"/>
                <a:gd name="T102" fmla="*/ 2147483647 w 831"/>
                <a:gd name="T103" fmla="*/ 2147483647 h 812"/>
                <a:gd name="T104" fmla="*/ 2147483647 w 831"/>
                <a:gd name="T105" fmla="*/ 2147483647 h 812"/>
                <a:gd name="T106" fmla="*/ 2147483647 w 831"/>
                <a:gd name="T107" fmla="*/ 2147483647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31"/>
                <a:gd name="T163" fmla="*/ 0 h 812"/>
                <a:gd name="T164" fmla="*/ 831 w 831"/>
                <a:gd name="T165" fmla="*/ 812 h 81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5" name="Freeform 262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7326354" y="2773524"/>
              <a:ext cx="201054" cy="534368"/>
            </a:xfrm>
            <a:custGeom>
              <a:avLst/>
              <a:gdLst>
                <a:gd name="T0" fmla="*/ 2147483647 w 505"/>
                <a:gd name="T1" fmla="*/ 2147483647 h 1121"/>
                <a:gd name="T2" fmla="*/ 2147483647 w 505"/>
                <a:gd name="T3" fmla="*/ 2147483647 h 1121"/>
                <a:gd name="T4" fmla="*/ 2147483647 w 505"/>
                <a:gd name="T5" fmla="*/ 2147483647 h 1121"/>
                <a:gd name="T6" fmla="*/ 2147483647 w 505"/>
                <a:gd name="T7" fmla="*/ 2147483647 h 1121"/>
                <a:gd name="T8" fmla="*/ 2147483647 w 505"/>
                <a:gd name="T9" fmla="*/ 2147483647 h 1121"/>
                <a:gd name="T10" fmla="*/ 2147483647 w 505"/>
                <a:gd name="T11" fmla="*/ 2147483647 h 1121"/>
                <a:gd name="T12" fmla="*/ 2147483647 w 505"/>
                <a:gd name="T13" fmla="*/ 2147483647 h 1121"/>
                <a:gd name="T14" fmla="*/ 2147483647 w 505"/>
                <a:gd name="T15" fmla="*/ 2147483647 h 1121"/>
                <a:gd name="T16" fmla="*/ 2147483647 w 505"/>
                <a:gd name="T17" fmla="*/ 2147483647 h 1121"/>
                <a:gd name="T18" fmla="*/ 2147483647 w 505"/>
                <a:gd name="T19" fmla="*/ 2147483647 h 1121"/>
                <a:gd name="T20" fmla="*/ 2147483647 w 505"/>
                <a:gd name="T21" fmla="*/ 2147483647 h 1121"/>
                <a:gd name="T22" fmla="*/ 2147483647 w 505"/>
                <a:gd name="T23" fmla="*/ 2147483647 h 1121"/>
                <a:gd name="T24" fmla="*/ 2147483647 w 505"/>
                <a:gd name="T25" fmla="*/ 2147483647 h 1121"/>
                <a:gd name="T26" fmla="*/ 2147483647 w 505"/>
                <a:gd name="T27" fmla="*/ 2147483647 h 1121"/>
                <a:gd name="T28" fmla="*/ 2147483647 w 505"/>
                <a:gd name="T29" fmla="*/ 2147483647 h 1121"/>
                <a:gd name="T30" fmla="*/ 2147483647 w 505"/>
                <a:gd name="T31" fmla="*/ 2147483647 h 1121"/>
                <a:gd name="T32" fmla="*/ 2147483647 w 505"/>
                <a:gd name="T33" fmla="*/ 2147483647 h 1121"/>
                <a:gd name="T34" fmla="*/ 2147483647 w 505"/>
                <a:gd name="T35" fmla="*/ 2147483647 h 1121"/>
                <a:gd name="T36" fmla="*/ 2147483647 w 505"/>
                <a:gd name="T37" fmla="*/ 2147483647 h 1121"/>
                <a:gd name="T38" fmla="*/ 2147483647 w 505"/>
                <a:gd name="T39" fmla="*/ 2147483647 h 1121"/>
                <a:gd name="T40" fmla="*/ 2147483647 w 505"/>
                <a:gd name="T41" fmla="*/ 2147483647 h 1121"/>
                <a:gd name="T42" fmla="*/ 2147483647 w 505"/>
                <a:gd name="T43" fmla="*/ 2147483647 h 1121"/>
                <a:gd name="T44" fmla="*/ 2147483647 w 505"/>
                <a:gd name="T45" fmla="*/ 2147483647 h 1121"/>
                <a:gd name="T46" fmla="*/ 2147483647 w 505"/>
                <a:gd name="T47" fmla="*/ 2147483647 h 1121"/>
                <a:gd name="T48" fmla="*/ 2147483647 w 505"/>
                <a:gd name="T49" fmla="*/ 2147483647 h 1121"/>
                <a:gd name="T50" fmla="*/ 2147483647 w 505"/>
                <a:gd name="T51" fmla="*/ 2147483647 h 1121"/>
                <a:gd name="T52" fmla="*/ 2147483647 w 505"/>
                <a:gd name="T53" fmla="*/ 2147483647 h 1121"/>
                <a:gd name="T54" fmla="*/ 2147483647 w 505"/>
                <a:gd name="T55" fmla="*/ 2147483647 h 1121"/>
                <a:gd name="T56" fmla="*/ 2147483647 w 505"/>
                <a:gd name="T57" fmla="*/ 2147483647 h 1121"/>
                <a:gd name="T58" fmla="*/ 2147483647 w 505"/>
                <a:gd name="T59" fmla="*/ 2147483647 h 1121"/>
                <a:gd name="T60" fmla="*/ 2147483647 w 505"/>
                <a:gd name="T61" fmla="*/ 2147483647 h 1121"/>
                <a:gd name="T62" fmla="*/ 2147483647 w 505"/>
                <a:gd name="T63" fmla="*/ 2147483647 h 1121"/>
                <a:gd name="T64" fmla="*/ 2147483647 w 505"/>
                <a:gd name="T65" fmla="*/ 2147483647 h 1121"/>
                <a:gd name="T66" fmla="*/ 2147483647 w 505"/>
                <a:gd name="T67" fmla="*/ 2147483647 h 1121"/>
                <a:gd name="T68" fmla="*/ 2147483647 w 505"/>
                <a:gd name="T69" fmla="*/ 2147483647 h 1121"/>
                <a:gd name="T70" fmla="*/ 2147483647 w 505"/>
                <a:gd name="T71" fmla="*/ 2147483647 h 1121"/>
                <a:gd name="T72" fmla="*/ 2147483647 w 505"/>
                <a:gd name="T73" fmla="*/ 2147483647 h 1121"/>
                <a:gd name="T74" fmla="*/ 2147483647 w 505"/>
                <a:gd name="T75" fmla="*/ 2147483647 h 1121"/>
                <a:gd name="T76" fmla="*/ 2147483647 w 505"/>
                <a:gd name="T77" fmla="*/ 2147483647 h 1121"/>
                <a:gd name="T78" fmla="*/ 2147483647 w 505"/>
                <a:gd name="T79" fmla="*/ 2147483647 h 1121"/>
                <a:gd name="T80" fmla="*/ 2147483647 w 505"/>
                <a:gd name="T81" fmla="*/ 2147483647 h 1121"/>
                <a:gd name="T82" fmla="*/ 2147483647 w 505"/>
                <a:gd name="T83" fmla="*/ 2147483647 h 1121"/>
                <a:gd name="T84" fmla="*/ 2147483647 w 505"/>
                <a:gd name="T85" fmla="*/ 2147483647 h 1121"/>
                <a:gd name="T86" fmla="*/ 2147483647 w 505"/>
                <a:gd name="T87" fmla="*/ 2147483647 h 1121"/>
                <a:gd name="T88" fmla="*/ 2147483647 w 505"/>
                <a:gd name="T89" fmla="*/ 2147483647 h 1121"/>
                <a:gd name="T90" fmla="*/ 2147483647 w 505"/>
                <a:gd name="T91" fmla="*/ 2147483647 h 1121"/>
                <a:gd name="T92" fmla="*/ 2147483647 w 505"/>
                <a:gd name="T93" fmla="*/ 2147483647 h 1121"/>
                <a:gd name="T94" fmla="*/ 2147483647 w 505"/>
                <a:gd name="T95" fmla="*/ 2147483647 h 1121"/>
                <a:gd name="T96" fmla="*/ 2147483647 w 505"/>
                <a:gd name="T97" fmla="*/ 2147483647 h 1121"/>
                <a:gd name="T98" fmla="*/ 2147483647 w 505"/>
                <a:gd name="T99" fmla="*/ 2147483647 h 1121"/>
                <a:gd name="T100" fmla="*/ 2147483647 w 505"/>
                <a:gd name="T101" fmla="*/ 2147483647 h 1121"/>
                <a:gd name="T102" fmla="*/ 2147483647 w 505"/>
                <a:gd name="T103" fmla="*/ 214748364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05"/>
                <a:gd name="T157" fmla="*/ 0 h 1121"/>
                <a:gd name="T158" fmla="*/ 505 w 505"/>
                <a:gd name="T159" fmla="*/ 1121 h 1121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6" name="Freeform 263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4887675" y="3238381"/>
              <a:ext cx="73768" cy="53582"/>
            </a:xfrm>
            <a:custGeom>
              <a:avLst/>
              <a:gdLst>
                <a:gd name="T0" fmla="*/ 2147483647 w 180"/>
                <a:gd name="T1" fmla="*/ 2147483647 h 112"/>
                <a:gd name="T2" fmla="*/ 2147483647 w 180"/>
                <a:gd name="T3" fmla="*/ 2147483647 h 112"/>
                <a:gd name="T4" fmla="*/ 2147483647 w 180"/>
                <a:gd name="T5" fmla="*/ 2147483647 h 112"/>
                <a:gd name="T6" fmla="*/ 2147483647 w 180"/>
                <a:gd name="T7" fmla="*/ 2147483647 h 112"/>
                <a:gd name="T8" fmla="*/ 2147483647 w 180"/>
                <a:gd name="T9" fmla="*/ 2147483647 h 112"/>
                <a:gd name="T10" fmla="*/ 2147483647 w 180"/>
                <a:gd name="T11" fmla="*/ 2147483647 h 112"/>
                <a:gd name="T12" fmla="*/ 2147483647 w 180"/>
                <a:gd name="T13" fmla="*/ 2147483647 h 112"/>
                <a:gd name="T14" fmla="*/ 2147483647 w 180"/>
                <a:gd name="T15" fmla="*/ 2147483647 h 112"/>
                <a:gd name="T16" fmla="*/ 2147483647 w 180"/>
                <a:gd name="T17" fmla="*/ 2147483647 h 112"/>
                <a:gd name="T18" fmla="*/ 2147483647 w 180"/>
                <a:gd name="T19" fmla="*/ 2147483647 h 112"/>
                <a:gd name="T20" fmla="*/ 2147483647 w 180"/>
                <a:gd name="T21" fmla="*/ 2147483647 h 112"/>
                <a:gd name="T22" fmla="*/ 2147483647 w 180"/>
                <a:gd name="T23" fmla="*/ 2147483647 h 112"/>
                <a:gd name="T24" fmla="*/ 2147483647 w 180"/>
                <a:gd name="T25" fmla="*/ 2147483647 h 112"/>
                <a:gd name="T26" fmla="*/ 2147483647 w 180"/>
                <a:gd name="T27" fmla="*/ 2147483647 h 112"/>
                <a:gd name="T28" fmla="*/ 2147483647 w 180"/>
                <a:gd name="T29" fmla="*/ 2147483647 h 112"/>
                <a:gd name="T30" fmla="*/ 2147483647 w 180"/>
                <a:gd name="T31" fmla="*/ 2147483647 h 112"/>
                <a:gd name="T32" fmla="*/ 2147483647 w 180"/>
                <a:gd name="T33" fmla="*/ 2147483647 h 112"/>
                <a:gd name="T34" fmla="*/ 2147483647 w 180"/>
                <a:gd name="T35" fmla="*/ 2147483647 h 112"/>
                <a:gd name="T36" fmla="*/ 2147483647 w 180"/>
                <a:gd name="T37" fmla="*/ 2147483647 h 112"/>
                <a:gd name="T38" fmla="*/ 2147483647 w 180"/>
                <a:gd name="T39" fmla="*/ 2147483647 h 112"/>
                <a:gd name="T40" fmla="*/ 2147483647 w 180"/>
                <a:gd name="T41" fmla="*/ 2147483647 h 112"/>
                <a:gd name="T42" fmla="*/ 2147483647 w 180"/>
                <a:gd name="T43" fmla="*/ 2147483647 h 112"/>
                <a:gd name="T44" fmla="*/ 0 w 180"/>
                <a:gd name="T45" fmla="*/ 2147483647 h 112"/>
                <a:gd name="T46" fmla="*/ 2147483647 w 180"/>
                <a:gd name="T47" fmla="*/ 2147483647 h 112"/>
                <a:gd name="T48" fmla="*/ 2147483647 w 180"/>
                <a:gd name="T49" fmla="*/ 2147483647 h 112"/>
                <a:gd name="T50" fmla="*/ 2147483647 w 180"/>
                <a:gd name="T51" fmla="*/ 2147483647 h 112"/>
                <a:gd name="T52" fmla="*/ 2147483647 w 180"/>
                <a:gd name="T53" fmla="*/ 2147483647 h 112"/>
                <a:gd name="T54" fmla="*/ 2147483647 w 180"/>
                <a:gd name="T55" fmla="*/ 2147483647 h 112"/>
                <a:gd name="T56" fmla="*/ 2147483647 w 180"/>
                <a:gd name="T57" fmla="*/ 0 h 112"/>
                <a:gd name="T58" fmla="*/ 2147483647 w 180"/>
                <a:gd name="T59" fmla="*/ 2147483647 h 112"/>
                <a:gd name="T60" fmla="*/ 2147483647 w 180"/>
                <a:gd name="T61" fmla="*/ 2147483647 h 112"/>
                <a:gd name="T62" fmla="*/ 2147483647 w 180"/>
                <a:gd name="T63" fmla="*/ 2147483647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80"/>
                <a:gd name="T97" fmla="*/ 0 h 112"/>
                <a:gd name="T98" fmla="*/ 180 w 180"/>
                <a:gd name="T99" fmla="*/ 112 h 11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7" name="Freeform 264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4964336" y="3313685"/>
              <a:ext cx="67982" cy="91234"/>
            </a:xfrm>
            <a:custGeom>
              <a:avLst/>
              <a:gdLst>
                <a:gd name="T0" fmla="*/ 0 w 173"/>
                <a:gd name="T1" fmla="*/ 2147483647 h 192"/>
                <a:gd name="T2" fmla="*/ 2147483647 w 173"/>
                <a:gd name="T3" fmla="*/ 2147483647 h 192"/>
                <a:gd name="T4" fmla="*/ 2147483647 w 173"/>
                <a:gd name="T5" fmla="*/ 2147483647 h 192"/>
                <a:gd name="T6" fmla="*/ 2147483647 w 173"/>
                <a:gd name="T7" fmla="*/ 2147483647 h 192"/>
                <a:gd name="T8" fmla="*/ 2147483647 w 173"/>
                <a:gd name="T9" fmla="*/ 2147483647 h 192"/>
                <a:gd name="T10" fmla="*/ 2147483647 w 173"/>
                <a:gd name="T11" fmla="*/ 2147483647 h 192"/>
                <a:gd name="T12" fmla="*/ 2147483647 w 173"/>
                <a:gd name="T13" fmla="*/ 2147483647 h 192"/>
                <a:gd name="T14" fmla="*/ 2147483647 w 173"/>
                <a:gd name="T15" fmla="*/ 2147483647 h 192"/>
                <a:gd name="T16" fmla="*/ 2147483647 w 173"/>
                <a:gd name="T17" fmla="*/ 2147483647 h 192"/>
                <a:gd name="T18" fmla="*/ 2147483647 w 173"/>
                <a:gd name="T19" fmla="*/ 2147483647 h 192"/>
                <a:gd name="T20" fmla="*/ 2147483647 w 173"/>
                <a:gd name="T21" fmla="*/ 0 h 192"/>
                <a:gd name="T22" fmla="*/ 2147483647 w 173"/>
                <a:gd name="T23" fmla="*/ 2147483647 h 192"/>
                <a:gd name="T24" fmla="*/ 2147483647 w 173"/>
                <a:gd name="T25" fmla="*/ 2147483647 h 192"/>
                <a:gd name="T26" fmla="*/ 2147483647 w 173"/>
                <a:gd name="T27" fmla="*/ 2147483647 h 192"/>
                <a:gd name="T28" fmla="*/ 2147483647 w 173"/>
                <a:gd name="T29" fmla="*/ 2147483647 h 192"/>
                <a:gd name="T30" fmla="*/ 2147483647 w 173"/>
                <a:gd name="T31" fmla="*/ 2147483647 h 192"/>
                <a:gd name="T32" fmla="*/ 2147483647 w 173"/>
                <a:gd name="T33" fmla="*/ 2147483647 h 192"/>
                <a:gd name="T34" fmla="*/ 2147483647 w 173"/>
                <a:gd name="T35" fmla="*/ 2147483647 h 192"/>
                <a:gd name="T36" fmla="*/ 2147483647 w 173"/>
                <a:gd name="T37" fmla="*/ 2147483647 h 192"/>
                <a:gd name="T38" fmla="*/ 2147483647 w 173"/>
                <a:gd name="T39" fmla="*/ 2147483647 h 192"/>
                <a:gd name="T40" fmla="*/ 2147483647 w 173"/>
                <a:gd name="T41" fmla="*/ 2147483647 h 192"/>
                <a:gd name="T42" fmla="*/ 2147483647 w 173"/>
                <a:gd name="T43" fmla="*/ 2147483647 h 192"/>
                <a:gd name="T44" fmla="*/ 2147483647 w 173"/>
                <a:gd name="T45" fmla="*/ 2147483647 h 192"/>
                <a:gd name="T46" fmla="*/ 2147483647 w 173"/>
                <a:gd name="T47" fmla="*/ 2147483647 h 192"/>
                <a:gd name="T48" fmla="*/ 2147483647 w 173"/>
                <a:gd name="T49" fmla="*/ 2147483647 h 192"/>
                <a:gd name="T50" fmla="*/ 2147483647 w 173"/>
                <a:gd name="T51" fmla="*/ 2147483647 h 192"/>
                <a:gd name="T52" fmla="*/ 2147483647 w 173"/>
                <a:gd name="T53" fmla="*/ 2147483647 h 192"/>
                <a:gd name="T54" fmla="*/ 2147483647 w 173"/>
                <a:gd name="T55" fmla="*/ 2147483647 h 192"/>
                <a:gd name="T56" fmla="*/ 2147483647 w 173"/>
                <a:gd name="T57" fmla="*/ 2147483647 h 192"/>
                <a:gd name="T58" fmla="*/ 2147483647 w 173"/>
                <a:gd name="T59" fmla="*/ 2147483647 h 192"/>
                <a:gd name="T60" fmla="*/ 2147483647 w 173"/>
                <a:gd name="T61" fmla="*/ 2147483647 h 192"/>
                <a:gd name="T62" fmla="*/ 2147483647 w 173"/>
                <a:gd name="T63" fmla="*/ 2147483647 h 192"/>
                <a:gd name="T64" fmla="*/ 2147483647 w 173"/>
                <a:gd name="T65" fmla="*/ 2147483647 h 192"/>
                <a:gd name="T66" fmla="*/ 2147483647 w 173"/>
                <a:gd name="T67" fmla="*/ 2147483647 h 192"/>
                <a:gd name="T68" fmla="*/ 2147483647 w 173"/>
                <a:gd name="T69" fmla="*/ 2147483647 h 192"/>
                <a:gd name="T70" fmla="*/ 2147483647 w 173"/>
                <a:gd name="T71" fmla="*/ 2147483647 h 192"/>
                <a:gd name="T72" fmla="*/ 2147483647 w 173"/>
                <a:gd name="T73" fmla="*/ 2147483647 h 192"/>
                <a:gd name="T74" fmla="*/ 2147483647 w 173"/>
                <a:gd name="T75" fmla="*/ 2147483647 h 192"/>
                <a:gd name="T76" fmla="*/ 2147483647 w 173"/>
                <a:gd name="T77" fmla="*/ 2147483647 h 192"/>
                <a:gd name="T78" fmla="*/ 2147483647 w 173"/>
                <a:gd name="T79" fmla="*/ 2147483647 h 192"/>
                <a:gd name="T80" fmla="*/ 2147483647 w 173"/>
                <a:gd name="T81" fmla="*/ 2147483647 h 192"/>
                <a:gd name="T82" fmla="*/ 2147483647 w 173"/>
                <a:gd name="T83" fmla="*/ 2147483647 h 192"/>
                <a:gd name="T84" fmla="*/ 0 w 173"/>
                <a:gd name="T85" fmla="*/ 2147483647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73"/>
                <a:gd name="T130" fmla="*/ 0 h 192"/>
                <a:gd name="T131" fmla="*/ 173 w 173"/>
                <a:gd name="T132" fmla="*/ 192 h 19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0" name="Freeform 267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4881890" y="3209418"/>
              <a:ext cx="79554" cy="53582"/>
            </a:xfrm>
            <a:custGeom>
              <a:avLst/>
              <a:gdLst>
                <a:gd name="T0" fmla="*/ 2147483647 w 193"/>
                <a:gd name="T1" fmla="*/ 2147483647 h 38"/>
                <a:gd name="T2" fmla="*/ 2147483647 w 193"/>
                <a:gd name="T3" fmla="*/ 2147483647 h 38"/>
                <a:gd name="T4" fmla="*/ 2147483647 w 193"/>
                <a:gd name="T5" fmla="*/ 2147483647 h 38"/>
                <a:gd name="T6" fmla="*/ 2147483647 w 193"/>
                <a:gd name="T7" fmla="*/ 2147483647 h 38"/>
                <a:gd name="T8" fmla="*/ 2147483647 w 193"/>
                <a:gd name="T9" fmla="*/ 2147483647 h 38"/>
                <a:gd name="T10" fmla="*/ 2147483647 w 193"/>
                <a:gd name="T11" fmla="*/ 2147483647 h 38"/>
                <a:gd name="T12" fmla="*/ 2147483647 w 193"/>
                <a:gd name="T13" fmla="*/ 0 h 38"/>
                <a:gd name="T14" fmla="*/ 2147483647 w 193"/>
                <a:gd name="T15" fmla="*/ 2147483647 h 38"/>
                <a:gd name="T16" fmla="*/ 2147483647 w 193"/>
                <a:gd name="T17" fmla="*/ 2147483647 h 38"/>
                <a:gd name="T18" fmla="*/ 2147483647 w 193"/>
                <a:gd name="T19" fmla="*/ 2147483647 h 38"/>
                <a:gd name="T20" fmla="*/ 2147483647 w 193"/>
                <a:gd name="T21" fmla="*/ 2147483647 h 38"/>
                <a:gd name="T22" fmla="*/ 2147483647 w 193"/>
                <a:gd name="T23" fmla="*/ 2147483647 h 38"/>
                <a:gd name="T24" fmla="*/ 2147483647 w 193"/>
                <a:gd name="T25" fmla="*/ 2147483647 h 38"/>
                <a:gd name="T26" fmla="*/ 2147483647 w 193"/>
                <a:gd name="T27" fmla="*/ 2147483647 h 38"/>
                <a:gd name="T28" fmla="*/ 2147483647 w 193"/>
                <a:gd name="T29" fmla="*/ 2147483647 h 38"/>
                <a:gd name="T30" fmla="*/ 2147483647 w 193"/>
                <a:gd name="T31" fmla="*/ 2147483647 h 38"/>
                <a:gd name="T32" fmla="*/ 2147483647 w 193"/>
                <a:gd name="T33" fmla="*/ 2147483647 h 38"/>
                <a:gd name="T34" fmla="*/ 2147483647 w 193"/>
                <a:gd name="T35" fmla="*/ 2147483647 h 38"/>
                <a:gd name="T36" fmla="*/ 2147483647 w 193"/>
                <a:gd name="T37" fmla="*/ 2147483647 h 38"/>
                <a:gd name="T38" fmla="*/ 2147483647 w 193"/>
                <a:gd name="T39" fmla="*/ 2147483647 h 38"/>
                <a:gd name="T40" fmla="*/ 2147483647 w 193"/>
                <a:gd name="T41" fmla="*/ 2147483647 h 38"/>
                <a:gd name="T42" fmla="*/ 2147483647 w 193"/>
                <a:gd name="T43" fmla="*/ 2147483647 h 38"/>
                <a:gd name="T44" fmla="*/ 2147483647 w 193"/>
                <a:gd name="T45" fmla="*/ 2147483647 h 38"/>
                <a:gd name="T46" fmla="*/ 2147483647 w 193"/>
                <a:gd name="T47" fmla="*/ 2147483647 h 38"/>
                <a:gd name="T48" fmla="*/ 2147483647 w 193"/>
                <a:gd name="T49" fmla="*/ 2147483647 h 38"/>
                <a:gd name="T50" fmla="*/ 2147483647 w 193"/>
                <a:gd name="T51" fmla="*/ 2147483647 h 38"/>
                <a:gd name="T52" fmla="*/ 2147483647 w 193"/>
                <a:gd name="T53" fmla="*/ 2147483647 h 38"/>
                <a:gd name="T54" fmla="*/ 2147483647 w 193"/>
                <a:gd name="T55" fmla="*/ 2147483647 h 38"/>
                <a:gd name="T56" fmla="*/ 2147483647 w 193"/>
                <a:gd name="T57" fmla="*/ 2147483647 h 38"/>
                <a:gd name="T58" fmla="*/ 2147483647 w 193"/>
                <a:gd name="T59" fmla="*/ 2147483647 h 38"/>
                <a:gd name="T60" fmla="*/ 0 w 193"/>
                <a:gd name="T61" fmla="*/ 2147483647 h 38"/>
                <a:gd name="T62" fmla="*/ 0 w 193"/>
                <a:gd name="T63" fmla="*/ 2147483647 h 38"/>
                <a:gd name="T64" fmla="*/ 2147483647 w 193"/>
                <a:gd name="T65" fmla="*/ 2147483647 h 38"/>
                <a:gd name="T66" fmla="*/ 2147483647 w 193"/>
                <a:gd name="T67" fmla="*/ 2147483647 h 38"/>
                <a:gd name="T68" fmla="*/ 2147483647 w 193"/>
                <a:gd name="T69" fmla="*/ 2147483647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93"/>
                <a:gd name="T106" fmla="*/ 0 h 38"/>
                <a:gd name="T107" fmla="*/ 193 w 193"/>
                <a:gd name="T108" fmla="*/ 38 h 3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1" name="Freeform 268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5269532" y="3280378"/>
              <a:ext cx="39054" cy="141919"/>
            </a:xfrm>
            <a:custGeom>
              <a:avLst/>
              <a:gdLst>
                <a:gd name="T0" fmla="*/ 2147483647 w 99"/>
                <a:gd name="T1" fmla="*/ 2147483647 h 301"/>
                <a:gd name="T2" fmla="*/ 2147483647 w 99"/>
                <a:gd name="T3" fmla="*/ 2147483647 h 301"/>
                <a:gd name="T4" fmla="*/ 2147483647 w 99"/>
                <a:gd name="T5" fmla="*/ 2147483647 h 301"/>
                <a:gd name="T6" fmla="*/ 2147483647 w 99"/>
                <a:gd name="T7" fmla="*/ 2147483647 h 301"/>
                <a:gd name="T8" fmla="*/ 2147483647 w 99"/>
                <a:gd name="T9" fmla="*/ 2147483647 h 301"/>
                <a:gd name="T10" fmla="*/ 2147483647 w 99"/>
                <a:gd name="T11" fmla="*/ 2147483647 h 301"/>
                <a:gd name="T12" fmla="*/ 2147483647 w 99"/>
                <a:gd name="T13" fmla="*/ 2147483647 h 301"/>
                <a:gd name="T14" fmla="*/ 2147483647 w 99"/>
                <a:gd name="T15" fmla="*/ 2147483647 h 301"/>
                <a:gd name="T16" fmla="*/ 2147483647 w 99"/>
                <a:gd name="T17" fmla="*/ 2147483647 h 301"/>
                <a:gd name="T18" fmla="*/ 2147483647 w 99"/>
                <a:gd name="T19" fmla="*/ 2147483647 h 301"/>
                <a:gd name="T20" fmla="*/ 2147483647 w 99"/>
                <a:gd name="T21" fmla="*/ 2147483647 h 301"/>
                <a:gd name="T22" fmla="*/ 2147483647 w 99"/>
                <a:gd name="T23" fmla="*/ 2147483647 h 301"/>
                <a:gd name="T24" fmla="*/ 2147483647 w 99"/>
                <a:gd name="T25" fmla="*/ 2147483647 h 301"/>
                <a:gd name="T26" fmla="*/ 2147483647 w 99"/>
                <a:gd name="T27" fmla="*/ 2147483647 h 301"/>
                <a:gd name="T28" fmla="*/ 2147483647 w 99"/>
                <a:gd name="T29" fmla="*/ 2147483647 h 301"/>
                <a:gd name="T30" fmla="*/ 2147483647 w 99"/>
                <a:gd name="T31" fmla="*/ 2147483647 h 301"/>
                <a:gd name="T32" fmla="*/ 2147483647 w 99"/>
                <a:gd name="T33" fmla="*/ 2147483647 h 301"/>
                <a:gd name="T34" fmla="*/ 2147483647 w 99"/>
                <a:gd name="T35" fmla="*/ 2147483647 h 301"/>
                <a:gd name="T36" fmla="*/ 2147483647 w 99"/>
                <a:gd name="T37" fmla="*/ 2147483647 h 301"/>
                <a:gd name="T38" fmla="*/ 2147483647 w 99"/>
                <a:gd name="T39" fmla="*/ 2147483647 h 301"/>
                <a:gd name="T40" fmla="*/ 2147483647 w 99"/>
                <a:gd name="T41" fmla="*/ 2147483647 h 301"/>
                <a:gd name="T42" fmla="*/ 2147483647 w 99"/>
                <a:gd name="T43" fmla="*/ 2147483647 h 301"/>
                <a:gd name="T44" fmla="*/ 2147483647 w 99"/>
                <a:gd name="T45" fmla="*/ 2147483647 h 301"/>
                <a:gd name="T46" fmla="*/ 2147483647 w 99"/>
                <a:gd name="T47" fmla="*/ 2147483647 h 301"/>
                <a:gd name="T48" fmla="*/ 2147483647 w 99"/>
                <a:gd name="T49" fmla="*/ 2147483647 h 301"/>
                <a:gd name="T50" fmla="*/ 2147483647 w 99"/>
                <a:gd name="T51" fmla="*/ 2147483647 h 301"/>
                <a:gd name="T52" fmla="*/ 2147483647 w 99"/>
                <a:gd name="T53" fmla="*/ 2147483647 h 301"/>
                <a:gd name="T54" fmla="*/ 2147483647 w 99"/>
                <a:gd name="T55" fmla="*/ 2147483647 h 301"/>
                <a:gd name="T56" fmla="*/ 0 w 99"/>
                <a:gd name="T57" fmla="*/ 2147483647 h 301"/>
                <a:gd name="T58" fmla="*/ 2147483647 w 99"/>
                <a:gd name="T59" fmla="*/ 2147483647 h 301"/>
                <a:gd name="T60" fmla="*/ 2147483647 w 99"/>
                <a:gd name="T61" fmla="*/ 0 h 301"/>
                <a:gd name="T62" fmla="*/ 2147483647 w 99"/>
                <a:gd name="T63" fmla="*/ 0 h 301"/>
                <a:gd name="T64" fmla="*/ 2147483647 w 99"/>
                <a:gd name="T65" fmla="*/ 0 h 301"/>
                <a:gd name="T66" fmla="*/ 2147483647 w 99"/>
                <a:gd name="T67" fmla="*/ 0 h 301"/>
                <a:gd name="T68" fmla="*/ 2147483647 w 99"/>
                <a:gd name="T69" fmla="*/ 2147483647 h 301"/>
                <a:gd name="T70" fmla="*/ 2147483647 w 99"/>
                <a:gd name="T71" fmla="*/ 2147483647 h 301"/>
                <a:gd name="T72" fmla="*/ 2147483647 w 99"/>
                <a:gd name="T73" fmla="*/ 2147483647 h 301"/>
                <a:gd name="T74" fmla="*/ 2147483647 w 99"/>
                <a:gd name="T75" fmla="*/ 2147483647 h 301"/>
                <a:gd name="T76" fmla="*/ 2147483647 w 99"/>
                <a:gd name="T77" fmla="*/ 2147483647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9"/>
                <a:gd name="T118" fmla="*/ 0 h 301"/>
                <a:gd name="T119" fmla="*/ 99 w 99"/>
                <a:gd name="T120" fmla="*/ 301 h 30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2" name="Freeform 269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5292675" y="3245622"/>
              <a:ext cx="69429" cy="172330"/>
            </a:xfrm>
            <a:custGeom>
              <a:avLst/>
              <a:gdLst>
                <a:gd name="T0" fmla="*/ 0 w 173"/>
                <a:gd name="T1" fmla="*/ 2147483647 h 357"/>
                <a:gd name="T2" fmla="*/ 2147483647 w 173"/>
                <a:gd name="T3" fmla="*/ 2147483647 h 357"/>
                <a:gd name="T4" fmla="*/ 2147483647 w 173"/>
                <a:gd name="T5" fmla="*/ 2147483647 h 357"/>
                <a:gd name="T6" fmla="*/ 2147483647 w 173"/>
                <a:gd name="T7" fmla="*/ 2147483647 h 357"/>
                <a:gd name="T8" fmla="*/ 2147483647 w 173"/>
                <a:gd name="T9" fmla="*/ 2147483647 h 357"/>
                <a:gd name="T10" fmla="*/ 2147483647 w 173"/>
                <a:gd name="T11" fmla="*/ 2147483647 h 357"/>
                <a:gd name="T12" fmla="*/ 2147483647 w 173"/>
                <a:gd name="T13" fmla="*/ 2147483647 h 357"/>
                <a:gd name="T14" fmla="*/ 2147483647 w 173"/>
                <a:gd name="T15" fmla="*/ 0 h 357"/>
                <a:gd name="T16" fmla="*/ 2147483647 w 173"/>
                <a:gd name="T17" fmla="*/ 2147483647 h 357"/>
                <a:gd name="T18" fmla="*/ 2147483647 w 173"/>
                <a:gd name="T19" fmla="*/ 2147483647 h 357"/>
                <a:gd name="T20" fmla="*/ 2147483647 w 173"/>
                <a:gd name="T21" fmla="*/ 2147483647 h 357"/>
                <a:gd name="T22" fmla="*/ 2147483647 w 173"/>
                <a:gd name="T23" fmla="*/ 2147483647 h 357"/>
                <a:gd name="T24" fmla="*/ 2147483647 w 173"/>
                <a:gd name="T25" fmla="*/ 2147483647 h 357"/>
                <a:gd name="T26" fmla="*/ 2147483647 w 173"/>
                <a:gd name="T27" fmla="*/ 2147483647 h 357"/>
                <a:gd name="T28" fmla="*/ 2147483647 w 173"/>
                <a:gd name="T29" fmla="*/ 2147483647 h 357"/>
                <a:gd name="T30" fmla="*/ 2147483647 w 173"/>
                <a:gd name="T31" fmla="*/ 2147483647 h 357"/>
                <a:gd name="T32" fmla="*/ 2147483647 w 173"/>
                <a:gd name="T33" fmla="*/ 2147483647 h 357"/>
                <a:gd name="T34" fmla="*/ 2147483647 w 173"/>
                <a:gd name="T35" fmla="*/ 2147483647 h 357"/>
                <a:gd name="T36" fmla="*/ 2147483647 w 173"/>
                <a:gd name="T37" fmla="*/ 2147483647 h 357"/>
                <a:gd name="T38" fmla="*/ 2147483647 w 173"/>
                <a:gd name="T39" fmla="*/ 2147483647 h 357"/>
                <a:gd name="T40" fmla="*/ 2147483647 w 173"/>
                <a:gd name="T41" fmla="*/ 2147483647 h 357"/>
                <a:gd name="T42" fmla="*/ 2147483647 w 173"/>
                <a:gd name="T43" fmla="*/ 2147483647 h 357"/>
                <a:gd name="T44" fmla="*/ 2147483647 w 173"/>
                <a:gd name="T45" fmla="*/ 2147483647 h 357"/>
                <a:gd name="T46" fmla="*/ 2147483647 w 173"/>
                <a:gd name="T47" fmla="*/ 2147483647 h 357"/>
                <a:gd name="T48" fmla="*/ 2147483647 w 173"/>
                <a:gd name="T49" fmla="*/ 2147483647 h 357"/>
                <a:gd name="T50" fmla="*/ 2147483647 w 173"/>
                <a:gd name="T51" fmla="*/ 2147483647 h 357"/>
                <a:gd name="T52" fmla="*/ 2147483647 w 173"/>
                <a:gd name="T53" fmla="*/ 2147483647 h 357"/>
                <a:gd name="T54" fmla="*/ 2147483647 w 173"/>
                <a:gd name="T55" fmla="*/ 2147483647 h 357"/>
                <a:gd name="T56" fmla="*/ 2147483647 w 173"/>
                <a:gd name="T57" fmla="*/ 2147483647 h 357"/>
                <a:gd name="T58" fmla="*/ 2147483647 w 173"/>
                <a:gd name="T59" fmla="*/ 2147483647 h 357"/>
                <a:gd name="T60" fmla="*/ 2147483647 w 173"/>
                <a:gd name="T61" fmla="*/ 2147483647 h 357"/>
                <a:gd name="T62" fmla="*/ 2147483647 w 173"/>
                <a:gd name="T63" fmla="*/ 2147483647 h 357"/>
                <a:gd name="T64" fmla="*/ 2147483647 w 173"/>
                <a:gd name="T65" fmla="*/ 2147483647 h 357"/>
                <a:gd name="T66" fmla="*/ 2147483647 w 173"/>
                <a:gd name="T67" fmla="*/ 2147483647 h 357"/>
                <a:gd name="T68" fmla="*/ 2147483647 w 173"/>
                <a:gd name="T69" fmla="*/ 2147483647 h 357"/>
                <a:gd name="T70" fmla="*/ 2147483647 w 173"/>
                <a:gd name="T71" fmla="*/ 2147483647 h 357"/>
                <a:gd name="T72" fmla="*/ 2147483647 w 173"/>
                <a:gd name="T73" fmla="*/ 2147483647 h 357"/>
                <a:gd name="T74" fmla="*/ 2147483647 w 173"/>
                <a:gd name="T75" fmla="*/ 2147483647 h 357"/>
                <a:gd name="T76" fmla="*/ 2147483647 w 173"/>
                <a:gd name="T77" fmla="*/ 2147483647 h 357"/>
                <a:gd name="T78" fmla="*/ 2147483647 w 173"/>
                <a:gd name="T79" fmla="*/ 2147483647 h 357"/>
                <a:gd name="T80" fmla="*/ 2147483647 w 173"/>
                <a:gd name="T81" fmla="*/ 2147483647 h 357"/>
                <a:gd name="T82" fmla="*/ 2147483647 w 173"/>
                <a:gd name="T83" fmla="*/ 2147483647 h 357"/>
                <a:gd name="T84" fmla="*/ 2147483647 w 173"/>
                <a:gd name="T85" fmla="*/ 2147483647 h 357"/>
                <a:gd name="T86" fmla="*/ 2147483647 w 173"/>
                <a:gd name="T87" fmla="*/ 2147483647 h 357"/>
                <a:gd name="T88" fmla="*/ 2147483647 w 173"/>
                <a:gd name="T89" fmla="*/ 2147483647 h 357"/>
                <a:gd name="T90" fmla="*/ 2147483647 w 173"/>
                <a:gd name="T91" fmla="*/ 2147483647 h 357"/>
                <a:gd name="T92" fmla="*/ 2147483647 w 173"/>
                <a:gd name="T93" fmla="*/ 2147483647 h 357"/>
                <a:gd name="T94" fmla="*/ 2147483647 w 173"/>
                <a:gd name="T95" fmla="*/ 2147483647 h 357"/>
                <a:gd name="T96" fmla="*/ 2147483647 w 173"/>
                <a:gd name="T97" fmla="*/ 2147483647 h 357"/>
                <a:gd name="T98" fmla="*/ 2147483647 w 173"/>
                <a:gd name="T99" fmla="*/ 2147483647 h 357"/>
                <a:gd name="T100" fmla="*/ 2147483647 w 173"/>
                <a:gd name="T101" fmla="*/ 2147483647 h 357"/>
                <a:gd name="T102" fmla="*/ 2147483647 w 173"/>
                <a:gd name="T103" fmla="*/ 2147483647 h 357"/>
                <a:gd name="T104" fmla="*/ 2147483647 w 173"/>
                <a:gd name="T105" fmla="*/ 2147483647 h 357"/>
                <a:gd name="T106" fmla="*/ 2147483647 w 173"/>
                <a:gd name="T107" fmla="*/ 2147483647 h 357"/>
                <a:gd name="T108" fmla="*/ 2147483647 w 173"/>
                <a:gd name="T109" fmla="*/ 2147483647 h 357"/>
                <a:gd name="T110" fmla="*/ 2147483647 w 173"/>
                <a:gd name="T111" fmla="*/ 2147483647 h 357"/>
                <a:gd name="T112" fmla="*/ 2147483647 w 173"/>
                <a:gd name="T113" fmla="*/ 2147483647 h 357"/>
                <a:gd name="T114" fmla="*/ 2147483647 w 173"/>
                <a:gd name="T115" fmla="*/ 2147483647 h 357"/>
                <a:gd name="T116" fmla="*/ 2147483647 w 173"/>
                <a:gd name="T117" fmla="*/ 2147483647 h 357"/>
                <a:gd name="T118" fmla="*/ 0 w 173"/>
                <a:gd name="T119" fmla="*/ 2147483647 h 357"/>
                <a:gd name="T120" fmla="*/ 0 w 173"/>
                <a:gd name="T121" fmla="*/ 2147483647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73"/>
                <a:gd name="T184" fmla="*/ 0 h 357"/>
                <a:gd name="T185" fmla="*/ 173 w 173"/>
                <a:gd name="T186" fmla="*/ 357 h 35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3" name="Freeform 270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5956586" y="4344770"/>
              <a:ext cx="23143" cy="55030"/>
            </a:xfrm>
            <a:custGeom>
              <a:avLst/>
              <a:gdLst>
                <a:gd name="T0" fmla="*/ 2147483647 w 50"/>
                <a:gd name="T1" fmla="*/ 0 h 74"/>
                <a:gd name="T2" fmla="*/ 2147483647 w 50"/>
                <a:gd name="T3" fmla="*/ 2147483647 h 74"/>
                <a:gd name="T4" fmla="*/ 2147483647 w 50"/>
                <a:gd name="T5" fmla="*/ 2147483647 h 74"/>
                <a:gd name="T6" fmla="*/ 0 w 50"/>
                <a:gd name="T7" fmla="*/ 2147483647 h 74"/>
                <a:gd name="T8" fmla="*/ 0 w 50"/>
                <a:gd name="T9" fmla="*/ 2147483647 h 74"/>
                <a:gd name="T10" fmla="*/ 0 w 50"/>
                <a:gd name="T11" fmla="*/ 2147483647 h 74"/>
                <a:gd name="T12" fmla="*/ 2147483647 w 50"/>
                <a:gd name="T13" fmla="*/ 2147483647 h 74"/>
                <a:gd name="T14" fmla="*/ 2147483647 w 50"/>
                <a:gd name="T15" fmla="*/ 2147483647 h 74"/>
                <a:gd name="T16" fmla="*/ 2147483647 w 50"/>
                <a:gd name="T17" fmla="*/ 2147483647 h 74"/>
                <a:gd name="T18" fmla="*/ 2147483647 w 50"/>
                <a:gd name="T19" fmla="*/ 2147483647 h 74"/>
                <a:gd name="T20" fmla="*/ 2147483647 w 50"/>
                <a:gd name="T21" fmla="*/ 2147483647 h 74"/>
                <a:gd name="T22" fmla="*/ 2147483647 w 50"/>
                <a:gd name="T23" fmla="*/ 2147483647 h 74"/>
                <a:gd name="T24" fmla="*/ 2147483647 w 50"/>
                <a:gd name="T25" fmla="*/ 2147483647 h 74"/>
                <a:gd name="T26" fmla="*/ 2147483647 w 50"/>
                <a:gd name="T27" fmla="*/ 0 h 74"/>
                <a:gd name="T28" fmla="*/ 2147483647 w 50"/>
                <a:gd name="T29" fmla="*/ 0 h 74"/>
                <a:gd name="T30" fmla="*/ 2147483647 w 50"/>
                <a:gd name="T31" fmla="*/ 0 h 74"/>
                <a:gd name="T32" fmla="*/ 2147483647 w 50"/>
                <a:gd name="T33" fmla="*/ 0 h 74"/>
                <a:gd name="T34" fmla="*/ 2147483647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0"/>
                <a:gd name="T55" fmla="*/ 0 h 74"/>
                <a:gd name="T56" fmla="*/ 50 w 50"/>
                <a:gd name="T57" fmla="*/ 74 h 7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0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4" name="Freeform 271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5861122" y="4433108"/>
              <a:ext cx="56410" cy="52134"/>
            </a:xfrm>
            <a:custGeom>
              <a:avLst/>
              <a:gdLst>
                <a:gd name="T0" fmla="*/ 2147483647 w 135"/>
                <a:gd name="T1" fmla="*/ 2147483647 h 98"/>
                <a:gd name="T2" fmla="*/ 2147483647 w 135"/>
                <a:gd name="T3" fmla="*/ 2147483647 h 98"/>
                <a:gd name="T4" fmla="*/ 2147483647 w 135"/>
                <a:gd name="T5" fmla="*/ 2147483647 h 98"/>
                <a:gd name="T6" fmla="*/ 2147483647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2147483647 h 98"/>
                <a:gd name="T18" fmla="*/ 2147483647 w 135"/>
                <a:gd name="T19" fmla="*/ 2147483647 h 98"/>
                <a:gd name="T20" fmla="*/ 2147483647 w 135"/>
                <a:gd name="T21" fmla="*/ 2147483647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2147483647 h 98"/>
                <a:gd name="T30" fmla="*/ 2147483647 w 135"/>
                <a:gd name="T31" fmla="*/ 2147483647 h 98"/>
                <a:gd name="T32" fmla="*/ 2147483647 w 135"/>
                <a:gd name="T33" fmla="*/ 2147483647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2147483647 w 135"/>
                <a:gd name="T69" fmla="*/ 2147483647 h 98"/>
                <a:gd name="T70" fmla="*/ 2147483647 w 135"/>
                <a:gd name="T71" fmla="*/ 2147483647 h 98"/>
                <a:gd name="T72" fmla="*/ 2147483647 w 135"/>
                <a:gd name="T73" fmla="*/ 2147483647 h 98"/>
                <a:gd name="T74" fmla="*/ 2147483647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2147483647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35"/>
                <a:gd name="T124" fmla="*/ 0 h 98"/>
                <a:gd name="T125" fmla="*/ 135 w 135"/>
                <a:gd name="T126" fmla="*/ 98 h 9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5" name="Freeform 272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7881782" y="2347767"/>
              <a:ext cx="109929" cy="156401"/>
            </a:xfrm>
            <a:custGeom>
              <a:avLst/>
              <a:gdLst>
                <a:gd name="T0" fmla="*/ 2147483647 w 266"/>
                <a:gd name="T1" fmla="*/ 2147483647 h 326"/>
                <a:gd name="T2" fmla="*/ 2147483647 w 266"/>
                <a:gd name="T3" fmla="*/ 2147483647 h 326"/>
                <a:gd name="T4" fmla="*/ 2147483647 w 266"/>
                <a:gd name="T5" fmla="*/ 2147483647 h 326"/>
                <a:gd name="T6" fmla="*/ 2147483647 w 266"/>
                <a:gd name="T7" fmla="*/ 2147483647 h 326"/>
                <a:gd name="T8" fmla="*/ 2147483647 w 266"/>
                <a:gd name="T9" fmla="*/ 2147483647 h 326"/>
                <a:gd name="T10" fmla="*/ 2147483647 w 266"/>
                <a:gd name="T11" fmla="*/ 2147483647 h 326"/>
                <a:gd name="T12" fmla="*/ 2147483647 w 266"/>
                <a:gd name="T13" fmla="*/ 2147483647 h 326"/>
                <a:gd name="T14" fmla="*/ 2147483647 w 266"/>
                <a:gd name="T15" fmla="*/ 2147483647 h 326"/>
                <a:gd name="T16" fmla="*/ 2147483647 w 266"/>
                <a:gd name="T17" fmla="*/ 2147483647 h 326"/>
                <a:gd name="T18" fmla="*/ 2147483647 w 266"/>
                <a:gd name="T19" fmla="*/ 2147483647 h 326"/>
                <a:gd name="T20" fmla="*/ 2147483647 w 266"/>
                <a:gd name="T21" fmla="*/ 2147483647 h 326"/>
                <a:gd name="T22" fmla="*/ 2147483647 w 266"/>
                <a:gd name="T23" fmla="*/ 2147483647 h 326"/>
                <a:gd name="T24" fmla="*/ 2147483647 w 266"/>
                <a:gd name="T25" fmla="*/ 2147483647 h 326"/>
                <a:gd name="T26" fmla="*/ 2147483647 w 266"/>
                <a:gd name="T27" fmla="*/ 2147483647 h 326"/>
                <a:gd name="T28" fmla="*/ 2147483647 w 266"/>
                <a:gd name="T29" fmla="*/ 2147483647 h 326"/>
                <a:gd name="T30" fmla="*/ 2147483647 w 266"/>
                <a:gd name="T31" fmla="*/ 2147483647 h 326"/>
                <a:gd name="T32" fmla="*/ 2147483647 w 266"/>
                <a:gd name="T33" fmla="*/ 2147483647 h 326"/>
                <a:gd name="T34" fmla="*/ 2147483647 w 266"/>
                <a:gd name="T35" fmla="*/ 2147483647 h 326"/>
                <a:gd name="T36" fmla="*/ 2147483647 w 266"/>
                <a:gd name="T37" fmla="*/ 2147483647 h 326"/>
                <a:gd name="T38" fmla="*/ 2147483647 w 266"/>
                <a:gd name="T39" fmla="*/ 2147483647 h 326"/>
                <a:gd name="T40" fmla="*/ 2147483647 w 266"/>
                <a:gd name="T41" fmla="*/ 2147483647 h 326"/>
                <a:gd name="T42" fmla="*/ 2147483647 w 266"/>
                <a:gd name="T43" fmla="*/ 2147483647 h 326"/>
                <a:gd name="T44" fmla="*/ 2147483647 w 266"/>
                <a:gd name="T45" fmla="*/ 2147483647 h 326"/>
                <a:gd name="T46" fmla="*/ 2147483647 w 266"/>
                <a:gd name="T47" fmla="*/ 2147483647 h 326"/>
                <a:gd name="T48" fmla="*/ 2147483647 w 266"/>
                <a:gd name="T49" fmla="*/ 2147483647 h 326"/>
                <a:gd name="T50" fmla="*/ 2147483647 w 266"/>
                <a:gd name="T51" fmla="*/ 2147483647 h 326"/>
                <a:gd name="T52" fmla="*/ 2147483647 w 266"/>
                <a:gd name="T53" fmla="*/ 2147483647 h 326"/>
                <a:gd name="T54" fmla="*/ 2147483647 w 266"/>
                <a:gd name="T55" fmla="*/ 2147483647 h 326"/>
                <a:gd name="T56" fmla="*/ 2147483647 w 266"/>
                <a:gd name="T57" fmla="*/ 2147483647 h 326"/>
                <a:gd name="T58" fmla="*/ 2147483647 w 266"/>
                <a:gd name="T59" fmla="*/ 2147483647 h 326"/>
                <a:gd name="T60" fmla="*/ 2147483647 w 266"/>
                <a:gd name="T61" fmla="*/ 2147483647 h 326"/>
                <a:gd name="T62" fmla="*/ 2147483647 w 266"/>
                <a:gd name="T63" fmla="*/ 2147483647 h 326"/>
                <a:gd name="T64" fmla="*/ 2147483647 w 266"/>
                <a:gd name="T65" fmla="*/ 2147483647 h 326"/>
                <a:gd name="T66" fmla="*/ 2147483647 w 266"/>
                <a:gd name="T67" fmla="*/ 2147483647 h 326"/>
                <a:gd name="T68" fmla="*/ 2147483647 w 266"/>
                <a:gd name="T69" fmla="*/ 2147483647 h 326"/>
                <a:gd name="T70" fmla="*/ 2147483647 w 266"/>
                <a:gd name="T71" fmla="*/ 2147483647 h 326"/>
                <a:gd name="T72" fmla="*/ 2147483647 w 266"/>
                <a:gd name="T73" fmla="*/ 2147483647 h 326"/>
                <a:gd name="T74" fmla="*/ 2147483647 w 266"/>
                <a:gd name="T75" fmla="*/ 2147483647 h 326"/>
                <a:gd name="T76" fmla="*/ 2147483647 w 266"/>
                <a:gd name="T77" fmla="*/ 2147483647 h 326"/>
                <a:gd name="T78" fmla="*/ 2147483647 w 266"/>
                <a:gd name="T79" fmla="*/ 2147483647 h 326"/>
                <a:gd name="T80" fmla="*/ 2147483647 w 266"/>
                <a:gd name="T81" fmla="*/ 2147483647 h 326"/>
                <a:gd name="T82" fmla="*/ 2147483647 w 266"/>
                <a:gd name="T83" fmla="*/ 2147483647 h 326"/>
                <a:gd name="T84" fmla="*/ 2147483647 w 266"/>
                <a:gd name="T85" fmla="*/ 2147483647 h 326"/>
                <a:gd name="T86" fmla="*/ 2147483647 w 266"/>
                <a:gd name="T87" fmla="*/ 2147483647 h 326"/>
                <a:gd name="T88" fmla="*/ 2147483647 w 266"/>
                <a:gd name="T89" fmla="*/ 2147483647 h 326"/>
                <a:gd name="T90" fmla="*/ 2147483647 w 266"/>
                <a:gd name="T91" fmla="*/ 2147483647 h 326"/>
                <a:gd name="T92" fmla="*/ 2147483647 w 266"/>
                <a:gd name="T93" fmla="*/ 2147483647 h 326"/>
                <a:gd name="T94" fmla="*/ 2147483647 w 266"/>
                <a:gd name="T95" fmla="*/ 2147483647 h 326"/>
                <a:gd name="T96" fmla="*/ 2147483647 w 266"/>
                <a:gd name="T97" fmla="*/ 2147483647 h 326"/>
                <a:gd name="T98" fmla="*/ 2147483647 w 266"/>
                <a:gd name="T99" fmla="*/ 2147483647 h 326"/>
                <a:gd name="T100" fmla="*/ 2147483647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66"/>
                <a:gd name="T154" fmla="*/ 0 h 326"/>
                <a:gd name="T155" fmla="*/ 266 w 266"/>
                <a:gd name="T156" fmla="*/ 326 h 32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7" name="Freeform 274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7232336" y="2776421"/>
              <a:ext cx="66536" cy="59374"/>
            </a:xfrm>
            <a:custGeom>
              <a:avLst/>
              <a:gdLst>
                <a:gd name="T0" fmla="*/ 2147483647 w 167"/>
                <a:gd name="T1" fmla="*/ 2147483647 h 123"/>
                <a:gd name="T2" fmla="*/ 2147483647 w 167"/>
                <a:gd name="T3" fmla="*/ 2147483647 h 123"/>
                <a:gd name="T4" fmla="*/ 2147483647 w 167"/>
                <a:gd name="T5" fmla="*/ 2147483647 h 123"/>
                <a:gd name="T6" fmla="*/ 2147483647 w 167"/>
                <a:gd name="T7" fmla="*/ 2147483647 h 123"/>
                <a:gd name="T8" fmla="*/ 2147483647 w 167"/>
                <a:gd name="T9" fmla="*/ 2147483647 h 123"/>
                <a:gd name="T10" fmla="*/ 2147483647 w 167"/>
                <a:gd name="T11" fmla="*/ 2147483647 h 123"/>
                <a:gd name="T12" fmla="*/ 2147483647 w 167"/>
                <a:gd name="T13" fmla="*/ 2147483647 h 123"/>
                <a:gd name="T14" fmla="*/ 2147483647 w 167"/>
                <a:gd name="T15" fmla="*/ 2147483647 h 123"/>
                <a:gd name="T16" fmla="*/ 2147483647 w 167"/>
                <a:gd name="T17" fmla="*/ 2147483647 h 123"/>
                <a:gd name="T18" fmla="*/ 2147483647 w 167"/>
                <a:gd name="T19" fmla="*/ 2147483647 h 123"/>
                <a:gd name="T20" fmla="*/ 2147483647 w 167"/>
                <a:gd name="T21" fmla="*/ 2147483647 h 123"/>
                <a:gd name="T22" fmla="*/ 2147483647 w 167"/>
                <a:gd name="T23" fmla="*/ 2147483647 h 123"/>
                <a:gd name="T24" fmla="*/ 2147483647 w 167"/>
                <a:gd name="T25" fmla="*/ 2147483647 h 123"/>
                <a:gd name="T26" fmla="*/ 2147483647 w 167"/>
                <a:gd name="T27" fmla="*/ 2147483647 h 123"/>
                <a:gd name="T28" fmla="*/ 2147483647 w 167"/>
                <a:gd name="T29" fmla="*/ 2147483647 h 123"/>
                <a:gd name="T30" fmla="*/ 2147483647 w 167"/>
                <a:gd name="T31" fmla="*/ 2147483647 h 123"/>
                <a:gd name="T32" fmla="*/ 2147483647 w 167"/>
                <a:gd name="T33" fmla="*/ 2147483647 h 123"/>
                <a:gd name="T34" fmla="*/ 2147483647 w 167"/>
                <a:gd name="T35" fmla="*/ 2147483647 h 123"/>
                <a:gd name="T36" fmla="*/ 2147483647 w 167"/>
                <a:gd name="T37" fmla="*/ 2147483647 h 123"/>
                <a:gd name="T38" fmla="*/ 2147483647 w 167"/>
                <a:gd name="T39" fmla="*/ 2147483647 h 123"/>
                <a:gd name="T40" fmla="*/ 2147483647 w 167"/>
                <a:gd name="T41" fmla="*/ 2147483647 h 123"/>
                <a:gd name="T42" fmla="*/ 2147483647 w 167"/>
                <a:gd name="T43" fmla="*/ 2147483647 h 123"/>
                <a:gd name="T44" fmla="*/ 2147483647 w 167"/>
                <a:gd name="T45" fmla="*/ 2147483647 h 123"/>
                <a:gd name="T46" fmla="*/ 2147483647 w 167"/>
                <a:gd name="T47" fmla="*/ 2147483647 h 123"/>
                <a:gd name="T48" fmla="*/ 0 w 167"/>
                <a:gd name="T49" fmla="*/ 2147483647 h 123"/>
                <a:gd name="T50" fmla="*/ 2147483647 w 167"/>
                <a:gd name="T51" fmla="*/ 2147483647 h 123"/>
                <a:gd name="T52" fmla="*/ 2147483647 w 167"/>
                <a:gd name="T53" fmla="*/ 2147483647 h 123"/>
                <a:gd name="T54" fmla="*/ 2147483647 w 167"/>
                <a:gd name="T55" fmla="*/ 2147483647 h 123"/>
                <a:gd name="T56" fmla="*/ 2147483647 w 167"/>
                <a:gd name="T57" fmla="*/ 2147483647 h 123"/>
                <a:gd name="T58" fmla="*/ 2147483647 w 167"/>
                <a:gd name="T59" fmla="*/ 2147483647 h 123"/>
                <a:gd name="T60" fmla="*/ 2147483647 w 167"/>
                <a:gd name="T61" fmla="*/ 2147483647 h 123"/>
                <a:gd name="T62" fmla="*/ 2147483647 w 167"/>
                <a:gd name="T63" fmla="*/ 2147483647 h 123"/>
                <a:gd name="T64" fmla="*/ 2147483647 w 167"/>
                <a:gd name="T65" fmla="*/ 2147483647 h 123"/>
                <a:gd name="T66" fmla="*/ 2147483647 w 167"/>
                <a:gd name="T67" fmla="*/ 2147483647 h 123"/>
                <a:gd name="T68" fmla="*/ 2147483647 w 167"/>
                <a:gd name="T69" fmla="*/ 2147483647 h 123"/>
                <a:gd name="T70" fmla="*/ 2147483647 w 167"/>
                <a:gd name="T71" fmla="*/ 2147483647 h 123"/>
                <a:gd name="T72" fmla="*/ 2147483647 w 167"/>
                <a:gd name="T73" fmla="*/ 0 h 123"/>
                <a:gd name="T74" fmla="*/ 2147483647 w 167"/>
                <a:gd name="T75" fmla="*/ 2147483647 h 123"/>
                <a:gd name="T76" fmla="*/ 2147483647 w 167"/>
                <a:gd name="T77" fmla="*/ 2147483647 h 123"/>
                <a:gd name="T78" fmla="*/ 2147483647 w 167"/>
                <a:gd name="T79" fmla="*/ 2147483647 h 123"/>
                <a:gd name="T80" fmla="*/ 2147483647 w 167"/>
                <a:gd name="T81" fmla="*/ 2147483647 h 123"/>
                <a:gd name="T82" fmla="*/ 2147483647 w 167"/>
                <a:gd name="T83" fmla="*/ 2147483647 h 123"/>
                <a:gd name="T84" fmla="*/ 2147483647 w 167"/>
                <a:gd name="T85" fmla="*/ 2147483647 h 123"/>
                <a:gd name="T86" fmla="*/ 2147483647 w 167"/>
                <a:gd name="T87" fmla="*/ 2147483647 h 123"/>
                <a:gd name="T88" fmla="*/ 2147483647 w 167"/>
                <a:gd name="T89" fmla="*/ 2147483647 h 123"/>
                <a:gd name="T90" fmla="*/ 2147483647 w 167"/>
                <a:gd name="T91" fmla="*/ 2147483647 h 123"/>
                <a:gd name="T92" fmla="*/ 2147483647 w 167"/>
                <a:gd name="T93" fmla="*/ 2147483647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67"/>
                <a:gd name="T142" fmla="*/ 0 h 123"/>
                <a:gd name="T143" fmla="*/ 167 w 167"/>
                <a:gd name="T144" fmla="*/ 123 h 12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9" name="Freeform 276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7512944" y="2947303"/>
              <a:ext cx="183696" cy="246186"/>
            </a:xfrm>
            <a:custGeom>
              <a:avLst/>
              <a:gdLst>
                <a:gd name="T0" fmla="*/ 2147483647 w 471"/>
                <a:gd name="T1" fmla="*/ 2147483647 h 518"/>
                <a:gd name="T2" fmla="*/ 2147483647 w 471"/>
                <a:gd name="T3" fmla="*/ 2147483647 h 518"/>
                <a:gd name="T4" fmla="*/ 2147483647 w 471"/>
                <a:gd name="T5" fmla="*/ 2147483647 h 518"/>
                <a:gd name="T6" fmla="*/ 2147483647 w 471"/>
                <a:gd name="T7" fmla="*/ 2147483647 h 518"/>
                <a:gd name="T8" fmla="*/ 2147483647 w 471"/>
                <a:gd name="T9" fmla="*/ 2147483647 h 518"/>
                <a:gd name="T10" fmla="*/ 2147483647 w 471"/>
                <a:gd name="T11" fmla="*/ 2147483647 h 518"/>
                <a:gd name="T12" fmla="*/ 2147483647 w 471"/>
                <a:gd name="T13" fmla="*/ 2147483647 h 518"/>
                <a:gd name="T14" fmla="*/ 2147483647 w 471"/>
                <a:gd name="T15" fmla="*/ 2147483647 h 518"/>
                <a:gd name="T16" fmla="*/ 2147483647 w 471"/>
                <a:gd name="T17" fmla="*/ 2147483647 h 518"/>
                <a:gd name="T18" fmla="*/ 2147483647 w 471"/>
                <a:gd name="T19" fmla="*/ 2147483647 h 518"/>
                <a:gd name="T20" fmla="*/ 2147483647 w 471"/>
                <a:gd name="T21" fmla="*/ 2147483647 h 518"/>
                <a:gd name="T22" fmla="*/ 2147483647 w 471"/>
                <a:gd name="T23" fmla="*/ 2147483647 h 518"/>
                <a:gd name="T24" fmla="*/ 2147483647 w 471"/>
                <a:gd name="T25" fmla="*/ 2147483647 h 518"/>
                <a:gd name="T26" fmla="*/ 2147483647 w 471"/>
                <a:gd name="T27" fmla="*/ 2147483647 h 518"/>
                <a:gd name="T28" fmla="*/ 2147483647 w 471"/>
                <a:gd name="T29" fmla="*/ 2147483647 h 518"/>
                <a:gd name="T30" fmla="*/ 2147483647 w 471"/>
                <a:gd name="T31" fmla="*/ 2147483647 h 518"/>
                <a:gd name="T32" fmla="*/ 2147483647 w 471"/>
                <a:gd name="T33" fmla="*/ 2147483647 h 518"/>
                <a:gd name="T34" fmla="*/ 2147483647 w 471"/>
                <a:gd name="T35" fmla="*/ 2147483647 h 518"/>
                <a:gd name="T36" fmla="*/ 2147483647 w 471"/>
                <a:gd name="T37" fmla="*/ 2147483647 h 518"/>
                <a:gd name="T38" fmla="*/ 2147483647 w 471"/>
                <a:gd name="T39" fmla="*/ 2147483647 h 518"/>
                <a:gd name="T40" fmla="*/ 2147483647 w 471"/>
                <a:gd name="T41" fmla="*/ 2147483647 h 518"/>
                <a:gd name="T42" fmla="*/ 2147483647 w 471"/>
                <a:gd name="T43" fmla="*/ 2147483647 h 518"/>
                <a:gd name="T44" fmla="*/ 2147483647 w 471"/>
                <a:gd name="T45" fmla="*/ 2147483647 h 518"/>
                <a:gd name="T46" fmla="*/ 2147483647 w 471"/>
                <a:gd name="T47" fmla="*/ 2147483647 h 518"/>
                <a:gd name="T48" fmla="*/ 2147483647 w 471"/>
                <a:gd name="T49" fmla="*/ 2147483647 h 518"/>
                <a:gd name="T50" fmla="*/ 2147483647 w 471"/>
                <a:gd name="T51" fmla="*/ 2147483647 h 518"/>
                <a:gd name="T52" fmla="*/ 2147483647 w 471"/>
                <a:gd name="T53" fmla="*/ 2147483647 h 518"/>
                <a:gd name="T54" fmla="*/ 2147483647 w 471"/>
                <a:gd name="T55" fmla="*/ 2147483647 h 518"/>
                <a:gd name="T56" fmla="*/ 2147483647 w 471"/>
                <a:gd name="T57" fmla="*/ 2147483647 h 518"/>
                <a:gd name="T58" fmla="*/ 2147483647 w 471"/>
                <a:gd name="T59" fmla="*/ 2147483647 h 518"/>
                <a:gd name="T60" fmla="*/ 2147483647 w 471"/>
                <a:gd name="T61" fmla="*/ 2147483647 h 518"/>
                <a:gd name="T62" fmla="*/ 2147483647 w 471"/>
                <a:gd name="T63" fmla="*/ 2147483647 h 518"/>
                <a:gd name="T64" fmla="*/ 2147483647 w 471"/>
                <a:gd name="T65" fmla="*/ 2147483647 h 518"/>
                <a:gd name="T66" fmla="*/ 2147483647 w 471"/>
                <a:gd name="T67" fmla="*/ 2147483647 h 518"/>
                <a:gd name="T68" fmla="*/ 2147483647 w 471"/>
                <a:gd name="T69" fmla="*/ 2147483647 h 518"/>
                <a:gd name="T70" fmla="*/ 2147483647 w 471"/>
                <a:gd name="T71" fmla="*/ 2147483647 h 518"/>
                <a:gd name="T72" fmla="*/ 2147483647 w 471"/>
                <a:gd name="T73" fmla="*/ 2147483647 h 518"/>
                <a:gd name="T74" fmla="*/ 2147483647 w 471"/>
                <a:gd name="T75" fmla="*/ 2147483647 h 518"/>
                <a:gd name="T76" fmla="*/ 2147483647 w 471"/>
                <a:gd name="T77" fmla="*/ 2147483647 h 518"/>
                <a:gd name="T78" fmla="*/ 2147483647 w 471"/>
                <a:gd name="T79" fmla="*/ 2147483647 h 518"/>
                <a:gd name="T80" fmla="*/ 2147483647 w 471"/>
                <a:gd name="T81" fmla="*/ 2147483647 h 518"/>
                <a:gd name="T82" fmla="*/ 2147483647 w 471"/>
                <a:gd name="T83" fmla="*/ 2147483647 h 518"/>
                <a:gd name="T84" fmla="*/ 2147483647 w 471"/>
                <a:gd name="T85" fmla="*/ 2147483647 h 518"/>
                <a:gd name="T86" fmla="*/ 2147483647 w 471"/>
                <a:gd name="T87" fmla="*/ 2147483647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71"/>
                <a:gd name="T133" fmla="*/ 0 h 518"/>
                <a:gd name="T134" fmla="*/ 471 w 471"/>
                <a:gd name="T135" fmla="*/ 518 h 51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92D05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0" name="Freeform 277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7588158" y="3176111"/>
              <a:ext cx="121500" cy="118749"/>
            </a:xfrm>
            <a:custGeom>
              <a:avLst/>
              <a:gdLst>
                <a:gd name="T0" fmla="*/ 2147483647 w 293"/>
                <a:gd name="T1" fmla="*/ 2147483647 h 246"/>
                <a:gd name="T2" fmla="*/ 2147483647 w 293"/>
                <a:gd name="T3" fmla="*/ 2147483647 h 246"/>
                <a:gd name="T4" fmla="*/ 2147483647 w 293"/>
                <a:gd name="T5" fmla="*/ 2147483647 h 246"/>
                <a:gd name="T6" fmla="*/ 2147483647 w 293"/>
                <a:gd name="T7" fmla="*/ 2147483647 h 246"/>
                <a:gd name="T8" fmla="*/ 2147483647 w 293"/>
                <a:gd name="T9" fmla="*/ 2147483647 h 246"/>
                <a:gd name="T10" fmla="*/ 2147483647 w 293"/>
                <a:gd name="T11" fmla="*/ 2147483647 h 246"/>
                <a:gd name="T12" fmla="*/ 2147483647 w 293"/>
                <a:gd name="T13" fmla="*/ 2147483647 h 246"/>
                <a:gd name="T14" fmla="*/ 2147483647 w 293"/>
                <a:gd name="T15" fmla="*/ 2147483647 h 246"/>
                <a:gd name="T16" fmla="*/ 2147483647 w 293"/>
                <a:gd name="T17" fmla="*/ 2147483647 h 246"/>
                <a:gd name="T18" fmla="*/ 2147483647 w 293"/>
                <a:gd name="T19" fmla="*/ 2147483647 h 246"/>
                <a:gd name="T20" fmla="*/ 2147483647 w 293"/>
                <a:gd name="T21" fmla="*/ 2147483647 h 246"/>
                <a:gd name="T22" fmla="*/ 2147483647 w 293"/>
                <a:gd name="T23" fmla="*/ 2147483647 h 246"/>
                <a:gd name="T24" fmla="*/ 2147483647 w 293"/>
                <a:gd name="T25" fmla="*/ 2147483647 h 246"/>
                <a:gd name="T26" fmla="*/ 2147483647 w 293"/>
                <a:gd name="T27" fmla="*/ 2147483647 h 246"/>
                <a:gd name="T28" fmla="*/ 2147483647 w 293"/>
                <a:gd name="T29" fmla="*/ 2147483647 h 246"/>
                <a:gd name="T30" fmla="*/ 2147483647 w 293"/>
                <a:gd name="T31" fmla="*/ 2147483647 h 246"/>
                <a:gd name="T32" fmla="*/ 2147483647 w 293"/>
                <a:gd name="T33" fmla="*/ 2147483647 h 246"/>
                <a:gd name="T34" fmla="*/ 2147483647 w 293"/>
                <a:gd name="T35" fmla="*/ 2147483647 h 246"/>
                <a:gd name="T36" fmla="*/ 2147483647 w 293"/>
                <a:gd name="T37" fmla="*/ 2147483647 h 246"/>
                <a:gd name="T38" fmla="*/ 2147483647 w 293"/>
                <a:gd name="T39" fmla="*/ 2147483647 h 246"/>
                <a:gd name="T40" fmla="*/ 2147483647 w 293"/>
                <a:gd name="T41" fmla="*/ 2147483647 h 246"/>
                <a:gd name="T42" fmla="*/ 2147483647 w 293"/>
                <a:gd name="T43" fmla="*/ 2147483647 h 246"/>
                <a:gd name="T44" fmla="*/ 2147483647 w 293"/>
                <a:gd name="T45" fmla="*/ 2147483647 h 246"/>
                <a:gd name="T46" fmla="*/ 2147483647 w 293"/>
                <a:gd name="T47" fmla="*/ 2147483647 h 246"/>
                <a:gd name="T48" fmla="*/ 2147483647 w 293"/>
                <a:gd name="T49" fmla="*/ 2147483647 h 246"/>
                <a:gd name="T50" fmla="*/ 2147483647 w 293"/>
                <a:gd name="T51" fmla="*/ 2147483647 h 246"/>
                <a:gd name="T52" fmla="*/ 2147483647 w 293"/>
                <a:gd name="T53" fmla="*/ 2147483647 h 246"/>
                <a:gd name="T54" fmla="*/ 2147483647 w 293"/>
                <a:gd name="T55" fmla="*/ 2147483647 h 246"/>
                <a:gd name="T56" fmla="*/ 2147483647 w 293"/>
                <a:gd name="T57" fmla="*/ 2147483647 h 246"/>
                <a:gd name="T58" fmla="*/ 2147483647 w 293"/>
                <a:gd name="T59" fmla="*/ 2147483647 h 246"/>
                <a:gd name="T60" fmla="*/ 2147483647 w 293"/>
                <a:gd name="T61" fmla="*/ 2147483647 h 246"/>
                <a:gd name="T62" fmla="*/ 0 w 293"/>
                <a:gd name="T63" fmla="*/ 2147483647 h 246"/>
                <a:gd name="T64" fmla="*/ 2147483647 w 293"/>
                <a:gd name="T65" fmla="*/ 2147483647 h 246"/>
                <a:gd name="T66" fmla="*/ 2147483647 w 293"/>
                <a:gd name="T67" fmla="*/ 2147483647 h 246"/>
                <a:gd name="T68" fmla="*/ 2147483647 w 293"/>
                <a:gd name="T69" fmla="*/ 2147483647 h 246"/>
                <a:gd name="T70" fmla="*/ 2147483647 w 293"/>
                <a:gd name="T71" fmla="*/ 2147483647 h 246"/>
                <a:gd name="T72" fmla="*/ 2147483647 w 293"/>
                <a:gd name="T73" fmla="*/ 2147483647 h 246"/>
                <a:gd name="T74" fmla="*/ 2147483647 w 293"/>
                <a:gd name="T75" fmla="*/ 2147483647 h 246"/>
                <a:gd name="T76" fmla="*/ 2147483647 w 293"/>
                <a:gd name="T77" fmla="*/ 2147483647 h 246"/>
                <a:gd name="T78" fmla="*/ 2147483647 w 293"/>
                <a:gd name="T79" fmla="*/ 2147483647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93"/>
                <a:gd name="T121" fmla="*/ 0 h 246"/>
                <a:gd name="T122" fmla="*/ 293 w 293"/>
                <a:gd name="T123" fmla="*/ 246 h 24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92D05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1" name="Freeform 278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7954104" y="2479549"/>
              <a:ext cx="78107" cy="118749"/>
            </a:xfrm>
            <a:custGeom>
              <a:avLst/>
              <a:gdLst>
                <a:gd name="T0" fmla="*/ 2147483647 w 200"/>
                <a:gd name="T1" fmla="*/ 2147483647 h 246"/>
                <a:gd name="T2" fmla="*/ 2147483647 w 200"/>
                <a:gd name="T3" fmla="*/ 2147483647 h 246"/>
                <a:gd name="T4" fmla="*/ 2147483647 w 200"/>
                <a:gd name="T5" fmla="*/ 2147483647 h 246"/>
                <a:gd name="T6" fmla="*/ 2147483647 w 200"/>
                <a:gd name="T7" fmla="*/ 2147483647 h 246"/>
                <a:gd name="T8" fmla="*/ 2147483647 w 200"/>
                <a:gd name="T9" fmla="*/ 2147483647 h 246"/>
                <a:gd name="T10" fmla="*/ 2147483647 w 200"/>
                <a:gd name="T11" fmla="*/ 2147483647 h 246"/>
                <a:gd name="T12" fmla="*/ 2147483647 w 200"/>
                <a:gd name="T13" fmla="*/ 2147483647 h 246"/>
                <a:gd name="T14" fmla="*/ 2147483647 w 200"/>
                <a:gd name="T15" fmla="*/ 2147483647 h 246"/>
                <a:gd name="T16" fmla="*/ 2147483647 w 200"/>
                <a:gd name="T17" fmla="*/ 2147483647 h 246"/>
                <a:gd name="T18" fmla="*/ 2147483647 w 200"/>
                <a:gd name="T19" fmla="*/ 2147483647 h 246"/>
                <a:gd name="T20" fmla="*/ 2147483647 w 200"/>
                <a:gd name="T21" fmla="*/ 2147483647 h 246"/>
                <a:gd name="T22" fmla="*/ 2147483647 w 200"/>
                <a:gd name="T23" fmla="*/ 2147483647 h 246"/>
                <a:gd name="T24" fmla="*/ 2147483647 w 200"/>
                <a:gd name="T25" fmla="*/ 2147483647 h 246"/>
                <a:gd name="T26" fmla="*/ 2147483647 w 200"/>
                <a:gd name="T27" fmla="*/ 2147483647 h 246"/>
                <a:gd name="T28" fmla="*/ 2147483647 w 200"/>
                <a:gd name="T29" fmla="*/ 2147483647 h 246"/>
                <a:gd name="T30" fmla="*/ 2147483647 w 200"/>
                <a:gd name="T31" fmla="*/ 2147483647 h 246"/>
                <a:gd name="T32" fmla="*/ 2147483647 w 200"/>
                <a:gd name="T33" fmla="*/ 2147483647 h 246"/>
                <a:gd name="T34" fmla="*/ 2147483647 w 200"/>
                <a:gd name="T35" fmla="*/ 2147483647 h 246"/>
                <a:gd name="T36" fmla="*/ 2147483647 w 200"/>
                <a:gd name="T37" fmla="*/ 2147483647 h 246"/>
                <a:gd name="T38" fmla="*/ 2147483647 w 200"/>
                <a:gd name="T39" fmla="*/ 2147483647 h 246"/>
                <a:gd name="T40" fmla="*/ 2147483647 w 200"/>
                <a:gd name="T41" fmla="*/ 2147483647 h 246"/>
                <a:gd name="T42" fmla="*/ 2147483647 w 200"/>
                <a:gd name="T43" fmla="*/ 2147483647 h 246"/>
                <a:gd name="T44" fmla="*/ 2147483647 w 200"/>
                <a:gd name="T45" fmla="*/ 2147483647 h 246"/>
                <a:gd name="T46" fmla="*/ 2147483647 w 200"/>
                <a:gd name="T47" fmla="*/ 2147483647 h 246"/>
                <a:gd name="T48" fmla="*/ 2147483647 w 200"/>
                <a:gd name="T49" fmla="*/ 2147483647 h 246"/>
                <a:gd name="T50" fmla="*/ 2147483647 w 200"/>
                <a:gd name="T51" fmla="*/ 2147483647 h 246"/>
                <a:gd name="T52" fmla="*/ 2147483647 w 200"/>
                <a:gd name="T53" fmla="*/ 2147483647 h 246"/>
                <a:gd name="T54" fmla="*/ 2147483647 w 200"/>
                <a:gd name="T55" fmla="*/ 2147483647 h 246"/>
                <a:gd name="T56" fmla="*/ 2147483647 w 200"/>
                <a:gd name="T57" fmla="*/ 2147483647 h 246"/>
                <a:gd name="T58" fmla="*/ 2147483647 w 200"/>
                <a:gd name="T59" fmla="*/ 2147483647 h 246"/>
                <a:gd name="T60" fmla="*/ 2147483647 w 200"/>
                <a:gd name="T61" fmla="*/ 2147483647 h 246"/>
                <a:gd name="T62" fmla="*/ 2147483647 w 200"/>
                <a:gd name="T63" fmla="*/ 2147483647 h 246"/>
                <a:gd name="T64" fmla="*/ 2147483647 w 200"/>
                <a:gd name="T65" fmla="*/ 2147483647 h 246"/>
                <a:gd name="T66" fmla="*/ 2147483647 w 200"/>
                <a:gd name="T67" fmla="*/ 2147483647 h 246"/>
                <a:gd name="T68" fmla="*/ 2147483647 w 200"/>
                <a:gd name="T69" fmla="*/ 2147483647 h 246"/>
                <a:gd name="T70" fmla="*/ 2147483647 w 200"/>
                <a:gd name="T71" fmla="*/ 2147483647 h 246"/>
                <a:gd name="T72" fmla="*/ 2147483647 w 200"/>
                <a:gd name="T73" fmla="*/ 2147483647 h 246"/>
                <a:gd name="T74" fmla="*/ 2147483647 w 200"/>
                <a:gd name="T75" fmla="*/ 2147483647 h 246"/>
                <a:gd name="T76" fmla="*/ 2147483647 w 200"/>
                <a:gd name="T77" fmla="*/ 2147483647 h 246"/>
                <a:gd name="T78" fmla="*/ 2147483647 w 200"/>
                <a:gd name="T79" fmla="*/ 2147483647 h 246"/>
                <a:gd name="T80" fmla="*/ 2147483647 w 200"/>
                <a:gd name="T81" fmla="*/ 2147483647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00"/>
                <a:gd name="T124" fmla="*/ 0 h 246"/>
                <a:gd name="T125" fmla="*/ 200 w 200"/>
                <a:gd name="T126" fmla="*/ 246 h 24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2" name="Freeform 279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8471925" y="3662691"/>
              <a:ext cx="211179" cy="231705"/>
            </a:xfrm>
            <a:custGeom>
              <a:avLst/>
              <a:gdLst>
                <a:gd name="T0" fmla="*/ 2147483647 w 538"/>
                <a:gd name="T1" fmla="*/ 2147483647 h 487"/>
                <a:gd name="T2" fmla="*/ 2147483647 w 538"/>
                <a:gd name="T3" fmla="*/ 2147483647 h 487"/>
                <a:gd name="T4" fmla="*/ 2147483647 w 538"/>
                <a:gd name="T5" fmla="*/ 2147483647 h 487"/>
                <a:gd name="T6" fmla="*/ 2147483647 w 538"/>
                <a:gd name="T7" fmla="*/ 2147483647 h 487"/>
                <a:gd name="T8" fmla="*/ 2147483647 w 538"/>
                <a:gd name="T9" fmla="*/ 2147483647 h 487"/>
                <a:gd name="T10" fmla="*/ 2147483647 w 538"/>
                <a:gd name="T11" fmla="*/ 2147483647 h 487"/>
                <a:gd name="T12" fmla="*/ 2147483647 w 538"/>
                <a:gd name="T13" fmla="*/ 2147483647 h 487"/>
                <a:gd name="T14" fmla="*/ 2147483647 w 538"/>
                <a:gd name="T15" fmla="*/ 2147483647 h 487"/>
                <a:gd name="T16" fmla="*/ 2147483647 w 538"/>
                <a:gd name="T17" fmla="*/ 2147483647 h 487"/>
                <a:gd name="T18" fmla="*/ 2147483647 w 538"/>
                <a:gd name="T19" fmla="*/ 2147483647 h 487"/>
                <a:gd name="T20" fmla="*/ 2147483647 w 538"/>
                <a:gd name="T21" fmla="*/ 2147483647 h 487"/>
                <a:gd name="T22" fmla="*/ 2147483647 w 538"/>
                <a:gd name="T23" fmla="*/ 2147483647 h 487"/>
                <a:gd name="T24" fmla="*/ 2147483647 w 538"/>
                <a:gd name="T25" fmla="*/ 2147483647 h 487"/>
                <a:gd name="T26" fmla="*/ 2147483647 w 538"/>
                <a:gd name="T27" fmla="*/ 2147483647 h 487"/>
                <a:gd name="T28" fmla="*/ 2147483647 w 538"/>
                <a:gd name="T29" fmla="*/ 2147483647 h 487"/>
                <a:gd name="T30" fmla="*/ 2147483647 w 538"/>
                <a:gd name="T31" fmla="*/ 2147483647 h 487"/>
                <a:gd name="T32" fmla="*/ 2147483647 w 538"/>
                <a:gd name="T33" fmla="*/ 2147483647 h 487"/>
                <a:gd name="T34" fmla="*/ 2147483647 w 538"/>
                <a:gd name="T35" fmla="*/ 2147483647 h 487"/>
                <a:gd name="T36" fmla="*/ 2147483647 w 538"/>
                <a:gd name="T37" fmla="*/ 2147483647 h 487"/>
                <a:gd name="T38" fmla="*/ 2147483647 w 538"/>
                <a:gd name="T39" fmla="*/ 2147483647 h 487"/>
                <a:gd name="T40" fmla="*/ 2147483647 w 538"/>
                <a:gd name="T41" fmla="*/ 2147483647 h 487"/>
                <a:gd name="T42" fmla="*/ 2147483647 w 538"/>
                <a:gd name="T43" fmla="*/ 2147483647 h 487"/>
                <a:gd name="T44" fmla="*/ 2147483647 w 538"/>
                <a:gd name="T45" fmla="*/ 2147483647 h 487"/>
                <a:gd name="T46" fmla="*/ 2147483647 w 538"/>
                <a:gd name="T47" fmla="*/ 2147483647 h 487"/>
                <a:gd name="T48" fmla="*/ 2147483647 w 538"/>
                <a:gd name="T49" fmla="*/ 2147483647 h 487"/>
                <a:gd name="T50" fmla="*/ 2147483647 w 538"/>
                <a:gd name="T51" fmla="*/ 2147483647 h 487"/>
                <a:gd name="T52" fmla="*/ 2147483647 w 538"/>
                <a:gd name="T53" fmla="*/ 2147483647 h 487"/>
                <a:gd name="T54" fmla="*/ 2147483647 w 538"/>
                <a:gd name="T55" fmla="*/ 2147483647 h 487"/>
                <a:gd name="T56" fmla="*/ 2147483647 w 538"/>
                <a:gd name="T57" fmla="*/ 2147483647 h 487"/>
                <a:gd name="T58" fmla="*/ 2147483647 w 538"/>
                <a:gd name="T59" fmla="*/ 2147483647 h 487"/>
                <a:gd name="T60" fmla="*/ 2147483647 w 538"/>
                <a:gd name="T61" fmla="*/ 2147483647 h 487"/>
                <a:gd name="T62" fmla="*/ 2147483647 w 538"/>
                <a:gd name="T63" fmla="*/ 2147483647 h 487"/>
                <a:gd name="T64" fmla="*/ 2147483647 w 538"/>
                <a:gd name="T65" fmla="*/ 2147483647 h 487"/>
                <a:gd name="T66" fmla="*/ 2147483647 w 538"/>
                <a:gd name="T67" fmla="*/ 2147483647 h 487"/>
                <a:gd name="T68" fmla="*/ 2147483647 w 538"/>
                <a:gd name="T69" fmla="*/ 2147483647 h 487"/>
                <a:gd name="T70" fmla="*/ 2147483647 w 538"/>
                <a:gd name="T71" fmla="*/ 2147483647 h 487"/>
                <a:gd name="T72" fmla="*/ 2147483647 w 538"/>
                <a:gd name="T73" fmla="*/ 2147483647 h 487"/>
                <a:gd name="T74" fmla="*/ 2147483647 w 538"/>
                <a:gd name="T75" fmla="*/ 2147483647 h 487"/>
                <a:gd name="T76" fmla="*/ 2147483647 w 538"/>
                <a:gd name="T77" fmla="*/ 2147483647 h 487"/>
                <a:gd name="T78" fmla="*/ 2147483647 w 538"/>
                <a:gd name="T79" fmla="*/ 2147483647 h 487"/>
                <a:gd name="T80" fmla="*/ 2147483647 w 538"/>
                <a:gd name="T81" fmla="*/ 2147483647 h 487"/>
                <a:gd name="T82" fmla="*/ 2147483647 w 538"/>
                <a:gd name="T83" fmla="*/ 2147483647 h 487"/>
                <a:gd name="T84" fmla="*/ 2147483647 w 538"/>
                <a:gd name="T85" fmla="*/ 2147483647 h 487"/>
                <a:gd name="T86" fmla="*/ 2147483647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538"/>
                <a:gd name="T133" fmla="*/ 0 h 487"/>
                <a:gd name="T134" fmla="*/ 538 w 538"/>
                <a:gd name="T135" fmla="*/ 487 h 487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3" name="Freeform 280"/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8646944" y="3648209"/>
              <a:ext cx="96910" cy="117300"/>
            </a:xfrm>
            <a:custGeom>
              <a:avLst/>
              <a:gdLst>
                <a:gd name="T0" fmla="*/ 2147483647 w 253"/>
                <a:gd name="T1" fmla="*/ 2147483647 h 246"/>
                <a:gd name="T2" fmla="*/ 2147483647 w 253"/>
                <a:gd name="T3" fmla="*/ 2147483647 h 246"/>
                <a:gd name="T4" fmla="*/ 2147483647 w 253"/>
                <a:gd name="T5" fmla="*/ 2147483647 h 246"/>
                <a:gd name="T6" fmla="*/ 2147483647 w 253"/>
                <a:gd name="T7" fmla="*/ 2147483647 h 246"/>
                <a:gd name="T8" fmla="*/ 2147483647 w 253"/>
                <a:gd name="T9" fmla="*/ 2147483647 h 246"/>
                <a:gd name="T10" fmla="*/ 2147483647 w 253"/>
                <a:gd name="T11" fmla="*/ 2147483647 h 246"/>
                <a:gd name="T12" fmla="*/ 2147483647 w 253"/>
                <a:gd name="T13" fmla="*/ 2147483647 h 246"/>
                <a:gd name="T14" fmla="*/ 2147483647 w 253"/>
                <a:gd name="T15" fmla="*/ 2147483647 h 246"/>
                <a:gd name="T16" fmla="*/ 2147483647 w 253"/>
                <a:gd name="T17" fmla="*/ 2147483647 h 246"/>
                <a:gd name="T18" fmla="*/ 2147483647 w 253"/>
                <a:gd name="T19" fmla="*/ 2147483647 h 246"/>
                <a:gd name="T20" fmla="*/ 2147483647 w 253"/>
                <a:gd name="T21" fmla="*/ 2147483647 h 246"/>
                <a:gd name="T22" fmla="*/ 2147483647 w 253"/>
                <a:gd name="T23" fmla="*/ 2147483647 h 246"/>
                <a:gd name="T24" fmla="*/ 2147483647 w 253"/>
                <a:gd name="T25" fmla="*/ 2147483647 h 246"/>
                <a:gd name="T26" fmla="*/ 2147483647 w 253"/>
                <a:gd name="T27" fmla="*/ 2147483647 h 246"/>
                <a:gd name="T28" fmla="*/ 2147483647 w 253"/>
                <a:gd name="T29" fmla="*/ 2147483647 h 246"/>
                <a:gd name="T30" fmla="*/ 2147483647 w 253"/>
                <a:gd name="T31" fmla="*/ 2147483647 h 246"/>
                <a:gd name="T32" fmla="*/ 2147483647 w 253"/>
                <a:gd name="T33" fmla="*/ 2147483647 h 246"/>
                <a:gd name="T34" fmla="*/ 2147483647 w 253"/>
                <a:gd name="T35" fmla="*/ 2147483647 h 246"/>
                <a:gd name="T36" fmla="*/ 2147483647 w 253"/>
                <a:gd name="T37" fmla="*/ 2147483647 h 246"/>
                <a:gd name="T38" fmla="*/ 2147483647 w 253"/>
                <a:gd name="T39" fmla="*/ 2147483647 h 246"/>
                <a:gd name="T40" fmla="*/ 2147483647 w 253"/>
                <a:gd name="T41" fmla="*/ 2147483647 h 246"/>
                <a:gd name="T42" fmla="*/ 2147483647 w 253"/>
                <a:gd name="T43" fmla="*/ 2147483647 h 246"/>
                <a:gd name="T44" fmla="*/ 2147483647 w 253"/>
                <a:gd name="T45" fmla="*/ 2147483647 h 246"/>
                <a:gd name="T46" fmla="*/ 2147483647 w 253"/>
                <a:gd name="T47" fmla="*/ 2147483647 h 246"/>
                <a:gd name="T48" fmla="*/ 2147483647 w 253"/>
                <a:gd name="T49" fmla="*/ 2147483647 h 246"/>
                <a:gd name="T50" fmla="*/ 2147483647 w 253"/>
                <a:gd name="T51" fmla="*/ 2147483647 h 246"/>
                <a:gd name="T52" fmla="*/ 2147483647 w 253"/>
                <a:gd name="T53" fmla="*/ 2147483647 h 246"/>
                <a:gd name="T54" fmla="*/ 2147483647 w 253"/>
                <a:gd name="T55" fmla="*/ 2147483647 h 246"/>
                <a:gd name="T56" fmla="*/ 2147483647 w 253"/>
                <a:gd name="T57" fmla="*/ 2147483647 h 246"/>
                <a:gd name="T58" fmla="*/ 2147483647 w 253"/>
                <a:gd name="T59" fmla="*/ 2147483647 h 246"/>
                <a:gd name="T60" fmla="*/ 2147483647 w 253"/>
                <a:gd name="T61" fmla="*/ 2147483647 h 246"/>
                <a:gd name="T62" fmla="*/ 2147483647 w 253"/>
                <a:gd name="T63" fmla="*/ 2147483647 h 246"/>
                <a:gd name="T64" fmla="*/ 2147483647 w 253"/>
                <a:gd name="T65" fmla="*/ 2147483647 h 246"/>
                <a:gd name="T66" fmla="*/ 2147483647 w 253"/>
                <a:gd name="T67" fmla="*/ 2147483647 h 246"/>
                <a:gd name="T68" fmla="*/ 2147483647 w 253"/>
                <a:gd name="T69" fmla="*/ 2147483647 h 246"/>
                <a:gd name="T70" fmla="*/ 2147483647 w 253"/>
                <a:gd name="T71" fmla="*/ 2147483647 h 246"/>
                <a:gd name="T72" fmla="*/ 2147483647 w 253"/>
                <a:gd name="T73" fmla="*/ 2147483647 h 246"/>
                <a:gd name="T74" fmla="*/ 2147483647 w 253"/>
                <a:gd name="T75" fmla="*/ 2147483647 h 246"/>
                <a:gd name="T76" fmla="*/ 2147483647 w 253"/>
                <a:gd name="T77" fmla="*/ 2147483647 h 246"/>
                <a:gd name="T78" fmla="*/ 2147483647 w 253"/>
                <a:gd name="T79" fmla="*/ 2147483647 h 246"/>
                <a:gd name="T80" fmla="*/ 2147483647 w 253"/>
                <a:gd name="T81" fmla="*/ 2147483647 h 246"/>
                <a:gd name="T82" fmla="*/ 2147483647 w 253"/>
                <a:gd name="T83" fmla="*/ 2147483647 h 246"/>
                <a:gd name="T84" fmla="*/ 2147483647 w 253"/>
                <a:gd name="T85" fmla="*/ 2147483647 h 246"/>
                <a:gd name="T86" fmla="*/ 2147483647 w 253"/>
                <a:gd name="T87" fmla="*/ 2147483647 h 246"/>
                <a:gd name="T88" fmla="*/ 2147483647 w 253"/>
                <a:gd name="T89" fmla="*/ 2147483647 h 246"/>
                <a:gd name="T90" fmla="*/ 2147483647 w 253"/>
                <a:gd name="T91" fmla="*/ 2147483647 h 246"/>
                <a:gd name="T92" fmla="*/ 2147483647 w 253"/>
                <a:gd name="T93" fmla="*/ 2147483647 h 246"/>
                <a:gd name="T94" fmla="*/ 2147483647 w 253"/>
                <a:gd name="T95" fmla="*/ 2147483647 h 246"/>
                <a:gd name="T96" fmla="*/ 2147483647 w 253"/>
                <a:gd name="T97" fmla="*/ 2147483647 h 246"/>
                <a:gd name="T98" fmla="*/ 2147483647 w 253"/>
                <a:gd name="T99" fmla="*/ 2147483647 h 246"/>
                <a:gd name="T100" fmla="*/ 2147483647 w 253"/>
                <a:gd name="T101" fmla="*/ 2147483647 h 246"/>
                <a:gd name="T102" fmla="*/ 2147483647 w 253"/>
                <a:gd name="T103" fmla="*/ 2147483647 h 246"/>
                <a:gd name="T104" fmla="*/ 2147483647 w 253"/>
                <a:gd name="T105" fmla="*/ 2147483647 h 246"/>
                <a:gd name="T106" fmla="*/ 2147483647 w 253"/>
                <a:gd name="T107" fmla="*/ 2147483647 h 246"/>
                <a:gd name="T108" fmla="*/ 2147483647 w 253"/>
                <a:gd name="T109" fmla="*/ 2147483647 h 246"/>
                <a:gd name="T110" fmla="*/ 2147483647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53"/>
                <a:gd name="T169" fmla="*/ 0 h 246"/>
                <a:gd name="T170" fmla="*/ 253 w 253"/>
                <a:gd name="T171" fmla="*/ 246 h 24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8" name="Freeform 285"/>
            <p:cNvSpPr>
              <a:spLocks/>
            </p:cNvSpPr>
            <p:nvPr/>
          </p:nvSpPr>
          <p:spPr bwMode="auto">
            <a:xfrm>
              <a:off x="8050145" y="3185275"/>
              <a:ext cx="6006" cy="23004"/>
            </a:xfrm>
            <a:custGeom>
              <a:avLst/>
              <a:gdLst>
                <a:gd name="T0" fmla="*/ 5 w 15"/>
                <a:gd name="T1" fmla="*/ 16 h 49"/>
                <a:gd name="T2" fmla="*/ 5 w 15"/>
                <a:gd name="T3" fmla="*/ 11 h 49"/>
                <a:gd name="T4" fmla="*/ 5 w 15"/>
                <a:gd name="T5" fmla="*/ 6 h 49"/>
                <a:gd name="T6" fmla="*/ 5 w 15"/>
                <a:gd name="T7" fmla="*/ 4 h 49"/>
                <a:gd name="T8" fmla="*/ 4 w 15"/>
                <a:gd name="T9" fmla="*/ 2 h 49"/>
                <a:gd name="T10" fmla="*/ 4 w 15"/>
                <a:gd name="T11" fmla="*/ 1 h 49"/>
                <a:gd name="T12" fmla="*/ 3 w 15"/>
                <a:gd name="T13" fmla="*/ 0 h 49"/>
                <a:gd name="T14" fmla="*/ 1 w 15"/>
                <a:gd name="T15" fmla="*/ 2 h 49"/>
                <a:gd name="T16" fmla="*/ 1 w 15"/>
                <a:gd name="T17" fmla="*/ 5 h 49"/>
                <a:gd name="T18" fmla="*/ 0 w 15"/>
                <a:gd name="T19" fmla="*/ 8 h 49"/>
                <a:gd name="T20" fmla="*/ 0 w 15"/>
                <a:gd name="T21" fmla="*/ 10 h 49"/>
                <a:gd name="T22" fmla="*/ 0 w 15"/>
                <a:gd name="T23" fmla="*/ 12 h 49"/>
                <a:gd name="T24" fmla="*/ 1 w 15"/>
                <a:gd name="T25" fmla="*/ 14 h 49"/>
                <a:gd name="T26" fmla="*/ 2 w 15"/>
                <a:gd name="T27" fmla="*/ 14 h 49"/>
                <a:gd name="T28" fmla="*/ 3 w 15"/>
                <a:gd name="T29" fmla="*/ 15 h 49"/>
                <a:gd name="T30" fmla="*/ 4 w 15"/>
                <a:gd name="T31" fmla="*/ 16 h 49"/>
                <a:gd name="T32" fmla="*/ 5 w 15"/>
                <a:gd name="T33" fmla="*/ 16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5"/>
                <a:gd name="T52" fmla="*/ 0 h 49"/>
                <a:gd name="T53" fmla="*/ 15 w 15"/>
                <a:gd name="T54" fmla="*/ 49 h 4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9" name="Freeform 286"/>
            <p:cNvSpPr>
              <a:spLocks/>
            </p:cNvSpPr>
            <p:nvPr/>
          </p:nvSpPr>
          <p:spPr bwMode="auto">
            <a:xfrm>
              <a:off x="8024918" y="3182399"/>
              <a:ext cx="18019" cy="18691"/>
            </a:xfrm>
            <a:custGeom>
              <a:avLst/>
              <a:gdLst>
                <a:gd name="T0" fmla="*/ 6 w 47"/>
                <a:gd name="T1" fmla="*/ 2 h 40"/>
                <a:gd name="T2" fmla="*/ 0 w 47"/>
                <a:gd name="T3" fmla="*/ 12 h 40"/>
                <a:gd name="T4" fmla="*/ 2 w 47"/>
                <a:gd name="T5" fmla="*/ 13 h 40"/>
                <a:gd name="T6" fmla="*/ 4 w 47"/>
                <a:gd name="T7" fmla="*/ 13 h 40"/>
                <a:gd name="T8" fmla="*/ 6 w 47"/>
                <a:gd name="T9" fmla="*/ 13 h 40"/>
                <a:gd name="T10" fmla="*/ 8 w 47"/>
                <a:gd name="T11" fmla="*/ 12 h 40"/>
                <a:gd name="T12" fmla="*/ 10 w 47"/>
                <a:gd name="T13" fmla="*/ 12 h 40"/>
                <a:gd name="T14" fmla="*/ 12 w 47"/>
                <a:gd name="T15" fmla="*/ 11 h 40"/>
                <a:gd name="T16" fmla="*/ 14 w 47"/>
                <a:gd name="T17" fmla="*/ 10 h 40"/>
                <a:gd name="T18" fmla="*/ 15 w 47"/>
                <a:gd name="T19" fmla="*/ 8 h 40"/>
                <a:gd name="T20" fmla="*/ 15 w 47"/>
                <a:gd name="T21" fmla="*/ 0 h 40"/>
                <a:gd name="T22" fmla="*/ 13 w 47"/>
                <a:gd name="T23" fmla="*/ 0 h 40"/>
                <a:gd name="T24" fmla="*/ 11 w 47"/>
                <a:gd name="T25" fmla="*/ 0 h 40"/>
                <a:gd name="T26" fmla="*/ 8 w 47"/>
                <a:gd name="T27" fmla="*/ 1 h 40"/>
                <a:gd name="T28" fmla="*/ 6 w 47"/>
                <a:gd name="T29" fmla="*/ 2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7"/>
                <a:gd name="T46" fmla="*/ 0 h 40"/>
                <a:gd name="T47" fmla="*/ 47 w 47"/>
                <a:gd name="T48" fmla="*/ 40 h 4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0" name="Freeform 287"/>
            <p:cNvSpPr>
              <a:spLocks/>
            </p:cNvSpPr>
            <p:nvPr/>
          </p:nvSpPr>
          <p:spPr bwMode="auto">
            <a:xfrm>
              <a:off x="8078975" y="3294545"/>
              <a:ext cx="15617" cy="14378"/>
            </a:xfrm>
            <a:custGeom>
              <a:avLst/>
              <a:gdLst>
                <a:gd name="T0" fmla="*/ 0 w 39"/>
                <a:gd name="T1" fmla="*/ 0 h 31"/>
                <a:gd name="T2" fmla="*/ 1 w 39"/>
                <a:gd name="T3" fmla="*/ 3 h 31"/>
                <a:gd name="T4" fmla="*/ 2 w 39"/>
                <a:gd name="T5" fmla="*/ 4 h 31"/>
                <a:gd name="T6" fmla="*/ 4 w 39"/>
                <a:gd name="T7" fmla="*/ 6 h 31"/>
                <a:gd name="T8" fmla="*/ 6 w 39"/>
                <a:gd name="T9" fmla="*/ 7 h 31"/>
                <a:gd name="T10" fmla="*/ 8 w 39"/>
                <a:gd name="T11" fmla="*/ 8 h 31"/>
                <a:gd name="T12" fmla="*/ 9 w 39"/>
                <a:gd name="T13" fmla="*/ 9 h 31"/>
                <a:gd name="T14" fmla="*/ 11 w 39"/>
                <a:gd name="T15" fmla="*/ 10 h 31"/>
                <a:gd name="T16" fmla="*/ 13 w 39"/>
                <a:gd name="T17" fmla="*/ 10 h 31"/>
                <a:gd name="T18" fmla="*/ 11 w 39"/>
                <a:gd name="T19" fmla="*/ 7 h 31"/>
                <a:gd name="T20" fmla="*/ 8 w 39"/>
                <a:gd name="T21" fmla="*/ 5 h 31"/>
                <a:gd name="T22" fmla="*/ 5 w 39"/>
                <a:gd name="T23" fmla="*/ 2 h 31"/>
                <a:gd name="T24" fmla="*/ 2 w 39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9"/>
                <a:gd name="T40" fmla="*/ 0 h 31"/>
                <a:gd name="T41" fmla="*/ 39 w 39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1" name="Freeform 288"/>
            <p:cNvSpPr>
              <a:spLocks/>
            </p:cNvSpPr>
            <p:nvPr/>
          </p:nvSpPr>
          <p:spPr bwMode="auto">
            <a:xfrm>
              <a:off x="8064560" y="3215468"/>
              <a:ext cx="12013" cy="8627"/>
            </a:xfrm>
            <a:custGeom>
              <a:avLst/>
              <a:gdLst>
                <a:gd name="T0" fmla="*/ 0 w 34"/>
                <a:gd name="T1" fmla="*/ 0 h 19"/>
                <a:gd name="T2" fmla="*/ 10 w 34"/>
                <a:gd name="T3" fmla="*/ 6 h 19"/>
                <a:gd name="T4" fmla="*/ 10 w 34"/>
                <a:gd name="T5" fmla="*/ 0 h 19"/>
                <a:gd name="T6" fmla="*/ 7 w 34"/>
                <a:gd name="T7" fmla="*/ 0 h 19"/>
                <a:gd name="T8" fmla="*/ 4 w 34"/>
                <a:gd name="T9" fmla="*/ 0 h 19"/>
                <a:gd name="T10" fmla="*/ 2 w 34"/>
                <a:gd name="T11" fmla="*/ 0 h 19"/>
                <a:gd name="T12" fmla="*/ 0 w 34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19"/>
                <a:gd name="T23" fmla="*/ 34 w 34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2" name="Freeform 289"/>
            <p:cNvSpPr>
              <a:spLocks/>
            </p:cNvSpPr>
            <p:nvPr/>
          </p:nvSpPr>
          <p:spPr bwMode="auto">
            <a:xfrm>
              <a:off x="8074170" y="3303172"/>
              <a:ext cx="7208" cy="5751"/>
            </a:xfrm>
            <a:custGeom>
              <a:avLst/>
              <a:gdLst>
                <a:gd name="T0" fmla="*/ 0 w 19"/>
                <a:gd name="T1" fmla="*/ 0 h 12"/>
                <a:gd name="T2" fmla="*/ 6 w 19"/>
                <a:gd name="T3" fmla="*/ 4 h 12"/>
                <a:gd name="T4" fmla="*/ 4 w 19"/>
                <a:gd name="T5" fmla="*/ 2 h 12"/>
                <a:gd name="T6" fmla="*/ 2 w 19"/>
                <a:gd name="T7" fmla="*/ 2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2"/>
                <a:gd name="T14" fmla="*/ 19 w 19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6" name="Freeform 293"/>
            <p:cNvSpPr>
              <a:spLocks/>
            </p:cNvSpPr>
            <p:nvPr/>
          </p:nvSpPr>
          <p:spPr bwMode="auto">
            <a:xfrm>
              <a:off x="8029723" y="3252850"/>
              <a:ext cx="19220" cy="30193"/>
            </a:xfrm>
            <a:custGeom>
              <a:avLst/>
              <a:gdLst>
                <a:gd name="T0" fmla="*/ 2 w 46"/>
                <a:gd name="T1" fmla="*/ 2 h 62"/>
                <a:gd name="T2" fmla="*/ 7 w 46"/>
                <a:gd name="T3" fmla="*/ 2 h 62"/>
                <a:gd name="T4" fmla="*/ 11 w 46"/>
                <a:gd name="T5" fmla="*/ 1 h 62"/>
                <a:gd name="T6" fmla="*/ 14 w 46"/>
                <a:gd name="T7" fmla="*/ 0 h 62"/>
                <a:gd name="T8" fmla="*/ 16 w 46"/>
                <a:gd name="T9" fmla="*/ 0 h 62"/>
                <a:gd name="T10" fmla="*/ 16 w 46"/>
                <a:gd name="T11" fmla="*/ 3 h 62"/>
                <a:gd name="T12" fmla="*/ 16 w 46"/>
                <a:gd name="T13" fmla="*/ 6 h 62"/>
                <a:gd name="T14" fmla="*/ 16 w 46"/>
                <a:gd name="T15" fmla="*/ 9 h 62"/>
                <a:gd name="T16" fmla="*/ 16 w 46"/>
                <a:gd name="T17" fmla="*/ 13 h 62"/>
                <a:gd name="T18" fmla="*/ 16 w 46"/>
                <a:gd name="T19" fmla="*/ 16 h 62"/>
                <a:gd name="T20" fmla="*/ 14 w 46"/>
                <a:gd name="T21" fmla="*/ 18 h 62"/>
                <a:gd name="T22" fmla="*/ 14 w 46"/>
                <a:gd name="T23" fmla="*/ 19 h 62"/>
                <a:gd name="T24" fmla="*/ 13 w 46"/>
                <a:gd name="T25" fmla="*/ 20 h 62"/>
                <a:gd name="T26" fmla="*/ 12 w 46"/>
                <a:gd name="T27" fmla="*/ 21 h 62"/>
                <a:gd name="T28" fmla="*/ 11 w 46"/>
                <a:gd name="T29" fmla="*/ 21 h 62"/>
                <a:gd name="T30" fmla="*/ 9 w 46"/>
                <a:gd name="T31" fmla="*/ 21 h 62"/>
                <a:gd name="T32" fmla="*/ 8 w 46"/>
                <a:gd name="T33" fmla="*/ 20 h 62"/>
                <a:gd name="T34" fmla="*/ 6 w 46"/>
                <a:gd name="T35" fmla="*/ 20 h 62"/>
                <a:gd name="T36" fmla="*/ 5 w 46"/>
                <a:gd name="T37" fmla="*/ 19 h 62"/>
                <a:gd name="T38" fmla="*/ 4 w 46"/>
                <a:gd name="T39" fmla="*/ 18 h 62"/>
                <a:gd name="T40" fmla="*/ 2 w 46"/>
                <a:gd name="T41" fmla="*/ 17 h 62"/>
                <a:gd name="T42" fmla="*/ 2 w 46"/>
                <a:gd name="T43" fmla="*/ 16 h 62"/>
                <a:gd name="T44" fmla="*/ 1 w 46"/>
                <a:gd name="T45" fmla="*/ 15 h 62"/>
                <a:gd name="T46" fmla="*/ 0 w 46"/>
                <a:gd name="T47" fmla="*/ 12 h 62"/>
                <a:gd name="T48" fmla="*/ 0 w 46"/>
                <a:gd name="T49" fmla="*/ 8 h 62"/>
                <a:gd name="T50" fmla="*/ 0 w 46"/>
                <a:gd name="T51" fmla="*/ 5 h 62"/>
                <a:gd name="T52" fmla="*/ 0 w 46"/>
                <a:gd name="T53" fmla="*/ 2 h 62"/>
                <a:gd name="T54" fmla="*/ 2 w 46"/>
                <a:gd name="T55" fmla="*/ 2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46"/>
                <a:gd name="T85" fmla="*/ 0 h 62"/>
                <a:gd name="T86" fmla="*/ 46 w 46"/>
                <a:gd name="T87" fmla="*/ 62 h 6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8" name="Freeform 295"/>
            <p:cNvSpPr>
              <a:spLocks/>
            </p:cNvSpPr>
            <p:nvPr/>
          </p:nvSpPr>
          <p:spPr bwMode="auto">
            <a:xfrm>
              <a:off x="8084982" y="3261477"/>
              <a:ext cx="9610" cy="18691"/>
            </a:xfrm>
            <a:custGeom>
              <a:avLst/>
              <a:gdLst>
                <a:gd name="T0" fmla="*/ 8 w 26"/>
                <a:gd name="T1" fmla="*/ 13 h 38"/>
                <a:gd name="T2" fmla="*/ 8 w 26"/>
                <a:gd name="T3" fmla="*/ 0 h 38"/>
                <a:gd name="T4" fmla="*/ 6 w 26"/>
                <a:gd name="T5" fmla="*/ 0 h 38"/>
                <a:gd name="T6" fmla="*/ 4 w 26"/>
                <a:gd name="T7" fmla="*/ 1 h 38"/>
                <a:gd name="T8" fmla="*/ 2 w 26"/>
                <a:gd name="T9" fmla="*/ 3 h 38"/>
                <a:gd name="T10" fmla="*/ 0 w 26"/>
                <a:gd name="T11" fmla="*/ 4 h 38"/>
                <a:gd name="T12" fmla="*/ 6 w 26"/>
                <a:gd name="T13" fmla="*/ 10 h 38"/>
                <a:gd name="T14" fmla="*/ 8 w 26"/>
                <a:gd name="T15" fmla="*/ 13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6"/>
                <a:gd name="T25" fmla="*/ 0 h 38"/>
                <a:gd name="T26" fmla="*/ 26 w 26"/>
                <a:gd name="T27" fmla="*/ 38 h 3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9" name="Freeform 296"/>
            <p:cNvSpPr>
              <a:spLocks/>
            </p:cNvSpPr>
            <p:nvPr/>
          </p:nvSpPr>
          <p:spPr bwMode="auto">
            <a:xfrm>
              <a:off x="8056151" y="3229846"/>
              <a:ext cx="12013" cy="14378"/>
            </a:xfrm>
            <a:custGeom>
              <a:avLst/>
              <a:gdLst>
                <a:gd name="T0" fmla="*/ 0 w 34"/>
                <a:gd name="T1" fmla="*/ 6 h 31"/>
                <a:gd name="T2" fmla="*/ 2 w 34"/>
                <a:gd name="T3" fmla="*/ 7 h 31"/>
                <a:gd name="T4" fmla="*/ 5 w 34"/>
                <a:gd name="T5" fmla="*/ 8 h 31"/>
                <a:gd name="T6" fmla="*/ 8 w 34"/>
                <a:gd name="T7" fmla="*/ 10 h 31"/>
                <a:gd name="T8" fmla="*/ 10 w 34"/>
                <a:gd name="T9" fmla="*/ 10 h 31"/>
                <a:gd name="T10" fmla="*/ 10 w 34"/>
                <a:gd name="T11" fmla="*/ 8 h 31"/>
                <a:gd name="T12" fmla="*/ 9 w 34"/>
                <a:gd name="T13" fmla="*/ 5 h 31"/>
                <a:gd name="T14" fmla="*/ 8 w 34"/>
                <a:gd name="T15" fmla="*/ 2 h 31"/>
                <a:gd name="T16" fmla="*/ 6 w 34"/>
                <a:gd name="T17" fmla="*/ 0 h 31"/>
                <a:gd name="T18" fmla="*/ 5 w 34"/>
                <a:gd name="T19" fmla="*/ 2 h 31"/>
                <a:gd name="T20" fmla="*/ 3 w 34"/>
                <a:gd name="T21" fmla="*/ 4 h 31"/>
                <a:gd name="T22" fmla="*/ 2 w 34"/>
                <a:gd name="T23" fmla="*/ 5 h 31"/>
                <a:gd name="T24" fmla="*/ 2 w 34"/>
                <a:gd name="T25" fmla="*/ 5 h 31"/>
                <a:gd name="T26" fmla="*/ 1 w 34"/>
                <a:gd name="T27" fmla="*/ 6 h 31"/>
                <a:gd name="T28" fmla="*/ 0 w 34"/>
                <a:gd name="T29" fmla="*/ 6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4"/>
                <a:gd name="T46" fmla="*/ 0 h 31"/>
                <a:gd name="T47" fmla="*/ 34 w 34"/>
                <a:gd name="T48" fmla="*/ 31 h 3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0" name="Freeform 297"/>
            <p:cNvSpPr>
              <a:spLocks/>
            </p:cNvSpPr>
            <p:nvPr/>
          </p:nvSpPr>
          <p:spPr bwMode="auto">
            <a:xfrm>
              <a:off x="8024918" y="3226970"/>
              <a:ext cx="7208" cy="17253"/>
            </a:xfrm>
            <a:custGeom>
              <a:avLst/>
              <a:gdLst>
                <a:gd name="T0" fmla="*/ 0 w 20"/>
                <a:gd name="T1" fmla="*/ 2 h 37"/>
                <a:gd name="T2" fmla="*/ 0 w 20"/>
                <a:gd name="T3" fmla="*/ 12 h 37"/>
                <a:gd name="T4" fmla="*/ 2 w 20"/>
                <a:gd name="T5" fmla="*/ 11 h 37"/>
                <a:gd name="T6" fmla="*/ 6 w 20"/>
                <a:gd name="T7" fmla="*/ 10 h 37"/>
                <a:gd name="T8" fmla="*/ 6 w 20"/>
                <a:gd name="T9" fmla="*/ 0 h 37"/>
                <a:gd name="T10" fmla="*/ 0 w 20"/>
                <a:gd name="T11" fmla="*/ 2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37"/>
                <a:gd name="T20" fmla="*/ 20 w 20"/>
                <a:gd name="T21" fmla="*/ 37 h 3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1" name="Line 298"/>
            <p:cNvSpPr>
              <a:spLocks noChangeShapeType="1"/>
            </p:cNvSpPr>
            <p:nvPr/>
          </p:nvSpPr>
          <p:spPr bwMode="auto">
            <a:xfrm>
              <a:off x="8074170" y="3271541"/>
              <a:ext cx="1201" cy="14378"/>
            </a:xfrm>
            <a:prstGeom prst="line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2" name="Freeform 299"/>
            <p:cNvSpPr>
              <a:spLocks/>
            </p:cNvSpPr>
            <p:nvPr/>
          </p:nvSpPr>
          <p:spPr bwMode="auto">
            <a:xfrm>
              <a:off x="8074170" y="3277292"/>
              <a:ext cx="4805" cy="8627"/>
            </a:xfrm>
            <a:custGeom>
              <a:avLst/>
              <a:gdLst>
                <a:gd name="T0" fmla="*/ 0 w 13"/>
                <a:gd name="T1" fmla="*/ 6 h 18"/>
                <a:gd name="T2" fmla="*/ 0 w 13"/>
                <a:gd name="T3" fmla="*/ 4 h 18"/>
                <a:gd name="T4" fmla="*/ 1 w 13"/>
                <a:gd name="T5" fmla="*/ 3 h 18"/>
                <a:gd name="T6" fmla="*/ 2 w 13"/>
                <a:gd name="T7" fmla="*/ 1 h 18"/>
                <a:gd name="T8" fmla="*/ 4 w 1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18"/>
                <a:gd name="T17" fmla="*/ 13 w 13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3" name="Line 300"/>
            <p:cNvSpPr>
              <a:spLocks noChangeShapeType="1"/>
            </p:cNvSpPr>
            <p:nvPr/>
          </p:nvSpPr>
          <p:spPr bwMode="auto">
            <a:xfrm flipH="1" flipV="1">
              <a:off x="8071768" y="3268666"/>
              <a:ext cx="7208" cy="8627"/>
            </a:xfrm>
            <a:prstGeom prst="line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4" name="Freeform 301"/>
            <p:cNvSpPr>
              <a:spLocks/>
            </p:cNvSpPr>
            <p:nvPr/>
          </p:nvSpPr>
          <p:spPr bwMode="auto">
            <a:xfrm>
              <a:off x="7997289" y="3436885"/>
              <a:ext cx="10811" cy="14378"/>
            </a:xfrm>
            <a:custGeom>
              <a:avLst/>
              <a:gdLst>
                <a:gd name="T0" fmla="*/ 0 w 27"/>
                <a:gd name="T1" fmla="*/ 0 h 31"/>
                <a:gd name="T2" fmla="*/ 7 w 27"/>
                <a:gd name="T3" fmla="*/ 10 h 31"/>
                <a:gd name="T4" fmla="*/ 9 w 27"/>
                <a:gd name="T5" fmla="*/ 4 h 31"/>
                <a:gd name="T6" fmla="*/ 0 60000 65536"/>
                <a:gd name="T7" fmla="*/ 0 60000 65536"/>
                <a:gd name="T8" fmla="*/ 0 60000 65536"/>
                <a:gd name="T9" fmla="*/ 0 w 27"/>
                <a:gd name="T10" fmla="*/ 0 h 31"/>
                <a:gd name="T11" fmla="*/ 27 w 27"/>
                <a:gd name="T12" fmla="*/ 31 h 3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5" name="Freeform 302"/>
            <p:cNvSpPr>
              <a:spLocks/>
            </p:cNvSpPr>
            <p:nvPr/>
          </p:nvSpPr>
          <p:spPr bwMode="auto">
            <a:xfrm>
              <a:off x="8000893" y="3442636"/>
              <a:ext cx="7208" cy="1438"/>
            </a:xfrm>
            <a:custGeom>
              <a:avLst/>
              <a:gdLst>
                <a:gd name="T0" fmla="*/ 6 w 20"/>
                <a:gd name="T1" fmla="*/ 0 h 1"/>
                <a:gd name="T2" fmla="*/ 3 w 20"/>
                <a:gd name="T3" fmla="*/ 0 h 1"/>
                <a:gd name="T4" fmla="*/ 0 w 20"/>
                <a:gd name="T5" fmla="*/ 0 h 1"/>
                <a:gd name="T6" fmla="*/ 0 60000 65536"/>
                <a:gd name="T7" fmla="*/ 0 60000 65536"/>
                <a:gd name="T8" fmla="*/ 0 60000 65536"/>
                <a:gd name="T9" fmla="*/ 0 w 20"/>
                <a:gd name="T10" fmla="*/ 0 h 1"/>
                <a:gd name="T11" fmla="*/ 20 w 20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0" h="1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6" name="Freeform 303"/>
            <p:cNvSpPr>
              <a:spLocks/>
            </p:cNvSpPr>
            <p:nvPr/>
          </p:nvSpPr>
          <p:spPr bwMode="auto">
            <a:xfrm>
              <a:off x="8010503" y="3426821"/>
              <a:ext cx="14415" cy="7189"/>
            </a:xfrm>
            <a:custGeom>
              <a:avLst/>
              <a:gdLst>
                <a:gd name="T0" fmla="*/ 0 w 34"/>
                <a:gd name="T1" fmla="*/ 5 h 13"/>
                <a:gd name="T2" fmla="*/ 2 w 34"/>
                <a:gd name="T3" fmla="*/ 5 h 13"/>
                <a:gd name="T4" fmla="*/ 4 w 34"/>
                <a:gd name="T5" fmla="*/ 4 h 13"/>
                <a:gd name="T6" fmla="*/ 6 w 34"/>
                <a:gd name="T7" fmla="*/ 4 h 13"/>
                <a:gd name="T8" fmla="*/ 7 w 34"/>
                <a:gd name="T9" fmla="*/ 3 h 13"/>
                <a:gd name="T10" fmla="*/ 10 w 34"/>
                <a:gd name="T11" fmla="*/ 1 h 13"/>
                <a:gd name="T12" fmla="*/ 12 w 34"/>
                <a:gd name="T13" fmla="*/ 0 h 13"/>
                <a:gd name="T14" fmla="*/ 9 w 34"/>
                <a:gd name="T15" fmla="*/ 0 h 13"/>
                <a:gd name="T16" fmla="*/ 5 w 34"/>
                <a:gd name="T17" fmla="*/ 0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4"/>
                <a:gd name="T28" fmla="*/ 0 h 13"/>
                <a:gd name="T29" fmla="*/ 34 w 34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7" name="Freeform 304"/>
            <p:cNvSpPr>
              <a:spLocks/>
            </p:cNvSpPr>
            <p:nvPr/>
          </p:nvSpPr>
          <p:spPr bwMode="auto">
            <a:xfrm>
              <a:off x="8010503" y="3412443"/>
              <a:ext cx="14415" cy="8627"/>
            </a:xfrm>
            <a:custGeom>
              <a:avLst/>
              <a:gdLst>
                <a:gd name="T0" fmla="*/ 12 w 34"/>
                <a:gd name="T1" fmla="*/ 6 h 18"/>
                <a:gd name="T2" fmla="*/ 12 w 34"/>
                <a:gd name="T3" fmla="*/ 0 h 18"/>
                <a:gd name="T4" fmla="*/ 10 w 34"/>
                <a:gd name="T5" fmla="*/ 0 h 18"/>
                <a:gd name="T6" fmla="*/ 7 w 34"/>
                <a:gd name="T7" fmla="*/ 0 h 18"/>
                <a:gd name="T8" fmla="*/ 4 w 34"/>
                <a:gd name="T9" fmla="*/ 0 h 18"/>
                <a:gd name="T10" fmla="*/ 0 w 34"/>
                <a:gd name="T11" fmla="*/ 0 h 18"/>
                <a:gd name="T12" fmla="*/ 12 w 34"/>
                <a:gd name="T13" fmla="*/ 6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18"/>
                <a:gd name="T23" fmla="*/ 34 w 34"/>
                <a:gd name="T24" fmla="*/ 18 h 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8" name="Freeform 305"/>
            <p:cNvSpPr>
              <a:spLocks/>
            </p:cNvSpPr>
            <p:nvPr/>
          </p:nvSpPr>
          <p:spPr bwMode="auto">
            <a:xfrm>
              <a:off x="8027321" y="3395190"/>
              <a:ext cx="24025" cy="11502"/>
            </a:xfrm>
            <a:custGeom>
              <a:avLst/>
              <a:gdLst>
                <a:gd name="T0" fmla="*/ 18 w 59"/>
                <a:gd name="T1" fmla="*/ 8 h 25"/>
                <a:gd name="T2" fmla="*/ 19 w 59"/>
                <a:gd name="T3" fmla="*/ 4 h 25"/>
                <a:gd name="T4" fmla="*/ 20 w 59"/>
                <a:gd name="T5" fmla="*/ 0 h 25"/>
                <a:gd name="T6" fmla="*/ 15 w 59"/>
                <a:gd name="T7" fmla="*/ 0 h 25"/>
                <a:gd name="T8" fmla="*/ 9 w 59"/>
                <a:gd name="T9" fmla="*/ 0 h 25"/>
                <a:gd name="T10" fmla="*/ 6 w 59"/>
                <a:gd name="T11" fmla="*/ 0 h 25"/>
                <a:gd name="T12" fmla="*/ 4 w 59"/>
                <a:gd name="T13" fmla="*/ 1 h 25"/>
                <a:gd name="T14" fmla="*/ 2 w 59"/>
                <a:gd name="T15" fmla="*/ 1 h 25"/>
                <a:gd name="T16" fmla="*/ 0 w 59"/>
                <a:gd name="T17" fmla="*/ 2 h 25"/>
                <a:gd name="T18" fmla="*/ 4 w 59"/>
                <a:gd name="T19" fmla="*/ 4 h 25"/>
                <a:gd name="T20" fmla="*/ 9 w 59"/>
                <a:gd name="T21" fmla="*/ 6 h 25"/>
                <a:gd name="T22" fmla="*/ 11 w 59"/>
                <a:gd name="T23" fmla="*/ 7 h 25"/>
                <a:gd name="T24" fmla="*/ 13 w 59"/>
                <a:gd name="T25" fmla="*/ 8 h 25"/>
                <a:gd name="T26" fmla="*/ 16 w 59"/>
                <a:gd name="T27" fmla="*/ 8 h 25"/>
                <a:gd name="T28" fmla="*/ 18 w 59"/>
                <a:gd name="T29" fmla="*/ 8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9"/>
                <a:gd name="T46" fmla="*/ 0 h 25"/>
                <a:gd name="T47" fmla="*/ 59 w 59"/>
                <a:gd name="T48" fmla="*/ 25 h 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0" name="Freeform 307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8246282" y="3797368"/>
              <a:ext cx="13018" cy="50686"/>
            </a:xfrm>
            <a:custGeom>
              <a:avLst/>
              <a:gdLst>
                <a:gd name="T0" fmla="*/ 0 w 33"/>
                <a:gd name="T1" fmla="*/ 2147483647 h 43"/>
                <a:gd name="T2" fmla="*/ 2147483647 w 33"/>
                <a:gd name="T3" fmla="*/ 2147483647 h 43"/>
                <a:gd name="T4" fmla="*/ 2147483647 w 33"/>
                <a:gd name="T5" fmla="*/ 2147483647 h 43"/>
                <a:gd name="T6" fmla="*/ 2147483647 w 33"/>
                <a:gd name="T7" fmla="*/ 2147483647 h 43"/>
                <a:gd name="T8" fmla="*/ 2147483647 w 33"/>
                <a:gd name="T9" fmla="*/ 2147483647 h 43"/>
                <a:gd name="T10" fmla="*/ 2147483647 w 33"/>
                <a:gd name="T11" fmla="*/ 2147483647 h 43"/>
                <a:gd name="T12" fmla="*/ 2147483647 w 33"/>
                <a:gd name="T13" fmla="*/ 2147483647 h 43"/>
                <a:gd name="T14" fmla="*/ 2147483647 w 33"/>
                <a:gd name="T15" fmla="*/ 2147483647 h 43"/>
                <a:gd name="T16" fmla="*/ 2147483647 w 33"/>
                <a:gd name="T17" fmla="*/ 0 h 43"/>
                <a:gd name="T18" fmla="*/ 2147483647 w 33"/>
                <a:gd name="T19" fmla="*/ 2147483647 h 43"/>
                <a:gd name="T20" fmla="*/ 2147483647 w 33"/>
                <a:gd name="T21" fmla="*/ 2147483647 h 43"/>
                <a:gd name="T22" fmla="*/ 2147483647 w 33"/>
                <a:gd name="T23" fmla="*/ 2147483647 h 43"/>
                <a:gd name="T24" fmla="*/ 2147483647 w 33"/>
                <a:gd name="T25" fmla="*/ 2147483647 h 43"/>
                <a:gd name="T26" fmla="*/ 2147483647 w 33"/>
                <a:gd name="T27" fmla="*/ 2147483647 h 43"/>
                <a:gd name="T28" fmla="*/ 2147483647 w 33"/>
                <a:gd name="T29" fmla="*/ 2147483647 h 43"/>
                <a:gd name="T30" fmla="*/ 2147483647 w 33"/>
                <a:gd name="T31" fmla="*/ 2147483647 h 43"/>
                <a:gd name="T32" fmla="*/ 2147483647 w 33"/>
                <a:gd name="T33" fmla="*/ 2147483647 h 43"/>
                <a:gd name="T34" fmla="*/ 0 w 33"/>
                <a:gd name="T35" fmla="*/ 214748364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3"/>
                <a:gd name="T55" fmla="*/ 0 h 43"/>
                <a:gd name="T56" fmla="*/ 33 w 33"/>
                <a:gd name="T57" fmla="*/ 43 h 4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2" name="Freeform 309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8359104" y="3632279"/>
              <a:ext cx="21697" cy="52134"/>
            </a:xfrm>
            <a:custGeom>
              <a:avLst/>
              <a:gdLst>
                <a:gd name="T0" fmla="*/ 0 w 60"/>
                <a:gd name="T1" fmla="*/ 0 h 18"/>
                <a:gd name="T2" fmla="*/ 2147483647 w 60"/>
                <a:gd name="T3" fmla="*/ 2147483647 h 18"/>
                <a:gd name="T4" fmla="*/ 2147483647 w 60"/>
                <a:gd name="T5" fmla="*/ 2147483647 h 18"/>
                <a:gd name="T6" fmla="*/ 2147483647 w 60"/>
                <a:gd name="T7" fmla="*/ 2147483647 h 18"/>
                <a:gd name="T8" fmla="*/ 2147483647 w 60"/>
                <a:gd name="T9" fmla="*/ 2147483647 h 18"/>
                <a:gd name="T10" fmla="*/ 2147483647 w 60"/>
                <a:gd name="T11" fmla="*/ 2147483647 h 18"/>
                <a:gd name="T12" fmla="*/ 2147483647 w 60"/>
                <a:gd name="T13" fmla="*/ 2147483647 h 18"/>
                <a:gd name="T14" fmla="*/ 2147483647 w 60"/>
                <a:gd name="T15" fmla="*/ 2147483647 h 18"/>
                <a:gd name="T16" fmla="*/ 2147483647 w 60"/>
                <a:gd name="T17" fmla="*/ 2147483647 h 18"/>
                <a:gd name="T18" fmla="*/ 2147483647 w 60"/>
                <a:gd name="T19" fmla="*/ 2147483647 h 18"/>
                <a:gd name="T20" fmla="*/ 0 w 60"/>
                <a:gd name="T21" fmla="*/ 2147483647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0"/>
                <a:gd name="T37" fmla="*/ 0 h 18"/>
                <a:gd name="T38" fmla="*/ 60 w 60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4" name="Freeform 311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8185532" y="3510634"/>
              <a:ext cx="7233" cy="52134"/>
            </a:xfrm>
            <a:custGeom>
              <a:avLst/>
              <a:gdLst>
                <a:gd name="T0" fmla="*/ 0 w 17"/>
                <a:gd name="T1" fmla="*/ 2147483647 h 42"/>
                <a:gd name="T2" fmla="*/ 2147483647 w 17"/>
                <a:gd name="T3" fmla="*/ 2147483647 h 42"/>
                <a:gd name="T4" fmla="*/ 2147483647 w 17"/>
                <a:gd name="T5" fmla="*/ 2147483647 h 42"/>
                <a:gd name="T6" fmla="*/ 2147483647 w 17"/>
                <a:gd name="T7" fmla="*/ 2147483647 h 42"/>
                <a:gd name="T8" fmla="*/ 2147483647 w 17"/>
                <a:gd name="T9" fmla="*/ 2147483647 h 42"/>
                <a:gd name="T10" fmla="*/ 2147483647 w 17"/>
                <a:gd name="T11" fmla="*/ 2147483647 h 42"/>
                <a:gd name="T12" fmla="*/ 2147483647 w 17"/>
                <a:gd name="T13" fmla="*/ 2147483647 h 42"/>
                <a:gd name="T14" fmla="*/ 2147483647 w 17"/>
                <a:gd name="T15" fmla="*/ 0 h 42"/>
                <a:gd name="T16" fmla="*/ 0 w 17"/>
                <a:gd name="T17" fmla="*/ 2147483647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7"/>
                <a:gd name="T28" fmla="*/ 0 h 42"/>
                <a:gd name="T29" fmla="*/ 17 w 17"/>
                <a:gd name="T30" fmla="*/ 42 h 4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6" name="Freeform 313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8126229" y="3803161"/>
              <a:ext cx="17357" cy="50686"/>
            </a:xfrm>
            <a:custGeom>
              <a:avLst/>
              <a:gdLst>
                <a:gd name="T0" fmla="*/ 0 w 46"/>
                <a:gd name="T1" fmla="*/ 0 h 37"/>
                <a:gd name="T2" fmla="*/ 2147483647 w 46"/>
                <a:gd name="T3" fmla="*/ 2147483647 h 37"/>
                <a:gd name="T4" fmla="*/ 2147483647 w 46"/>
                <a:gd name="T5" fmla="*/ 2147483647 h 37"/>
                <a:gd name="T6" fmla="*/ 2147483647 w 46"/>
                <a:gd name="T7" fmla="*/ 2147483647 h 37"/>
                <a:gd name="T8" fmla="*/ 2147483647 w 46"/>
                <a:gd name="T9" fmla="*/ 2147483647 h 37"/>
                <a:gd name="T10" fmla="*/ 2147483647 w 46"/>
                <a:gd name="T11" fmla="*/ 2147483647 h 37"/>
                <a:gd name="T12" fmla="*/ 2147483647 w 46"/>
                <a:gd name="T13" fmla="*/ 2147483647 h 37"/>
                <a:gd name="T14" fmla="*/ 2147483647 w 46"/>
                <a:gd name="T15" fmla="*/ 2147483647 h 37"/>
                <a:gd name="T16" fmla="*/ 2147483647 w 46"/>
                <a:gd name="T17" fmla="*/ 2147483647 h 37"/>
                <a:gd name="T18" fmla="*/ 2147483647 w 46"/>
                <a:gd name="T19" fmla="*/ 2147483647 h 37"/>
                <a:gd name="T20" fmla="*/ 2147483647 w 46"/>
                <a:gd name="T21" fmla="*/ 2147483647 h 37"/>
                <a:gd name="T22" fmla="*/ 2147483647 w 46"/>
                <a:gd name="T23" fmla="*/ 2147483647 h 37"/>
                <a:gd name="T24" fmla="*/ 2147483647 w 46"/>
                <a:gd name="T25" fmla="*/ 2147483647 h 37"/>
                <a:gd name="T26" fmla="*/ 2147483647 w 46"/>
                <a:gd name="T27" fmla="*/ 2147483647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6"/>
                <a:gd name="T46" fmla="*/ 0 h 37"/>
                <a:gd name="T47" fmla="*/ 46 w 46"/>
                <a:gd name="T48" fmla="*/ 37 h 3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7" name="Freeform 314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8228925" y="3638071"/>
              <a:ext cx="10125" cy="52134"/>
            </a:xfrm>
            <a:custGeom>
              <a:avLst/>
              <a:gdLst>
                <a:gd name="T0" fmla="*/ 0 w 26"/>
                <a:gd name="T1" fmla="*/ 0 h 19"/>
                <a:gd name="T2" fmla="*/ 2147483647 w 26"/>
                <a:gd name="T3" fmla="*/ 2147483647 h 19"/>
                <a:gd name="T4" fmla="*/ 2147483647 w 26"/>
                <a:gd name="T5" fmla="*/ 2147483647 h 19"/>
                <a:gd name="T6" fmla="*/ 2147483647 w 26"/>
                <a:gd name="T7" fmla="*/ 0 h 19"/>
                <a:gd name="T8" fmla="*/ 2147483647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6"/>
                <a:gd name="T19" fmla="*/ 0 h 19"/>
                <a:gd name="T20" fmla="*/ 26 w 26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8" name="Freeform 315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8101640" y="3633727"/>
              <a:ext cx="17357" cy="53581"/>
            </a:xfrm>
            <a:custGeom>
              <a:avLst/>
              <a:gdLst>
                <a:gd name="T0" fmla="*/ 2147483647 w 43"/>
                <a:gd name="T1" fmla="*/ 0 h 31"/>
                <a:gd name="T2" fmla="*/ 2147483647 w 43"/>
                <a:gd name="T3" fmla="*/ 2147483647 h 31"/>
                <a:gd name="T4" fmla="*/ 0 w 43"/>
                <a:gd name="T5" fmla="*/ 2147483647 h 31"/>
                <a:gd name="T6" fmla="*/ 0 w 43"/>
                <a:gd name="T7" fmla="*/ 2147483647 h 31"/>
                <a:gd name="T8" fmla="*/ 0 w 43"/>
                <a:gd name="T9" fmla="*/ 2147483647 h 31"/>
                <a:gd name="T10" fmla="*/ 0 w 43"/>
                <a:gd name="T11" fmla="*/ 2147483647 h 31"/>
                <a:gd name="T12" fmla="*/ 2147483647 w 43"/>
                <a:gd name="T13" fmla="*/ 2147483647 h 31"/>
                <a:gd name="T14" fmla="*/ 2147483647 w 43"/>
                <a:gd name="T15" fmla="*/ 2147483647 h 31"/>
                <a:gd name="T16" fmla="*/ 2147483647 w 43"/>
                <a:gd name="T17" fmla="*/ 2147483647 h 31"/>
                <a:gd name="T18" fmla="*/ 2147483647 w 43"/>
                <a:gd name="T19" fmla="*/ 2147483647 h 31"/>
                <a:gd name="T20" fmla="*/ 2147483647 w 43"/>
                <a:gd name="T21" fmla="*/ 0 h 31"/>
                <a:gd name="T22" fmla="*/ 2147483647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3"/>
                <a:gd name="T37" fmla="*/ 0 h 31"/>
                <a:gd name="T38" fmla="*/ 43 w 43"/>
                <a:gd name="T39" fmla="*/ 31 h 3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4" name="Freeform 321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7987372" y="3830676"/>
              <a:ext cx="33267" cy="53581"/>
            </a:xfrm>
            <a:custGeom>
              <a:avLst/>
              <a:gdLst>
                <a:gd name="T0" fmla="*/ 0 w 86"/>
                <a:gd name="T1" fmla="*/ 2147483647 h 46"/>
                <a:gd name="T2" fmla="*/ 2147483647 w 86"/>
                <a:gd name="T3" fmla="*/ 2147483647 h 46"/>
                <a:gd name="T4" fmla="*/ 2147483647 w 86"/>
                <a:gd name="T5" fmla="*/ 2147483647 h 46"/>
                <a:gd name="T6" fmla="*/ 2147483647 w 86"/>
                <a:gd name="T7" fmla="*/ 2147483647 h 46"/>
                <a:gd name="T8" fmla="*/ 2147483647 w 86"/>
                <a:gd name="T9" fmla="*/ 2147483647 h 46"/>
                <a:gd name="T10" fmla="*/ 2147483647 w 86"/>
                <a:gd name="T11" fmla="*/ 2147483647 h 46"/>
                <a:gd name="T12" fmla="*/ 2147483647 w 86"/>
                <a:gd name="T13" fmla="*/ 2147483647 h 46"/>
                <a:gd name="T14" fmla="*/ 2147483647 w 86"/>
                <a:gd name="T15" fmla="*/ 2147483647 h 46"/>
                <a:gd name="T16" fmla="*/ 2147483647 w 86"/>
                <a:gd name="T17" fmla="*/ 2147483647 h 46"/>
                <a:gd name="T18" fmla="*/ 2147483647 w 86"/>
                <a:gd name="T19" fmla="*/ 2147483647 h 46"/>
                <a:gd name="T20" fmla="*/ 2147483647 w 86"/>
                <a:gd name="T21" fmla="*/ 2147483647 h 46"/>
                <a:gd name="T22" fmla="*/ 2147483647 w 86"/>
                <a:gd name="T23" fmla="*/ 2147483647 h 46"/>
                <a:gd name="T24" fmla="*/ 2147483647 w 86"/>
                <a:gd name="T25" fmla="*/ 2147483647 h 46"/>
                <a:gd name="T26" fmla="*/ 2147483647 w 86"/>
                <a:gd name="T27" fmla="*/ 2147483647 h 46"/>
                <a:gd name="T28" fmla="*/ 2147483647 w 86"/>
                <a:gd name="T29" fmla="*/ 2147483647 h 46"/>
                <a:gd name="T30" fmla="*/ 2147483647 w 86"/>
                <a:gd name="T31" fmla="*/ 2147483647 h 46"/>
                <a:gd name="T32" fmla="*/ 2147483647 w 86"/>
                <a:gd name="T33" fmla="*/ 2147483647 h 46"/>
                <a:gd name="T34" fmla="*/ 2147483647 w 86"/>
                <a:gd name="T35" fmla="*/ 2147483647 h 46"/>
                <a:gd name="T36" fmla="*/ 2147483647 w 86"/>
                <a:gd name="T37" fmla="*/ 2147483647 h 46"/>
                <a:gd name="T38" fmla="*/ 2147483647 w 86"/>
                <a:gd name="T39" fmla="*/ 2147483647 h 46"/>
                <a:gd name="T40" fmla="*/ 2147483647 w 86"/>
                <a:gd name="T41" fmla="*/ 2147483647 h 46"/>
                <a:gd name="T42" fmla="*/ 2147483647 w 86"/>
                <a:gd name="T43" fmla="*/ 0 h 46"/>
                <a:gd name="T44" fmla="*/ 2147483647 w 86"/>
                <a:gd name="T45" fmla="*/ 0 h 46"/>
                <a:gd name="T46" fmla="*/ 2147483647 w 86"/>
                <a:gd name="T47" fmla="*/ 2147483647 h 46"/>
                <a:gd name="T48" fmla="*/ 2147483647 w 86"/>
                <a:gd name="T49" fmla="*/ 2147483647 h 46"/>
                <a:gd name="T50" fmla="*/ 2147483647 w 86"/>
                <a:gd name="T51" fmla="*/ 2147483647 h 46"/>
                <a:gd name="T52" fmla="*/ 2147483647 w 86"/>
                <a:gd name="T53" fmla="*/ 2147483647 h 46"/>
                <a:gd name="T54" fmla="*/ 2147483647 w 86"/>
                <a:gd name="T55" fmla="*/ 2147483647 h 46"/>
                <a:gd name="T56" fmla="*/ 0 w 86"/>
                <a:gd name="T57" fmla="*/ 2147483647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6"/>
                <a:gd name="T88" fmla="*/ 0 h 46"/>
                <a:gd name="T89" fmla="*/ 86 w 86"/>
                <a:gd name="T90" fmla="*/ 46 h 4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6" name="Freeform 323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8101640" y="3827780"/>
              <a:ext cx="1447" cy="50685"/>
            </a:xfrm>
            <a:custGeom>
              <a:avLst/>
              <a:gdLst>
                <a:gd name="T0" fmla="*/ 2147483647 w 4"/>
                <a:gd name="T1" fmla="*/ 2147483647 h 19"/>
                <a:gd name="T2" fmla="*/ 2147483647 w 4"/>
                <a:gd name="T3" fmla="*/ 0 h 19"/>
                <a:gd name="T4" fmla="*/ 2147483647 w 4"/>
                <a:gd name="T5" fmla="*/ 2147483647 h 19"/>
                <a:gd name="T6" fmla="*/ 2147483647 w 4"/>
                <a:gd name="T7" fmla="*/ 2147483647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2147483647 w 4"/>
                <a:gd name="T15" fmla="*/ 2147483647 h 19"/>
                <a:gd name="T16" fmla="*/ 2147483647 w 4"/>
                <a:gd name="T17" fmla="*/ 2147483647 h 19"/>
                <a:gd name="T18" fmla="*/ 2147483647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9"/>
                <a:gd name="T32" fmla="*/ 4 w 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7" name="Freeform 324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7713997" y="3658346"/>
              <a:ext cx="18804" cy="53582"/>
            </a:xfrm>
            <a:custGeom>
              <a:avLst/>
              <a:gdLst>
                <a:gd name="T0" fmla="*/ 0 w 46"/>
                <a:gd name="T1" fmla="*/ 2147483647 h 50"/>
                <a:gd name="T2" fmla="*/ 2147483647 w 46"/>
                <a:gd name="T3" fmla="*/ 0 h 50"/>
                <a:gd name="T4" fmla="*/ 2147483647 w 46"/>
                <a:gd name="T5" fmla="*/ 2147483647 h 50"/>
                <a:gd name="T6" fmla="*/ 2147483647 w 46"/>
                <a:gd name="T7" fmla="*/ 2147483647 h 50"/>
                <a:gd name="T8" fmla="*/ 2147483647 w 46"/>
                <a:gd name="T9" fmla="*/ 2147483647 h 50"/>
                <a:gd name="T10" fmla="*/ 2147483647 w 46"/>
                <a:gd name="T11" fmla="*/ 2147483647 h 50"/>
                <a:gd name="T12" fmla="*/ 2147483647 w 46"/>
                <a:gd name="T13" fmla="*/ 2147483647 h 50"/>
                <a:gd name="T14" fmla="*/ 2147483647 w 46"/>
                <a:gd name="T15" fmla="*/ 2147483647 h 50"/>
                <a:gd name="T16" fmla="*/ 2147483647 w 46"/>
                <a:gd name="T17" fmla="*/ 2147483647 h 50"/>
                <a:gd name="T18" fmla="*/ 2147483647 w 46"/>
                <a:gd name="T19" fmla="*/ 2147483647 h 50"/>
                <a:gd name="T20" fmla="*/ 2147483647 w 46"/>
                <a:gd name="T21" fmla="*/ 2147483647 h 50"/>
                <a:gd name="T22" fmla="*/ 0 w 46"/>
                <a:gd name="T23" fmla="*/ 2147483647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6"/>
                <a:gd name="T37" fmla="*/ 0 h 50"/>
                <a:gd name="T38" fmla="*/ 46 w 46"/>
                <a:gd name="T39" fmla="*/ 50 h 5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8" name="Freeform 325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7664818" y="3633727"/>
              <a:ext cx="27483" cy="53581"/>
            </a:xfrm>
            <a:custGeom>
              <a:avLst/>
              <a:gdLst>
                <a:gd name="T0" fmla="*/ 0 w 66"/>
                <a:gd name="T1" fmla="*/ 0 h 80"/>
                <a:gd name="T2" fmla="*/ 2147483647 w 66"/>
                <a:gd name="T3" fmla="*/ 0 h 80"/>
                <a:gd name="T4" fmla="*/ 2147483647 w 66"/>
                <a:gd name="T5" fmla="*/ 0 h 80"/>
                <a:gd name="T6" fmla="*/ 2147483647 w 66"/>
                <a:gd name="T7" fmla="*/ 0 h 80"/>
                <a:gd name="T8" fmla="*/ 2147483647 w 66"/>
                <a:gd name="T9" fmla="*/ 0 h 80"/>
                <a:gd name="T10" fmla="*/ 2147483647 w 66"/>
                <a:gd name="T11" fmla="*/ 2147483647 h 80"/>
                <a:gd name="T12" fmla="*/ 2147483647 w 66"/>
                <a:gd name="T13" fmla="*/ 2147483647 h 80"/>
                <a:gd name="T14" fmla="*/ 2147483647 w 66"/>
                <a:gd name="T15" fmla="*/ 2147483647 h 80"/>
                <a:gd name="T16" fmla="*/ 2147483647 w 66"/>
                <a:gd name="T17" fmla="*/ 2147483647 h 80"/>
                <a:gd name="T18" fmla="*/ 2147483647 w 66"/>
                <a:gd name="T19" fmla="*/ 2147483647 h 80"/>
                <a:gd name="T20" fmla="*/ 2147483647 w 66"/>
                <a:gd name="T21" fmla="*/ 2147483647 h 80"/>
                <a:gd name="T22" fmla="*/ 2147483647 w 66"/>
                <a:gd name="T23" fmla="*/ 2147483647 h 80"/>
                <a:gd name="T24" fmla="*/ 2147483647 w 66"/>
                <a:gd name="T25" fmla="*/ 2147483647 h 80"/>
                <a:gd name="T26" fmla="*/ 2147483647 w 66"/>
                <a:gd name="T27" fmla="*/ 2147483647 h 80"/>
                <a:gd name="T28" fmla="*/ 2147483647 w 66"/>
                <a:gd name="T29" fmla="*/ 2147483647 h 80"/>
                <a:gd name="T30" fmla="*/ 2147483647 w 66"/>
                <a:gd name="T31" fmla="*/ 2147483647 h 80"/>
                <a:gd name="T32" fmla="*/ 2147483647 w 66"/>
                <a:gd name="T33" fmla="*/ 2147483647 h 80"/>
                <a:gd name="T34" fmla="*/ 0 w 66"/>
                <a:gd name="T35" fmla="*/ 2147483647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6"/>
                <a:gd name="T58" fmla="*/ 0 h 80"/>
                <a:gd name="T59" fmla="*/ 66 w 66"/>
                <a:gd name="T60" fmla="*/ 80 h 8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9" name="Freeform 326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7514390" y="3619246"/>
              <a:ext cx="7233" cy="52134"/>
            </a:xfrm>
            <a:custGeom>
              <a:avLst/>
              <a:gdLst>
                <a:gd name="T0" fmla="*/ 2147483647 w 20"/>
                <a:gd name="T1" fmla="*/ 2147483647 h 48"/>
                <a:gd name="T2" fmla="*/ 2147483647 w 20"/>
                <a:gd name="T3" fmla="*/ 2147483647 h 48"/>
                <a:gd name="T4" fmla="*/ 2147483647 w 20"/>
                <a:gd name="T5" fmla="*/ 2147483647 h 48"/>
                <a:gd name="T6" fmla="*/ 2147483647 w 20"/>
                <a:gd name="T7" fmla="*/ 2147483647 h 48"/>
                <a:gd name="T8" fmla="*/ 2147483647 w 20"/>
                <a:gd name="T9" fmla="*/ 2147483647 h 48"/>
                <a:gd name="T10" fmla="*/ 2147483647 w 20"/>
                <a:gd name="T11" fmla="*/ 2147483647 h 48"/>
                <a:gd name="T12" fmla="*/ 2147483647 w 20"/>
                <a:gd name="T13" fmla="*/ 2147483647 h 48"/>
                <a:gd name="T14" fmla="*/ 2147483647 w 20"/>
                <a:gd name="T15" fmla="*/ 2147483647 h 48"/>
                <a:gd name="T16" fmla="*/ 0 w 20"/>
                <a:gd name="T17" fmla="*/ 0 h 48"/>
                <a:gd name="T18" fmla="*/ 0 w 20"/>
                <a:gd name="T19" fmla="*/ 2147483647 h 48"/>
                <a:gd name="T20" fmla="*/ 2147483647 w 20"/>
                <a:gd name="T21" fmla="*/ 2147483647 h 48"/>
                <a:gd name="T22" fmla="*/ 2147483647 w 20"/>
                <a:gd name="T23" fmla="*/ 2147483647 h 48"/>
                <a:gd name="T24" fmla="*/ 2147483647 w 20"/>
                <a:gd name="T25" fmla="*/ 2147483647 h 48"/>
                <a:gd name="T26" fmla="*/ 2147483647 w 20"/>
                <a:gd name="T27" fmla="*/ 2147483647 h 48"/>
                <a:gd name="T28" fmla="*/ 2147483647 w 20"/>
                <a:gd name="T29" fmla="*/ 2147483647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0"/>
                <a:gd name="T46" fmla="*/ 0 h 48"/>
                <a:gd name="T47" fmla="*/ 20 w 20"/>
                <a:gd name="T48" fmla="*/ 48 h 4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0" name="Line 327" descr="Horizontal dunkel"/>
            <p:cNvSpPr>
              <a:spLocks noChangeShapeType="1"/>
            </p:cNvSpPr>
            <p:nvPr>
              <p:custDataLst>
                <p:tags r:id="rId242"/>
              </p:custDataLst>
            </p:nvPr>
          </p:nvSpPr>
          <p:spPr bwMode="auto">
            <a:xfrm>
              <a:off x="7537532" y="3652553"/>
              <a:ext cx="4340" cy="5793"/>
            </a:xfrm>
            <a:prstGeom prst="line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1" name="Freeform 328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7534640" y="3652553"/>
              <a:ext cx="7233" cy="52134"/>
            </a:xfrm>
            <a:custGeom>
              <a:avLst/>
              <a:gdLst>
                <a:gd name="T0" fmla="*/ 2147483647 w 20"/>
                <a:gd name="T1" fmla="*/ 2147483647 h 12"/>
                <a:gd name="T2" fmla="*/ 2147483647 w 20"/>
                <a:gd name="T3" fmla="*/ 2147483647 h 12"/>
                <a:gd name="T4" fmla="*/ 2147483647 w 20"/>
                <a:gd name="T5" fmla="*/ 2147483647 h 12"/>
                <a:gd name="T6" fmla="*/ 2147483647 w 20"/>
                <a:gd name="T7" fmla="*/ 2147483647 h 12"/>
                <a:gd name="T8" fmla="*/ 2147483647 w 20"/>
                <a:gd name="T9" fmla="*/ 2147483647 h 12"/>
                <a:gd name="T10" fmla="*/ 2147483647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12"/>
                <a:gd name="T23" fmla="*/ 20 w 20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2" name="Freeform 329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7444961" y="3510634"/>
              <a:ext cx="20250" cy="52134"/>
            </a:xfrm>
            <a:custGeom>
              <a:avLst/>
              <a:gdLst>
                <a:gd name="T0" fmla="*/ 2147483647 w 53"/>
                <a:gd name="T1" fmla="*/ 0 h 30"/>
                <a:gd name="T2" fmla="*/ 2147483647 w 53"/>
                <a:gd name="T3" fmla="*/ 2147483647 h 30"/>
                <a:gd name="T4" fmla="*/ 2147483647 w 53"/>
                <a:gd name="T5" fmla="*/ 2147483647 h 30"/>
                <a:gd name="T6" fmla="*/ 2147483647 w 53"/>
                <a:gd name="T7" fmla="*/ 2147483647 h 30"/>
                <a:gd name="T8" fmla="*/ 2147483647 w 53"/>
                <a:gd name="T9" fmla="*/ 2147483647 h 30"/>
                <a:gd name="T10" fmla="*/ 2147483647 w 53"/>
                <a:gd name="T11" fmla="*/ 2147483647 h 30"/>
                <a:gd name="T12" fmla="*/ 2147483647 w 53"/>
                <a:gd name="T13" fmla="*/ 2147483647 h 30"/>
                <a:gd name="T14" fmla="*/ 2147483647 w 53"/>
                <a:gd name="T15" fmla="*/ 2147483647 h 30"/>
                <a:gd name="T16" fmla="*/ 2147483647 w 53"/>
                <a:gd name="T17" fmla="*/ 2147483647 h 30"/>
                <a:gd name="T18" fmla="*/ 2147483647 w 53"/>
                <a:gd name="T19" fmla="*/ 2147483647 h 30"/>
                <a:gd name="T20" fmla="*/ 2147483647 w 53"/>
                <a:gd name="T21" fmla="*/ 2147483647 h 30"/>
                <a:gd name="T22" fmla="*/ 2147483647 w 53"/>
                <a:gd name="T23" fmla="*/ 2147483647 h 30"/>
                <a:gd name="T24" fmla="*/ 0 w 53"/>
                <a:gd name="T25" fmla="*/ 2147483647 h 30"/>
                <a:gd name="T26" fmla="*/ 2147483647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3"/>
                <a:gd name="T43" fmla="*/ 0 h 30"/>
                <a:gd name="T44" fmla="*/ 53 w 53"/>
                <a:gd name="T45" fmla="*/ 30 h 3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3" name="Freeform 330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7926622" y="3842262"/>
              <a:ext cx="10125" cy="52134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2147483647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0 h 31"/>
                <a:gd name="T12" fmla="*/ 2147483647 w 33"/>
                <a:gd name="T13" fmla="*/ 0 h 31"/>
                <a:gd name="T14" fmla="*/ 2147483647 w 33"/>
                <a:gd name="T15" fmla="*/ 0 h 31"/>
                <a:gd name="T16" fmla="*/ 2147483647 w 33"/>
                <a:gd name="T17" fmla="*/ 0 h 31"/>
                <a:gd name="T18" fmla="*/ 0 w 33"/>
                <a:gd name="T19" fmla="*/ 0 h 31"/>
                <a:gd name="T20" fmla="*/ 0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31"/>
                <a:gd name="T35" fmla="*/ 33 w 33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7" name="Freeform 334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8064032" y="3837917"/>
              <a:ext cx="83893" cy="52134"/>
            </a:xfrm>
            <a:custGeom>
              <a:avLst/>
              <a:gdLst>
                <a:gd name="T0" fmla="*/ 0 w 212"/>
                <a:gd name="T1" fmla="*/ 2147483647 h 105"/>
                <a:gd name="T2" fmla="*/ 2147483647 w 212"/>
                <a:gd name="T3" fmla="*/ 2147483647 h 105"/>
                <a:gd name="T4" fmla="*/ 2147483647 w 212"/>
                <a:gd name="T5" fmla="*/ 2147483647 h 105"/>
                <a:gd name="T6" fmla="*/ 2147483647 w 212"/>
                <a:gd name="T7" fmla="*/ 2147483647 h 105"/>
                <a:gd name="T8" fmla="*/ 2147483647 w 212"/>
                <a:gd name="T9" fmla="*/ 2147483647 h 105"/>
                <a:gd name="T10" fmla="*/ 2147483647 w 212"/>
                <a:gd name="T11" fmla="*/ 2147483647 h 105"/>
                <a:gd name="T12" fmla="*/ 2147483647 w 212"/>
                <a:gd name="T13" fmla="*/ 2147483647 h 105"/>
                <a:gd name="T14" fmla="*/ 2147483647 w 212"/>
                <a:gd name="T15" fmla="*/ 2147483647 h 105"/>
                <a:gd name="T16" fmla="*/ 2147483647 w 212"/>
                <a:gd name="T17" fmla="*/ 2147483647 h 105"/>
                <a:gd name="T18" fmla="*/ 2147483647 w 212"/>
                <a:gd name="T19" fmla="*/ 2147483647 h 105"/>
                <a:gd name="T20" fmla="*/ 2147483647 w 212"/>
                <a:gd name="T21" fmla="*/ 2147483647 h 105"/>
                <a:gd name="T22" fmla="*/ 2147483647 w 212"/>
                <a:gd name="T23" fmla="*/ 2147483647 h 105"/>
                <a:gd name="T24" fmla="*/ 2147483647 w 212"/>
                <a:gd name="T25" fmla="*/ 0 h 105"/>
                <a:gd name="T26" fmla="*/ 2147483647 w 212"/>
                <a:gd name="T27" fmla="*/ 0 h 105"/>
                <a:gd name="T28" fmla="*/ 2147483647 w 212"/>
                <a:gd name="T29" fmla="*/ 2147483647 h 105"/>
                <a:gd name="T30" fmla="*/ 2147483647 w 212"/>
                <a:gd name="T31" fmla="*/ 2147483647 h 105"/>
                <a:gd name="T32" fmla="*/ 2147483647 w 212"/>
                <a:gd name="T33" fmla="*/ 2147483647 h 105"/>
                <a:gd name="T34" fmla="*/ 2147483647 w 212"/>
                <a:gd name="T35" fmla="*/ 2147483647 h 105"/>
                <a:gd name="T36" fmla="*/ 2147483647 w 212"/>
                <a:gd name="T37" fmla="*/ 2147483647 h 105"/>
                <a:gd name="T38" fmla="*/ 2147483647 w 212"/>
                <a:gd name="T39" fmla="*/ 2147483647 h 105"/>
                <a:gd name="T40" fmla="*/ 2147483647 w 212"/>
                <a:gd name="T41" fmla="*/ 2147483647 h 105"/>
                <a:gd name="T42" fmla="*/ 2147483647 w 212"/>
                <a:gd name="T43" fmla="*/ 2147483647 h 105"/>
                <a:gd name="T44" fmla="*/ 2147483647 w 212"/>
                <a:gd name="T45" fmla="*/ 2147483647 h 105"/>
                <a:gd name="T46" fmla="*/ 0 w 212"/>
                <a:gd name="T47" fmla="*/ 2147483647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12"/>
                <a:gd name="T73" fmla="*/ 0 h 105"/>
                <a:gd name="T74" fmla="*/ 212 w 212"/>
                <a:gd name="T75" fmla="*/ 105 h 10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4" name="Freeform 341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6944497" y="2563542"/>
              <a:ext cx="41947" cy="41997"/>
            </a:xfrm>
            <a:custGeom>
              <a:avLst/>
              <a:gdLst>
                <a:gd name="T0" fmla="*/ 0 w 133"/>
                <a:gd name="T1" fmla="*/ 2147483647 h 117"/>
                <a:gd name="T2" fmla="*/ 2147483647 w 133"/>
                <a:gd name="T3" fmla="*/ 0 h 117"/>
                <a:gd name="T4" fmla="*/ 2147483647 w 133"/>
                <a:gd name="T5" fmla="*/ 2147483647 h 117"/>
                <a:gd name="T6" fmla="*/ 2147483647 w 133"/>
                <a:gd name="T7" fmla="*/ 2147483647 h 117"/>
                <a:gd name="T8" fmla="*/ 2147483647 w 133"/>
                <a:gd name="T9" fmla="*/ 2147483647 h 117"/>
                <a:gd name="T10" fmla="*/ 2147483647 w 133"/>
                <a:gd name="T11" fmla="*/ 2147483647 h 117"/>
                <a:gd name="T12" fmla="*/ 2147483647 w 133"/>
                <a:gd name="T13" fmla="*/ 2147483647 h 117"/>
                <a:gd name="T14" fmla="*/ 2147483647 w 133"/>
                <a:gd name="T15" fmla="*/ 2147483647 h 117"/>
                <a:gd name="T16" fmla="*/ 2147483647 w 133"/>
                <a:gd name="T17" fmla="*/ 2147483647 h 117"/>
                <a:gd name="T18" fmla="*/ 2147483647 w 133"/>
                <a:gd name="T19" fmla="*/ 2147483647 h 117"/>
                <a:gd name="T20" fmla="*/ 2147483647 w 133"/>
                <a:gd name="T21" fmla="*/ 2147483647 h 117"/>
                <a:gd name="T22" fmla="*/ 2147483647 w 133"/>
                <a:gd name="T23" fmla="*/ 2147483647 h 117"/>
                <a:gd name="T24" fmla="*/ 2147483647 w 133"/>
                <a:gd name="T25" fmla="*/ 2147483647 h 117"/>
                <a:gd name="T26" fmla="*/ 2147483647 w 133"/>
                <a:gd name="T27" fmla="*/ 2147483647 h 117"/>
                <a:gd name="T28" fmla="*/ 2147483647 w 133"/>
                <a:gd name="T29" fmla="*/ 2147483647 h 117"/>
                <a:gd name="T30" fmla="*/ 2147483647 w 133"/>
                <a:gd name="T31" fmla="*/ 2147483647 h 117"/>
                <a:gd name="T32" fmla="*/ 2147483647 w 133"/>
                <a:gd name="T33" fmla="*/ 2147483647 h 117"/>
                <a:gd name="T34" fmla="*/ 2147483647 w 133"/>
                <a:gd name="T35" fmla="*/ 2147483647 h 117"/>
                <a:gd name="T36" fmla="*/ 2147483647 w 133"/>
                <a:gd name="T37" fmla="*/ 2147483647 h 117"/>
                <a:gd name="T38" fmla="*/ 2147483647 w 133"/>
                <a:gd name="T39" fmla="*/ 2147483647 h 117"/>
                <a:gd name="T40" fmla="*/ 2147483647 w 133"/>
                <a:gd name="T41" fmla="*/ 2147483647 h 117"/>
                <a:gd name="T42" fmla="*/ 2147483647 w 133"/>
                <a:gd name="T43" fmla="*/ 2147483647 h 117"/>
                <a:gd name="T44" fmla="*/ 2147483647 w 133"/>
                <a:gd name="T45" fmla="*/ 2147483647 h 117"/>
                <a:gd name="T46" fmla="*/ 2147483647 w 133"/>
                <a:gd name="T47" fmla="*/ 2147483647 h 117"/>
                <a:gd name="T48" fmla="*/ 2147483647 w 133"/>
                <a:gd name="T49" fmla="*/ 2147483647 h 117"/>
                <a:gd name="T50" fmla="*/ 0 w 133"/>
                <a:gd name="T51" fmla="*/ 2147483647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3"/>
                <a:gd name="T79" fmla="*/ 0 h 117"/>
                <a:gd name="T80" fmla="*/ 133 w 133"/>
                <a:gd name="T81" fmla="*/ 117 h 11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5" name="Freeform 342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5538568" y="2020484"/>
              <a:ext cx="201054" cy="162193"/>
            </a:xfrm>
            <a:custGeom>
              <a:avLst/>
              <a:gdLst>
                <a:gd name="T0" fmla="*/ 2147483647 w 505"/>
                <a:gd name="T1" fmla="*/ 2147483647 h 339"/>
                <a:gd name="T2" fmla="*/ 2147483647 w 505"/>
                <a:gd name="T3" fmla="*/ 2147483647 h 339"/>
                <a:gd name="T4" fmla="*/ 2147483647 w 505"/>
                <a:gd name="T5" fmla="*/ 2147483647 h 339"/>
                <a:gd name="T6" fmla="*/ 2147483647 w 505"/>
                <a:gd name="T7" fmla="*/ 2147483647 h 339"/>
                <a:gd name="T8" fmla="*/ 2147483647 w 505"/>
                <a:gd name="T9" fmla="*/ 2147483647 h 339"/>
                <a:gd name="T10" fmla="*/ 2147483647 w 505"/>
                <a:gd name="T11" fmla="*/ 2147483647 h 339"/>
                <a:gd name="T12" fmla="*/ 2147483647 w 505"/>
                <a:gd name="T13" fmla="*/ 2147483647 h 339"/>
                <a:gd name="T14" fmla="*/ 2147483647 w 505"/>
                <a:gd name="T15" fmla="*/ 2147483647 h 339"/>
                <a:gd name="T16" fmla="*/ 2147483647 w 505"/>
                <a:gd name="T17" fmla="*/ 2147483647 h 339"/>
                <a:gd name="T18" fmla="*/ 2147483647 w 505"/>
                <a:gd name="T19" fmla="*/ 2147483647 h 339"/>
                <a:gd name="T20" fmla="*/ 2147483647 w 505"/>
                <a:gd name="T21" fmla="*/ 2147483647 h 339"/>
                <a:gd name="T22" fmla="*/ 2147483647 w 505"/>
                <a:gd name="T23" fmla="*/ 2147483647 h 339"/>
                <a:gd name="T24" fmla="*/ 2147483647 w 505"/>
                <a:gd name="T25" fmla="*/ 2147483647 h 339"/>
                <a:gd name="T26" fmla="*/ 2147483647 w 505"/>
                <a:gd name="T27" fmla="*/ 2147483647 h 339"/>
                <a:gd name="T28" fmla="*/ 2147483647 w 505"/>
                <a:gd name="T29" fmla="*/ 2147483647 h 339"/>
                <a:gd name="T30" fmla="*/ 2147483647 w 505"/>
                <a:gd name="T31" fmla="*/ 2147483647 h 339"/>
                <a:gd name="T32" fmla="*/ 2147483647 w 505"/>
                <a:gd name="T33" fmla="*/ 2147483647 h 339"/>
                <a:gd name="T34" fmla="*/ 2147483647 w 505"/>
                <a:gd name="T35" fmla="*/ 2147483647 h 339"/>
                <a:gd name="T36" fmla="*/ 2147483647 w 505"/>
                <a:gd name="T37" fmla="*/ 2147483647 h 339"/>
                <a:gd name="T38" fmla="*/ 2147483647 w 505"/>
                <a:gd name="T39" fmla="*/ 2147483647 h 339"/>
                <a:gd name="T40" fmla="*/ 2147483647 w 505"/>
                <a:gd name="T41" fmla="*/ 2147483647 h 339"/>
                <a:gd name="T42" fmla="*/ 2147483647 w 505"/>
                <a:gd name="T43" fmla="*/ 2147483647 h 339"/>
                <a:gd name="T44" fmla="*/ 2147483647 w 505"/>
                <a:gd name="T45" fmla="*/ 2147483647 h 339"/>
                <a:gd name="T46" fmla="*/ 2147483647 w 505"/>
                <a:gd name="T47" fmla="*/ 2147483647 h 339"/>
                <a:gd name="T48" fmla="*/ 2147483647 w 505"/>
                <a:gd name="T49" fmla="*/ 2147483647 h 339"/>
                <a:gd name="T50" fmla="*/ 2147483647 w 505"/>
                <a:gd name="T51" fmla="*/ 2147483647 h 339"/>
                <a:gd name="T52" fmla="*/ 2147483647 w 505"/>
                <a:gd name="T53" fmla="*/ 2147483647 h 339"/>
                <a:gd name="T54" fmla="*/ 2147483647 w 505"/>
                <a:gd name="T55" fmla="*/ 2147483647 h 339"/>
                <a:gd name="T56" fmla="*/ 2147483647 w 505"/>
                <a:gd name="T57" fmla="*/ 2147483647 h 339"/>
                <a:gd name="T58" fmla="*/ 2147483647 w 505"/>
                <a:gd name="T59" fmla="*/ 2147483647 h 339"/>
                <a:gd name="T60" fmla="*/ 2147483647 w 505"/>
                <a:gd name="T61" fmla="*/ 2147483647 h 339"/>
                <a:gd name="T62" fmla="*/ 2147483647 w 505"/>
                <a:gd name="T63" fmla="*/ 2147483647 h 339"/>
                <a:gd name="T64" fmla="*/ 2147483647 w 505"/>
                <a:gd name="T65" fmla="*/ 2147483647 h 339"/>
                <a:gd name="T66" fmla="*/ 2147483647 w 505"/>
                <a:gd name="T67" fmla="*/ 2147483647 h 339"/>
                <a:gd name="T68" fmla="*/ 2147483647 w 505"/>
                <a:gd name="T69" fmla="*/ 2147483647 h 339"/>
                <a:gd name="T70" fmla="*/ 2147483647 w 505"/>
                <a:gd name="T71" fmla="*/ 2147483647 h 339"/>
                <a:gd name="T72" fmla="*/ 2147483647 w 505"/>
                <a:gd name="T73" fmla="*/ 2147483647 h 339"/>
                <a:gd name="T74" fmla="*/ 2147483647 w 505"/>
                <a:gd name="T75" fmla="*/ 2147483647 h 339"/>
                <a:gd name="T76" fmla="*/ 2147483647 w 505"/>
                <a:gd name="T77" fmla="*/ 2147483647 h 339"/>
                <a:gd name="T78" fmla="*/ 2147483647 w 505"/>
                <a:gd name="T79" fmla="*/ 2147483647 h 339"/>
                <a:gd name="T80" fmla="*/ 2147483647 w 505"/>
                <a:gd name="T81" fmla="*/ 2147483647 h 339"/>
                <a:gd name="T82" fmla="*/ 2147483647 w 505"/>
                <a:gd name="T83" fmla="*/ 2147483647 h 339"/>
                <a:gd name="T84" fmla="*/ 2147483647 w 505"/>
                <a:gd name="T85" fmla="*/ 2147483647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05"/>
                <a:gd name="T130" fmla="*/ 0 h 339"/>
                <a:gd name="T131" fmla="*/ 505 w 505"/>
                <a:gd name="T132" fmla="*/ 339 h 339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6" name="Freeform 343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5596425" y="2207296"/>
              <a:ext cx="133071" cy="65167"/>
            </a:xfrm>
            <a:custGeom>
              <a:avLst/>
              <a:gdLst>
                <a:gd name="T0" fmla="*/ 2147483647 w 338"/>
                <a:gd name="T1" fmla="*/ 0 h 141"/>
                <a:gd name="T2" fmla="*/ 2147483647 w 338"/>
                <a:gd name="T3" fmla="*/ 0 h 141"/>
                <a:gd name="T4" fmla="*/ 2147483647 w 338"/>
                <a:gd name="T5" fmla="*/ 2147483647 h 141"/>
                <a:gd name="T6" fmla="*/ 2147483647 w 338"/>
                <a:gd name="T7" fmla="*/ 2147483647 h 141"/>
                <a:gd name="T8" fmla="*/ 2147483647 w 338"/>
                <a:gd name="T9" fmla="*/ 2147483647 h 141"/>
                <a:gd name="T10" fmla="*/ 2147483647 w 338"/>
                <a:gd name="T11" fmla="*/ 2147483647 h 141"/>
                <a:gd name="T12" fmla="*/ 2147483647 w 338"/>
                <a:gd name="T13" fmla="*/ 2147483647 h 141"/>
                <a:gd name="T14" fmla="*/ 2147483647 w 338"/>
                <a:gd name="T15" fmla="*/ 2147483647 h 141"/>
                <a:gd name="T16" fmla="*/ 2147483647 w 338"/>
                <a:gd name="T17" fmla="*/ 2147483647 h 141"/>
                <a:gd name="T18" fmla="*/ 2147483647 w 338"/>
                <a:gd name="T19" fmla="*/ 2147483647 h 141"/>
                <a:gd name="T20" fmla="*/ 2147483647 w 338"/>
                <a:gd name="T21" fmla="*/ 2147483647 h 141"/>
                <a:gd name="T22" fmla="*/ 2147483647 w 338"/>
                <a:gd name="T23" fmla="*/ 2147483647 h 141"/>
                <a:gd name="T24" fmla="*/ 2147483647 w 338"/>
                <a:gd name="T25" fmla="*/ 2147483647 h 141"/>
                <a:gd name="T26" fmla="*/ 2147483647 w 338"/>
                <a:gd name="T27" fmla="*/ 2147483647 h 141"/>
                <a:gd name="T28" fmla="*/ 2147483647 w 338"/>
                <a:gd name="T29" fmla="*/ 2147483647 h 141"/>
                <a:gd name="T30" fmla="*/ 2147483647 w 338"/>
                <a:gd name="T31" fmla="*/ 2147483647 h 141"/>
                <a:gd name="T32" fmla="*/ 2147483647 w 338"/>
                <a:gd name="T33" fmla="*/ 2147483647 h 141"/>
                <a:gd name="T34" fmla="*/ 2147483647 w 338"/>
                <a:gd name="T35" fmla="*/ 2147483647 h 141"/>
                <a:gd name="T36" fmla="*/ 2147483647 w 338"/>
                <a:gd name="T37" fmla="*/ 2147483647 h 141"/>
                <a:gd name="T38" fmla="*/ 2147483647 w 338"/>
                <a:gd name="T39" fmla="*/ 2147483647 h 141"/>
                <a:gd name="T40" fmla="*/ 2147483647 w 338"/>
                <a:gd name="T41" fmla="*/ 2147483647 h 141"/>
                <a:gd name="T42" fmla="*/ 0 w 338"/>
                <a:gd name="T43" fmla="*/ 2147483647 h 141"/>
                <a:gd name="T44" fmla="*/ 2147483647 w 338"/>
                <a:gd name="T45" fmla="*/ 2147483647 h 141"/>
                <a:gd name="T46" fmla="*/ 2147483647 w 338"/>
                <a:gd name="T47" fmla="*/ 2147483647 h 141"/>
                <a:gd name="T48" fmla="*/ 2147483647 w 338"/>
                <a:gd name="T49" fmla="*/ 2147483647 h 141"/>
                <a:gd name="T50" fmla="*/ 2147483647 w 338"/>
                <a:gd name="T51" fmla="*/ 2147483647 h 141"/>
                <a:gd name="T52" fmla="*/ 2147483647 w 338"/>
                <a:gd name="T53" fmla="*/ 2147483647 h 141"/>
                <a:gd name="T54" fmla="*/ 2147483647 w 338"/>
                <a:gd name="T55" fmla="*/ 2147483647 h 141"/>
                <a:gd name="T56" fmla="*/ 2147483647 w 338"/>
                <a:gd name="T57" fmla="*/ 2147483647 h 141"/>
                <a:gd name="T58" fmla="*/ 2147483647 w 338"/>
                <a:gd name="T59" fmla="*/ 2147483647 h 141"/>
                <a:gd name="T60" fmla="*/ 2147483647 w 338"/>
                <a:gd name="T61" fmla="*/ 2147483647 h 141"/>
                <a:gd name="T62" fmla="*/ 2147483647 w 338"/>
                <a:gd name="T63" fmla="*/ 2147483647 h 141"/>
                <a:gd name="T64" fmla="*/ 2147483647 w 338"/>
                <a:gd name="T65" fmla="*/ 2147483647 h 141"/>
                <a:gd name="T66" fmla="*/ 2147483647 w 338"/>
                <a:gd name="T67" fmla="*/ 2147483647 h 141"/>
                <a:gd name="T68" fmla="*/ 2147483647 w 338"/>
                <a:gd name="T69" fmla="*/ 2147483647 h 141"/>
                <a:gd name="T70" fmla="*/ 2147483647 w 338"/>
                <a:gd name="T71" fmla="*/ 2147483647 h 141"/>
                <a:gd name="T72" fmla="*/ 2147483647 w 338"/>
                <a:gd name="T73" fmla="*/ 2147483647 h 141"/>
                <a:gd name="T74" fmla="*/ 2147483647 w 338"/>
                <a:gd name="T75" fmla="*/ 2147483647 h 141"/>
                <a:gd name="T76" fmla="*/ 2147483647 w 338"/>
                <a:gd name="T77" fmla="*/ 2147483647 h 141"/>
                <a:gd name="T78" fmla="*/ 2147483647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38"/>
                <a:gd name="T121" fmla="*/ 0 h 141"/>
                <a:gd name="T122" fmla="*/ 338 w 338"/>
                <a:gd name="T123" fmla="*/ 141 h 141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7" name="Freeform 344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5687551" y="1893047"/>
              <a:ext cx="101250" cy="59374"/>
            </a:xfrm>
            <a:custGeom>
              <a:avLst/>
              <a:gdLst>
                <a:gd name="T0" fmla="*/ 2147483647 w 259"/>
                <a:gd name="T1" fmla="*/ 2147483647 h 129"/>
                <a:gd name="T2" fmla="*/ 2147483647 w 259"/>
                <a:gd name="T3" fmla="*/ 2147483647 h 129"/>
                <a:gd name="T4" fmla="*/ 2147483647 w 259"/>
                <a:gd name="T5" fmla="*/ 2147483647 h 129"/>
                <a:gd name="T6" fmla="*/ 2147483647 w 259"/>
                <a:gd name="T7" fmla="*/ 2147483647 h 129"/>
                <a:gd name="T8" fmla="*/ 2147483647 w 259"/>
                <a:gd name="T9" fmla="*/ 2147483647 h 129"/>
                <a:gd name="T10" fmla="*/ 2147483647 w 259"/>
                <a:gd name="T11" fmla="*/ 2147483647 h 129"/>
                <a:gd name="T12" fmla="*/ 2147483647 w 259"/>
                <a:gd name="T13" fmla="*/ 2147483647 h 129"/>
                <a:gd name="T14" fmla="*/ 2147483647 w 259"/>
                <a:gd name="T15" fmla="*/ 2147483647 h 129"/>
                <a:gd name="T16" fmla="*/ 2147483647 w 259"/>
                <a:gd name="T17" fmla="*/ 2147483647 h 129"/>
                <a:gd name="T18" fmla="*/ 2147483647 w 259"/>
                <a:gd name="T19" fmla="*/ 2147483647 h 129"/>
                <a:gd name="T20" fmla="*/ 2147483647 w 259"/>
                <a:gd name="T21" fmla="*/ 2147483647 h 129"/>
                <a:gd name="T22" fmla="*/ 2147483647 w 259"/>
                <a:gd name="T23" fmla="*/ 2147483647 h 129"/>
                <a:gd name="T24" fmla="*/ 2147483647 w 259"/>
                <a:gd name="T25" fmla="*/ 2147483647 h 129"/>
                <a:gd name="T26" fmla="*/ 2147483647 w 259"/>
                <a:gd name="T27" fmla="*/ 2147483647 h 129"/>
                <a:gd name="T28" fmla="*/ 2147483647 w 259"/>
                <a:gd name="T29" fmla="*/ 2147483647 h 129"/>
                <a:gd name="T30" fmla="*/ 2147483647 w 259"/>
                <a:gd name="T31" fmla="*/ 2147483647 h 129"/>
                <a:gd name="T32" fmla="*/ 2147483647 w 259"/>
                <a:gd name="T33" fmla="*/ 2147483647 h 129"/>
                <a:gd name="T34" fmla="*/ 2147483647 w 259"/>
                <a:gd name="T35" fmla="*/ 2147483647 h 129"/>
                <a:gd name="T36" fmla="*/ 2147483647 w 259"/>
                <a:gd name="T37" fmla="*/ 2147483647 h 129"/>
                <a:gd name="T38" fmla="*/ 2147483647 w 259"/>
                <a:gd name="T39" fmla="*/ 2147483647 h 129"/>
                <a:gd name="T40" fmla="*/ 2147483647 w 259"/>
                <a:gd name="T41" fmla="*/ 2147483647 h 129"/>
                <a:gd name="T42" fmla="*/ 2147483647 w 259"/>
                <a:gd name="T43" fmla="*/ 2147483647 h 129"/>
                <a:gd name="T44" fmla="*/ 2147483647 w 259"/>
                <a:gd name="T45" fmla="*/ 0 h 129"/>
                <a:gd name="T46" fmla="*/ 2147483647 w 259"/>
                <a:gd name="T47" fmla="*/ 0 h 129"/>
                <a:gd name="T48" fmla="*/ 2147483647 w 259"/>
                <a:gd name="T49" fmla="*/ 0 h 129"/>
                <a:gd name="T50" fmla="*/ 2147483647 w 259"/>
                <a:gd name="T51" fmla="*/ 0 h 129"/>
                <a:gd name="T52" fmla="*/ 2147483647 w 259"/>
                <a:gd name="T53" fmla="*/ 2147483647 h 129"/>
                <a:gd name="T54" fmla="*/ 2147483647 w 259"/>
                <a:gd name="T55" fmla="*/ 2147483647 h 129"/>
                <a:gd name="T56" fmla="*/ 2147483647 w 259"/>
                <a:gd name="T57" fmla="*/ 2147483647 h 129"/>
                <a:gd name="T58" fmla="*/ 2147483647 w 259"/>
                <a:gd name="T59" fmla="*/ 2147483647 h 129"/>
                <a:gd name="T60" fmla="*/ 2147483647 w 259"/>
                <a:gd name="T61" fmla="*/ 2147483647 h 129"/>
                <a:gd name="T62" fmla="*/ 2147483647 w 259"/>
                <a:gd name="T63" fmla="*/ 2147483647 h 129"/>
                <a:gd name="T64" fmla="*/ 2147483647 w 259"/>
                <a:gd name="T65" fmla="*/ 2147483647 h 129"/>
                <a:gd name="T66" fmla="*/ 0 w 259"/>
                <a:gd name="T67" fmla="*/ 2147483647 h 129"/>
                <a:gd name="T68" fmla="*/ 0 w 259"/>
                <a:gd name="T69" fmla="*/ 2147483647 h 129"/>
                <a:gd name="T70" fmla="*/ 0 w 259"/>
                <a:gd name="T71" fmla="*/ 2147483647 h 129"/>
                <a:gd name="T72" fmla="*/ 2147483647 w 259"/>
                <a:gd name="T73" fmla="*/ 2147483647 h 129"/>
                <a:gd name="T74" fmla="*/ 2147483647 w 259"/>
                <a:gd name="T75" fmla="*/ 2147483647 h 129"/>
                <a:gd name="T76" fmla="*/ 2147483647 w 259"/>
                <a:gd name="T77" fmla="*/ 2147483647 h 129"/>
                <a:gd name="T78" fmla="*/ 2147483647 w 259"/>
                <a:gd name="T79" fmla="*/ 2147483647 h 129"/>
                <a:gd name="T80" fmla="*/ 2147483647 w 259"/>
                <a:gd name="T81" fmla="*/ 2147483647 h 129"/>
                <a:gd name="T82" fmla="*/ 2147483647 w 259"/>
                <a:gd name="T83" fmla="*/ 2147483647 h 129"/>
                <a:gd name="T84" fmla="*/ 2147483647 w 259"/>
                <a:gd name="T85" fmla="*/ 2147483647 h 129"/>
                <a:gd name="T86" fmla="*/ 2147483647 w 259"/>
                <a:gd name="T87" fmla="*/ 2147483647 h 129"/>
                <a:gd name="T88" fmla="*/ 2147483647 w 259"/>
                <a:gd name="T89" fmla="*/ 2147483647 h 129"/>
                <a:gd name="T90" fmla="*/ 2147483647 w 259"/>
                <a:gd name="T91" fmla="*/ 2147483647 h 129"/>
                <a:gd name="T92" fmla="*/ 2147483647 w 259"/>
                <a:gd name="T93" fmla="*/ 2147483647 h 129"/>
                <a:gd name="T94" fmla="*/ 2147483647 w 259"/>
                <a:gd name="T95" fmla="*/ 2147483647 h 129"/>
                <a:gd name="T96" fmla="*/ 2147483647 w 259"/>
                <a:gd name="T97" fmla="*/ 2147483647 h 129"/>
                <a:gd name="T98" fmla="*/ 2147483647 w 259"/>
                <a:gd name="T99" fmla="*/ 2147483647 h 129"/>
                <a:gd name="T100" fmla="*/ 2147483647 w 259"/>
                <a:gd name="T101" fmla="*/ 2147483647 h 129"/>
                <a:gd name="T102" fmla="*/ 2147483647 w 259"/>
                <a:gd name="T103" fmla="*/ 2147483647 h 129"/>
                <a:gd name="T104" fmla="*/ 2147483647 w 259"/>
                <a:gd name="T105" fmla="*/ 2147483647 h 129"/>
                <a:gd name="T106" fmla="*/ 2147483647 w 259"/>
                <a:gd name="T107" fmla="*/ 2147483647 h 129"/>
                <a:gd name="T108" fmla="*/ 2147483647 w 259"/>
                <a:gd name="T109" fmla="*/ 2147483647 h 129"/>
                <a:gd name="T110" fmla="*/ 2147483647 w 259"/>
                <a:gd name="T111" fmla="*/ 2147483647 h 129"/>
                <a:gd name="T112" fmla="*/ 2147483647 w 259"/>
                <a:gd name="T113" fmla="*/ 2147483647 h 129"/>
                <a:gd name="T114" fmla="*/ 2147483647 w 259"/>
                <a:gd name="T115" fmla="*/ 2147483647 h 129"/>
                <a:gd name="T116" fmla="*/ 2147483647 w 259"/>
                <a:gd name="T117" fmla="*/ 2147483647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59"/>
                <a:gd name="T178" fmla="*/ 0 h 129"/>
                <a:gd name="T179" fmla="*/ 259 w 259"/>
                <a:gd name="T180" fmla="*/ 129 h 129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8" name="Freeform 345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5699122" y="2210192"/>
              <a:ext cx="163446" cy="130334"/>
            </a:xfrm>
            <a:custGeom>
              <a:avLst/>
              <a:gdLst>
                <a:gd name="T0" fmla="*/ 2147483647 w 425"/>
                <a:gd name="T1" fmla="*/ 2147483647 h 272"/>
                <a:gd name="T2" fmla="*/ 2147483647 w 425"/>
                <a:gd name="T3" fmla="*/ 2147483647 h 272"/>
                <a:gd name="T4" fmla="*/ 2147483647 w 425"/>
                <a:gd name="T5" fmla="*/ 2147483647 h 272"/>
                <a:gd name="T6" fmla="*/ 2147483647 w 425"/>
                <a:gd name="T7" fmla="*/ 2147483647 h 272"/>
                <a:gd name="T8" fmla="*/ 2147483647 w 425"/>
                <a:gd name="T9" fmla="*/ 2147483647 h 272"/>
                <a:gd name="T10" fmla="*/ 2147483647 w 425"/>
                <a:gd name="T11" fmla="*/ 2147483647 h 272"/>
                <a:gd name="T12" fmla="*/ 2147483647 w 425"/>
                <a:gd name="T13" fmla="*/ 2147483647 h 272"/>
                <a:gd name="T14" fmla="*/ 2147483647 w 425"/>
                <a:gd name="T15" fmla="*/ 2147483647 h 272"/>
                <a:gd name="T16" fmla="*/ 2147483647 w 425"/>
                <a:gd name="T17" fmla="*/ 2147483647 h 272"/>
                <a:gd name="T18" fmla="*/ 2147483647 w 425"/>
                <a:gd name="T19" fmla="*/ 2147483647 h 272"/>
                <a:gd name="T20" fmla="*/ 2147483647 w 425"/>
                <a:gd name="T21" fmla="*/ 2147483647 h 272"/>
                <a:gd name="T22" fmla="*/ 2147483647 w 425"/>
                <a:gd name="T23" fmla="*/ 2147483647 h 272"/>
                <a:gd name="T24" fmla="*/ 2147483647 w 425"/>
                <a:gd name="T25" fmla="*/ 2147483647 h 272"/>
                <a:gd name="T26" fmla="*/ 2147483647 w 425"/>
                <a:gd name="T27" fmla="*/ 2147483647 h 272"/>
                <a:gd name="T28" fmla="*/ 2147483647 w 425"/>
                <a:gd name="T29" fmla="*/ 2147483647 h 272"/>
                <a:gd name="T30" fmla="*/ 2147483647 w 425"/>
                <a:gd name="T31" fmla="*/ 2147483647 h 272"/>
                <a:gd name="T32" fmla="*/ 2147483647 w 425"/>
                <a:gd name="T33" fmla="*/ 2147483647 h 272"/>
                <a:gd name="T34" fmla="*/ 2147483647 w 425"/>
                <a:gd name="T35" fmla="*/ 2147483647 h 272"/>
                <a:gd name="T36" fmla="*/ 2147483647 w 425"/>
                <a:gd name="T37" fmla="*/ 2147483647 h 272"/>
                <a:gd name="T38" fmla="*/ 0 w 425"/>
                <a:gd name="T39" fmla="*/ 2147483647 h 272"/>
                <a:gd name="T40" fmla="*/ 2147483647 w 425"/>
                <a:gd name="T41" fmla="*/ 2147483647 h 272"/>
                <a:gd name="T42" fmla="*/ 2147483647 w 425"/>
                <a:gd name="T43" fmla="*/ 2147483647 h 272"/>
                <a:gd name="T44" fmla="*/ 2147483647 w 425"/>
                <a:gd name="T45" fmla="*/ 2147483647 h 272"/>
                <a:gd name="T46" fmla="*/ 2147483647 w 425"/>
                <a:gd name="T47" fmla="*/ 2147483647 h 272"/>
                <a:gd name="T48" fmla="*/ 2147483647 w 425"/>
                <a:gd name="T49" fmla="*/ 2147483647 h 272"/>
                <a:gd name="T50" fmla="*/ 2147483647 w 425"/>
                <a:gd name="T51" fmla="*/ 2147483647 h 272"/>
                <a:gd name="T52" fmla="*/ 2147483647 w 425"/>
                <a:gd name="T53" fmla="*/ 2147483647 h 272"/>
                <a:gd name="T54" fmla="*/ 2147483647 w 425"/>
                <a:gd name="T55" fmla="*/ 2147483647 h 272"/>
                <a:gd name="T56" fmla="*/ 2147483647 w 425"/>
                <a:gd name="T57" fmla="*/ 2147483647 h 272"/>
                <a:gd name="T58" fmla="*/ 2147483647 w 425"/>
                <a:gd name="T59" fmla="*/ 2147483647 h 272"/>
                <a:gd name="T60" fmla="*/ 2147483647 w 425"/>
                <a:gd name="T61" fmla="*/ 2147483647 h 272"/>
                <a:gd name="T62" fmla="*/ 2147483647 w 425"/>
                <a:gd name="T63" fmla="*/ 2147483647 h 272"/>
                <a:gd name="T64" fmla="*/ 2147483647 w 425"/>
                <a:gd name="T65" fmla="*/ 2147483647 h 272"/>
                <a:gd name="T66" fmla="*/ 2147483647 w 425"/>
                <a:gd name="T67" fmla="*/ 0 h 272"/>
                <a:gd name="T68" fmla="*/ 2147483647 w 425"/>
                <a:gd name="T69" fmla="*/ 2147483647 h 272"/>
                <a:gd name="T70" fmla="*/ 2147483647 w 425"/>
                <a:gd name="T71" fmla="*/ 2147483647 h 272"/>
                <a:gd name="T72" fmla="*/ 2147483647 w 425"/>
                <a:gd name="T73" fmla="*/ 2147483647 h 272"/>
                <a:gd name="T74" fmla="*/ 2147483647 w 425"/>
                <a:gd name="T75" fmla="*/ 2147483647 h 272"/>
                <a:gd name="T76" fmla="*/ 2147483647 w 425"/>
                <a:gd name="T77" fmla="*/ 2147483647 h 272"/>
                <a:gd name="T78" fmla="*/ 2147483647 w 425"/>
                <a:gd name="T79" fmla="*/ 2147483647 h 272"/>
                <a:gd name="T80" fmla="*/ 2147483647 w 425"/>
                <a:gd name="T81" fmla="*/ 2147483647 h 272"/>
                <a:gd name="T82" fmla="*/ 2147483647 w 425"/>
                <a:gd name="T83" fmla="*/ 2147483647 h 272"/>
                <a:gd name="T84" fmla="*/ 2147483647 w 425"/>
                <a:gd name="T85" fmla="*/ 2147483647 h 272"/>
                <a:gd name="T86" fmla="*/ 2147483647 w 425"/>
                <a:gd name="T87" fmla="*/ 2147483647 h 272"/>
                <a:gd name="T88" fmla="*/ 2147483647 w 425"/>
                <a:gd name="T89" fmla="*/ 2147483647 h 272"/>
                <a:gd name="T90" fmla="*/ 2147483647 w 425"/>
                <a:gd name="T91" fmla="*/ 2147483647 h 272"/>
                <a:gd name="T92" fmla="*/ 2147483647 w 425"/>
                <a:gd name="T93" fmla="*/ 2147483647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25"/>
                <a:gd name="T142" fmla="*/ 0 h 272"/>
                <a:gd name="T143" fmla="*/ 425 w 425"/>
                <a:gd name="T144" fmla="*/ 272 h 27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9" name="Freeform 346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3876622" y="3157284"/>
              <a:ext cx="13017" cy="50686"/>
            </a:xfrm>
            <a:custGeom>
              <a:avLst/>
              <a:gdLst>
                <a:gd name="T0" fmla="*/ 2147483647 w 33"/>
                <a:gd name="T1" fmla="*/ 2147483647 h 31"/>
                <a:gd name="T2" fmla="*/ 0 w 33"/>
                <a:gd name="T3" fmla="*/ 2147483647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0 h 31"/>
                <a:gd name="T18" fmla="*/ 2147483647 w 33"/>
                <a:gd name="T19" fmla="*/ 0 h 31"/>
                <a:gd name="T20" fmla="*/ 2147483647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31"/>
                <a:gd name="T35" fmla="*/ 33 w 33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0" name="Freeform 347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5794586" y="2202952"/>
              <a:ext cx="78107" cy="72408"/>
            </a:xfrm>
            <a:custGeom>
              <a:avLst/>
              <a:gdLst>
                <a:gd name="T0" fmla="*/ 2147483647 w 192"/>
                <a:gd name="T1" fmla="*/ 2147483647 h 154"/>
                <a:gd name="T2" fmla="*/ 2147483647 w 192"/>
                <a:gd name="T3" fmla="*/ 0 h 154"/>
                <a:gd name="T4" fmla="*/ 2147483647 w 192"/>
                <a:gd name="T5" fmla="*/ 2147483647 h 154"/>
                <a:gd name="T6" fmla="*/ 2147483647 w 192"/>
                <a:gd name="T7" fmla="*/ 2147483647 h 154"/>
                <a:gd name="T8" fmla="*/ 2147483647 w 192"/>
                <a:gd name="T9" fmla="*/ 2147483647 h 154"/>
                <a:gd name="T10" fmla="*/ 2147483647 w 192"/>
                <a:gd name="T11" fmla="*/ 2147483647 h 154"/>
                <a:gd name="T12" fmla="*/ 2147483647 w 192"/>
                <a:gd name="T13" fmla="*/ 2147483647 h 154"/>
                <a:gd name="T14" fmla="*/ 2147483647 w 192"/>
                <a:gd name="T15" fmla="*/ 2147483647 h 154"/>
                <a:gd name="T16" fmla="*/ 2147483647 w 192"/>
                <a:gd name="T17" fmla="*/ 2147483647 h 154"/>
                <a:gd name="T18" fmla="*/ 2147483647 w 192"/>
                <a:gd name="T19" fmla="*/ 2147483647 h 154"/>
                <a:gd name="T20" fmla="*/ 2147483647 w 192"/>
                <a:gd name="T21" fmla="*/ 2147483647 h 154"/>
                <a:gd name="T22" fmla="*/ 2147483647 w 192"/>
                <a:gd name="T23" fmla="*/ 2147483647 h 154"/>
                <a:gd name="T24" fmla="*/ 2147483647 w 192"/>
                <a:gd name="T25" fmla="*/ 2147483647 h 154"/>
                <a:gd name="T26" fmla="*/ 2147483647 w 192"/>
                <a:gd name="T27" fmla="*/ 2147483647 h 154"/>
                <a:gd name="T28" fmla="*/ 2147483647 w 192"/>
                <a:gd name="T29" fmla="*/ 2147483647 h 154"/>
                <a:gd name="T30" fmla="*/ 2147483647 w 192"/>
                <a:gd name="T31" fmla="*/ 2147483647 h 154"/>
                <a:gd name="T32" fmla="*/ 2147483647 w 192"/>
                <a:gd name="T33" fmla="*/ 2147483647 h 154"/>
                <a:gd name="T34" fmla="*/ 2147483647 w 192"/>
                <a:gd name="T35" fmla="*/ 2147483647 h 154"/>
                <a:gd name="T36" fmla="*/ 2147483647 w 192"/>
                <a:gd name="T37" fmla="*/ 2147483647 h 154"/>
                <a:gd name="T38" fmla="*/ 2147483647 w 192"/>
                <a:gd name="T39" fmla="*/ 2147483647 h 154"/>
                <a:gd name="T40" fmla="*/ 2147483647 w 192"/>
                <a:gd name="T41" fmla="*/ 2147483647 h 154"/>
                <a:gd name="T42" fmla="*/ 2147483647 w 192"/>
                <a:gd name="T43" fmla="*/ 2147483647 h 154"/>
                <a:gd name="T44" fmla="*/ 2147483647 w 192"/>
                <a:gd name="T45" fmla="*/ 2147483647 h 154"/>
                <a:gd name="T46" fmla="*/ 2147483647 w 192"/>
                <a:gd name="T47" fmla="*/ 2147483647 h 154"/>
                <a:gd name="T48" fmla="*/ 2147483647 w 192"/>
                <a:gd name="T49" fmla="*/ 2147483647 h 154"/>
                <a:gd name="T50" fmla="*/ 2147483647 w 192"/>
                <a:gd name="T51" fmla="*/ 2147483647 h 154"/>
                <a:gd name="T52" fmla="*/ 0 w 192"/>
                <a:gd name="T53" fmla="*/ 2147483647 h 154"/>
                <a:gd name="T54" fmla="*/ 2147483647 w 192"/>
                <a:gd name="T55" fmla="*/ 2147483647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92"/>
                <a:gd name="T85" fmla="*/ 0 h 154"/>
                <a:gd name="T86" fmla="*/ 192 w 192"/>
                <a:gd name="T87" fmla="*/ 154 h 15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92D05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1" name="Freeform 348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5719372" y="2095788"/>
              <a:ext cx="347143" cy="225912"/>
            </a:xfrm>
            <a:custGeom>
              <a:avLst/>
              <a:gdLst>
                <a:gd name="T0" fmla="*/ 2147483647 w 877"/>
                <a:gd name="T1" fmla="*/ 2147483647 h 469"/>
                <a:gd name="T2" fmla="*/ 2147483647 w 877"/>
                <a:gd name="T3" fmla="*/ 2147483647 h 469"/>
                <a:gd name="T4" fmla="*/ 2147483647 w 877"/>
                <a:gd name="T5" fmla="*/ 2147483647 h 469"/>
                <a:gd name="T6" fmla="*/ 2147483647 w 877"/>
                <a:gd name="T7" fmla="*/ 2147483647 h 469"/>
                <a:gd name="T8" fmla="*/ 2147483647 w 877"/>
                <a:gd name="T9" fmla="*/ 2147483647 h 469"/>
                <a:gd name="T10" fmla="*/ 2147483647 w 877"/>
                <a:gd name="T11" fmla="*/ 2147483647 h 469"/>
                <a:gd name="T12" fmla="*/ 2147483647 w 877"/>
                <a:gd name="T13" fmla="*/ 2147483647 h 469"/>
                <a:gd name="T14" fmla="*/ 2147483647 w 877"/>
                <a:gd name="T15" fmla="*/ 2147483647 h 469"/>
                <a:gd name="T16" fmla="*/ 2147483647 w 877"/>
                <a:gd name="T17" fmla="*/ 2147483647 h 469"/>
                <a:gd name="T18" fmla="*/ 2147483647 w 877"/>
                <a:gd name="T19" fmla="*/ 2147483647 h 469"/>
                <a:gd name="T20" fmla="*/ 2147483647 w 877"/>
                <a:gd name="T21" fmla="*/ 2147483647 h 469"/>
                <a:gd name="T22" fmla="*/ 2147483647 w 877"/>
                <a:gd name="T23" fmla="*/ 2147483647 h 469"/>
                <a:gd name="T24" fmla="*/ 2147483647 w 877"/>
                <a:gd name="T25" fmla="*/ 2147483647 h 469"/>
                <a:gd name="T26" fmla="*/ 2147483647 w 877"/>
                <a:gd name="T27" fmla="*/ 2147483647 h 469"/>
                <a:gd name="T28" fmla="*/ 2147483647 w 877"/>
                <a:gd name="T29" fmla="*/ 2147483647 h 469"/>
                <a:gd name="T30" fmla="*/ 2147483647 w 877"/>
                <a:gd name="T31" fmla="*/ 2147483647 h 469"/>
                <a:gd name="T32" fmla="*/ 2147483647 w 877"/>
                <a:gd name="T33" fmla="*/ 2147483647 h 469"/>
                <a:gd name="T34" fmla="*/ 2147483647 w 877"/>
                <a:gd name="T35" fmla="*/ 2147483647 h 469"/>
                <a:gd name="T36" fmla="*/ 2147483647 w 877"/>
                <a:gd name="T37" fmla="*/ 2147483647 h 469"/>
                <a:gd name="T38" fmla="*/ 2147483647 w 877"/>
                <a:gd name="T39" fmla="*/ 2147483647 h 469"/>
                <a:gd name="T40" fmla="*/ 2147483647 w 877"/>
                <a:gd name="T41" fmla="*/ 0 h 469"/>
                <a:gd name="T42" fmla="*/ 2147483647 w 877"/>
                <a:gd name="T43" fmla="*/ 2147483647 h 469"/>
                <a:gd name="T44" fmla="*/ 2147483647 w 877"/>
                <a:gd name="T45" fmla="*/ 2147483647 h 469"/>
                <a:gd name="T46" fmla="*/ 2147483647 w 877"/>
                <a:gd name="T47" fmla="*/ 2147483647 h 469"/>
                <a:gd name="T48" fmla="*/ 2147483647 w 877"/>
                <a:gd name="T49" fmla="*/ 2147483647 h 469"/>
                <a:gd name="T50" fmla="*/ 2147483647 w 877"/>
                <a:gd name="T51" fmla="*/ 2147483647 h 469"/>
                <a:gd name="T52" fmla="*/ 2147483647 w 877"/>
                <a:gd name="T53" fmla="*/ 2147483647 h 469"/>
                <a:gd name="T54" fmla="*/ 2147483647 w 877"/>
                <a:gd name="T55" fmla="*/ 2147483647 h 469"/>
                <a:gd name="T56" fmla="*/ 2147483647 w 877"/>
                <a:gd name="T57" fmla="*/ 2147483647 h 469"/>
                <a:gd name="T58" fmla="*/ 2147483647 w 877"/>
                <a:gd name="T59" fmla="*/ 2147483647 h 469"/>
                <a:gd name="T60" fmla="*/ 2147483647 w 877"/>
                <a:gd name="T61" fmla="*/ 2147483647 h 469"/>
                <a:gd name="T62" fmla="*/ 2147483647 w 877"/>
                <a:gd name="T63" fmla="*/ 2147483647 h 469"/>
                <a:gd name="T64" fmla="*/ 2147483647 w 877"/>
                <a:gd name="T65" fmla="*/ 2147483647 h 469"/>
                <a:gd name="T66" fmla="*/ 2147483647 w 877"/>
                <a:gd name="T67" fmla="*/ 2147483647 h 469"/>
                <a:gd name="T68" fmla="*/ 2147483647 w 877"/>
                <a:gd name="T69" fmla="*/ 2147483647 h 469"/>
                <a:gd name="T70" fmla="*/ 2147483647 w 877"/>
                <a:gd name="T71" fmla="*/ 2147483647 h 469"/>
                <a:gd name="T72" fmla="*/ 2147483647 w 877"/>
                <a:gd name="T73" fmla="*/ 2147483647 h 469"/>
                <a:gd name="T74" fmla="*/ 2147483647 w 877"/>
                <a:gd name="T75" fmla="*/ 2147483647 h 469"/>
                <a:gd name="T76" fmla="*/ 2147483647 w 877"/>
                <a:gd name="T77" fmla="*/ 2147483647 h 469"/>
                <a:gd name="T78" fmla="*/ 2147483647 w 877"/>
                <a:gd name="T79" fmla="*/ 2147483647 h 469"/>
                <a:gd name="T80" fmla="*/ 2147483647 w 877"/>
                <a:gd name="T81" fmla="*/ 2147483647 h 469"/>
                <a:gd name="T82" fmla="*/ 2147483647 w 877"/>
                <a:gd name="T83" fmla="*/ 2147483647 h 469"/>
                <a:gd name="T84" fmla="*/ 2147483647 w 877"/>
                <a:gd name="T85" fmla="*/ 2147483647 h 469"/>
                <a:gd name="T86" fmla="*/ 2147483647 w 877"/>
                <a:gd name="T87" fmla="*/ 2147483647 h 469"/>
                <a:gd name="T88" fmla="*/ 2147483647 w 877"/>
                <a:gd name="T89" fmla="*/ 2147483647 h 469"/>
                <a:gd name="T90" fmla="*/ 2147483647 w 877"/>
                <a:gd name="T91" fmla="*/ 2147483647 h 469"/>
                <a:gd name="T92" fmla="*/ 2147483647 w 877"/>
                <a:gd name="T93" fmla="*/ 2147483647 h 469"/>
                <a:gd name="T94" fmla="*/ 2147483647 w 877"/>
                <a:gd name="T95" fmla="*/ 2147483647 h 469"/>
                <a:gd name="T96" fmla="*/ 2147483647 w 877"/>
                <a:gd name="T97" fmla="*/ 2147483647 h 469"/>
                <a:gd name="T98" fmla="*/ 2147483647 w 877"/>
                <a:gd name="T99" fmla="*/ 2147483647 h 469"/>
                <a:gd name="T100" fmla="*/ 2147483647 w 877"/>
                <a:gd name="T101" fmla="*/ 2147483647 h 469"/>
                <a:gd name="T102" fmla="*/ 2147483647 w 877"/>
                <a:gd name="T103" fmla="*/ 2147483647 h 469"/>
                <a:gd name="T104" fmla="*/ 2147483647 w 877"/>
                <a:gd name="T105" fmla="*/ 2147483647 h 469"/>
                <a:gd name="T106" fmla="*/ 2147483647 w 877"/>
                <a:gd name="T107" fmla="*/ 2147483647 h 469"/>
                <a:gd name="T108" fmla="*/ 2147483647 w 877"/>
                <a:gd name="T109" fmla="*/ 2147483647 h 469"/>
                <a:gd name="T110" fmla="*/ 2147483647 w 877"/>
                <a:gd name="T111" fmla="*/ 2147483647 h 469"/>
                <a:gd name="T112" fmla="*/ 2147483647 w 877"/>
                <a:gd name="T113" fmla="*/ 2147483647 h 469"/>
                <a:gd name="T114" fmla="*/ 2147483647 w 877"/>
                <a:gd name="T115" fmla="*/ 2147483647 h 469"/>
                <a:gd name="T116" fmla="*/ 2147483647 w 877"/>
                <a:gd name="T117" fmla="*/ 2147483647 h 469"/>
                <a:gd name="T118" fmla="*/ 2147483647 w 877"/>
                <a:gd name="T119" fmla="*/ 2147483647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877"/>
                <a:gd name="T181" fmla="*/ 0 h 469"/>
                <a:gd name="T182" fmla="*/ 877 w 877"/>
                <a:gd name="T183" fmla="*/ 469 h 46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2" name="Freeform 349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6185122" y="2408590"/>
              <a:ext cx="43393" cy="57926"/>
            </a:xfrm>
            <a:custGeom>
              <a:avLst/>
              <a:gdLst>
                <a:gd name="T0" fmla="*/ 2147483647 w 107"/>
                <a:gd name="T1" fmla="*/ 0 h 123"/>
                <a:gd name="T2" fmla="*/ 2147483647 w 107"/>
                <a:gd name="T3" fmla="*/ 2147483647 h 123"/>
                <a:gd name="T4" fmla="*/ 2147483647 w 107"/>
                <a:gd name="T5" fmla="*/ 2147483647 h 123"/>
                <a:gd name="T6" fmla="*/ 2147483647 w 107"/>
                <a:gd name="T7" fmla="*/ 2147483647 h 123"/>
                <a:gd name="T8" fmla="*/ 2147483647 w 107"/>
                <a:gd name="T9" fmla="*/ 2147483647 h 123"/>
                <a:gd name="T10" fmla="*/ 2147483647 w 107"/>
                <a:gd name="T11" fmla="*/ 2147483647 h 123"/>
                <a:gd name="T12" fmla="*/ 2147483647 w 107"/>
                <a:gd name="T13" fmla="*/ 2147483647 h 123"/>
                <a:gd name="T14" fmla="*/ 2147483647 w 107"/>
                <a:gd name="T15" fmla="*/ 2147483647 h 123"/>
                <a:gd name="T16" fmla="*/ 2147483647 w 107"/>
                <a:gd name="T17" fmla="*/ 2147483647 h 123"/>
                <a:gd name="T18" fmla="*/ 2147483647 w 107"/>
                <a:gd name="T19" fmla="*/ 2147483647 h 123"/>
                <a:gd name="T20" fmla="*/ 2147483647 w 107"/>
                <a:gd name="T21" fmla="*/ 2147483647 h 123"/>
                <a:gd name="T22" fmla="*/ 2147483647 w 107"/>
                <a:gd name="T23" fmla="*/ 2147483647 h 123"/>
                <a:gd name="T24" fmla="*/ 2147483647 w 107"/>
                <a:gd name="T25" fmla="*/ 2147483647 h 123"/>
                <a:gd name="T26" fmla="*/ 2147483647 w 107"/>
                <a:gd name="T27" fmla="*/ 2147483647 h 123"/>
                <a:gd name="T28" fmla="*/ 2147483647 w 107"/>
                <a:gd name="T29" fmla="*/ 2147483647 h 123"/>
                <a:gd name="T30" fmla="*/ 2147483647 w 107"/>
                <a:gd name="T31" fmla="*/ 2147483647 h 123"/>
                <a:gd name="T32" fmla="*/ 2147483647 w 107"/>
                <a:gd name="T33" fmla="*/ 2147483647 h 123"/>
                <a:gd name="T34" fmla="*/ 2147483647 w 107"/>
                <a:gd name="T35" fmla="*/ 2147483647 h 123"/>
                <a:gd name="T36" fmla="*/ 2147483647 w 107"/>
                <a:gd name="T37" fmla="*/ 2147483647 h 123"/>
                <a:gd name="T38" fmla="*/ 2147483647 w 107"/>
                <a:gd name="T39" fmla="*/ 2147483647 h 123"/>
                <a:gd name="T40" fmla="*/ 2147483647 w 107"/>
                <a:gd name="T41" fmla="*/ 2147483647 h 123"/>
                <a:gd name="T42" fmla="*/ 0 w 107"/>
                <a:gd name="T43" fmla="*/ 2147483647 h 123"/>
                <a:gd name="T44" fmla="*/ 2147483647 w 107"/>
                <a:gd name="T45" fmla="*/ 0 h 123"/>
                <a:gd name="T46" fmla="*/ 2147483647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07"/>
                <a:gd name="T73" fmla="*/ 0 h 123"/>
                <a:gd name="T74" fmla="*/ 107 w 107"/>
                <a:gd name="T75" fmla="*/ 123 h 123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0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3" name="Freeform 350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6679801" y="2421622"/>
              <a:ext cx="189482" cy="111508"/>
            </a:xfrm>
            <a:custGeom>
              <a:avLst/>
              <a:gdLst>
                <a:gd name="T0" fmla="*/ 2147483647 w 471"/>
                <a:gd name="T1" fmla="*/ 2147483647 h 234"/>
                <a:gd name="T2" fmla="*/ 2147483647 w 471"/>
                <a:gd name="T3" fmla="*/ 2147483647 h 234"/>
                <a:gd name="T4" fmla="*/ 2147483647 w 471"/>
                <a:gd name="T5" fmla="*/ 2147483647 h 234"/>
                <a:gd name="T6" fmla="*/ 2147483647 w 471"/>
                <a:gd name="T7" fmla="*/ 2147483647 h 234"/>
                <a:gd name="T8" fmla="*/ 2147483647 w 471"/>
                <a:gd name="T9" fmla="*/ 2147483647 h 234"/>
                <a:gd name="T10" fmla="*/ 2147483647 w 471"/>
                <a:gd name="T11" fmla="*/ 2147483647 h 234"/>
                <a:gd name="T12" fmla="*/ 2147483647 w 471"/>
                <a:gd name="T13" fmla="*/ 2147483647 h 234"/>
                <a:gd name="T14" fmla="*/ 2147483647 w 471"/>
                <a:gd name="T15" fmla="*/ 2147483647 h 234"/>
                <a:gd name="T16" fmla="*/ 2147483647 w 471"/>
                <a:gd name="T17" fmla="*/ 2147483647 h 234"/>
                <a:gd name="T18" fmla="*/ 2147483647 w 471"/>
                <a:gd name="T19" fmla="*/ 2147483647 h 234"/>
                <a:gd name="T20" fmla="*/ 2147483647 w 471"/>
                <a:gd name="T21" fmla="*/ 2147483647 h 234"/>
                <a:gd name="T22" fmla="*/ 2147483647 w 471"/>
                <a:gd name="T23" fmla="*/ 2147483647 h 234"/>
                <a:gd name="T24" fmla="*/ 2147483647 w 471"/>
                <a:gd name="T25" fmla="*/ 2147483647 h 234"/>
                <a:gd name="T26" fmla="*/ 2147483647 w 471"/>
                <a:gd name="T27" fmla="*/ 2147483647 h 234"/>
                <a:gd name="T28" fmla="*/ 2147483647 w 471"/>
                <a:gd name="T29" fmla="*/ 2147483647 h 234"/>
                <a:gd name="T30" fmla="*/ 2147483647 w 471"/>
                <a:gd name="T31" fmla="*/ 2147483647 h 234"/>
                <a:gd name="T32" fmla="*/ 2147483647 w 471"/>
                <a:gd name="T33" fmla="*/ 2147483647 h 234"/>
                <a:gd name="T34" fmla="*/ 2147483647 w 471"/>
                <a:gd name="T35" fmla="*/ 2147483647 h 234"/>
                <a:gd name="T36" fmla="*/ 2147483647 w 471"/>
                <a:gd name="T37" fmla="*/ 2147483647 h 234"/>
                <a:gd name="T38" fmla="*/ 2147483647 w 471"/>
                <a:gd name="T39" fmla="*/ 2147483647 h 234"/>
                <a:gd name="T40" fmla="*/ 2147483647 w 471"/>
                <a:gd name="T41" fmla="*/ 2147483647 h 234"/>
                <a:gd name="T42" fmla="*/ 2147483647 w 471"/>
                <a:gd name="T43" fmla="*/ 2147483647 h 234"/>
                <a:gd name="T44" fmla="*/ 2147483647 w 471"/>
                <a:gd name="T45" fmla="*/ 2147483647 h 234"/>
                <a:gd name="T46" fmla="*/ 2147483647 w 471"/>
                <a:gd name="T47" fmla="*/ 2147483647 h 234"/>
                <a:gd name="T48" fmla="*/ 2147483647 w 471"/>
                <a:gd name="T49" fmla="*/ 2147483647 h 234"/>
                <a:gd name="T50" fmla="*/ 2147483647 w 471"/>
                <a:gd name="T51" fmla="*/ 2147483647 h 234"/>
                <a:gd name="T52" fmla="*/ 2147483647 w 471"/>
                <a:gd name="T53" fmla="*/ 2147483647 h 234"/>
                <a:gd name="T54" fmla="*/ 2147483647 w 471"/>
                <a:gd name="T55" fmla="*/ 2147483647 h 234"/>
                <a:gd name="T56" fmla="*/ 2147483647 w 471"/>
                <a:gd name="T57" fmla="*/ 2147483647 h 234"/>
                <a:gd name="T58" fmla="*/ 2147483647 w 471"/>
                <a:gd name="T59" fmla="*/ 2147483647 h 234"/>
                <a:gd name="T60" fmla="*/ 2147483647 w 471"/>
                <a:gd name="T61" fmla="*/ 2147483647 h 234"/>
                <a:gd name="T62" fmla="*/ 2147483647 w 471"/>
                <a:gd name="T63" fmla="*/ 2147483647 h 234"/>
                <a:gd name="T64" fmla="*/ 2147483647 w 471"/>
                <a:gd name="T65" fmla="*/ 2147483647 h 234"/>
                <a:gd name="T66" fmla="*/ 2147483647 w 471"/>
                <a:gd name="T67" fmla="*/ 2147483647 h 234"/>
                <a:gd name="T68" fmla="*/ 2147483647 w 471"/>
                <a:gd name="T69" fmla="*/ 2147483647 h 234"/>
                <a:gd name="T70" fmla="*/ 2147483647 w 471"/>
                <a:gd name="T71" fmla="*/ 2147483647 h 234"/>
                <a:gd name="T72" fmla="*/ 2147483647 w 471"/>
                <a:gd name="T73" fmla="*/ 2147483647 h 234"/>
                <a:gd name="T74" fmla="*/ 2147483647 w 471"/>
                <a:gd name="T75" fmla="*/ 2147483647 h 234"/>
                <a:gd name="T76" fmla="*/ 2147483647 w 471"/>
                <a:gd name="T77" fmla="*/ 2147483647 h 234"/>
                <a:gd name="T78" fmla="*/ 0 w 471"/>
                <a:gd name="T79" fmla="*/ 2147483647 h 234"/>
                <a:gd name="T80" fmla="*/ 2147483647 w 471"/>
                <a:gd name="T81" fmla="*/ 2147483647 h 234"/>
                <a:gd name="T82" fmla="*/ 2147483647 w 471"/>
                <a:gd name="T83" fmla="*/ 2147483647 h 234"/>
                <a:gd name="T84" fmla="*/ 2147483647 w 471"/>
                <a:gd name="T85" fmla="*/ 0 h 234"/>
                <a:gd name="T86" fmla="*/ 2147483647 w 471"/>
                <a:gd name="T87" fmla="*/ 2147483647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471"/>
                <a:gd name="T133" fmla="*/ 0 h 234"/>
                <a:gd name="T134" fmla="*/ 471 w 471"/>
                <a:gd name="T135" fmla="*/ 234 h 2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4" name="Freeform 351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6724640" y="2356456"/>
              <a:ext cx="205393" cy="114404"/>
            </a:xfrm>
            <a:custGeom>
              <a:avLst/>
              <a:gdLst>
                <a:gd name="T0" fmla="*/ 2147483647 w 525"/>
                <a:gd name="T1" fmla="*/ 2147483647 h 241"/>
                <a:gd name="T2" fmla="*/ 2147483647 w 525"/>
                <a:gd name="T3" fmla="*/ 2147483647 h 241"/>
                <a:gd name="T4" fmla="*/ 2147483647 w 525"/>
                <a:gd name="T5" fmla="*/ 2147483647 h 241"/>
                <a:gd name="T6" fmla="*/ 2147483647 w 525"/>
                <a:gd name="T7" fmla="*/ 2147483647 h 241"/>
                <a:gd name="T8" fmla="*/ 2147483647 w 525"/>
                <a:gd name="T9" fmla="*/ 2147483647 h 241"/>
                <a:gd name="T10" fmla="*/ 2147483647 w 525"/>
                <a:gd name="T11" fmla="*/ 2147483647 h 241"/>
                <a:gd name="T12" fmla="*/ 2147483647 w 525"/>
                <a:gd name="T13" fmla="*/ 2147483647 h 241"/>
                <a:gd name="T14" fmla="*/ 2147483647 w 525"/>
                <a:gd name="T15" fmla="*/ 0 h 241"/>
                <a:gd name="T16" fmla="*/ 2147483647 w 525"/>
                <a:gd name="T17" fmla="*/ 2147483647 h 241"/>
                <a:gd name="T18" fmla="*/ 2147483647 w 525"/>
                <a:gd name="T19" fmla="*/ 2147483647 h 241"/>
                <a:gd name="T20" fmla="*/ 2147483647 w 525"/>
                <a:gd name="T21" fmla="*/ 2147483647 h 241"/>
                <a:gd name="T22" fmla="*/ 2147483647 w 525"/>
                <a:gd name="T23" fmla="*/ 2147483647 h 241"/>
                <a:gd name="T24" fmla="*/ 2147483647 w 525"/>
                <a:gd name="T25" fmla="*/ 2147483647 h 241"/>
                <a:gd name="T26" fmla="*/ 2147483647 w 525"/>
                <a:gd name="T27" fmla="*/ 2147483647 h 241"/>
                <a:gd name="T28" fmla="*/ 2147483647 w 525"/>
                <a:gd name="T29" fmla="*/ 2147483647 h 241"/>
                <a:gd name="T30" fmla="*/ 2147483647 w 525"/>
                <a:gd name="T31" fmla="*/ 2147483647 h 241"/>
                <a:gd name="T32" fmla="*/ 2147483647 w 525"/>
                <a:gd name="T33" fmla="*/ 2147483647 h 241"/>
                <a:gd name="T34" fmla="*/ 2147483647 w 525"/>
                <a:gd name="T35" fmla="*/ 2147483647 h 241"/>
                <a:gd name="T36" fmla="*/ 2147483647 w 525"/>
                <a:gd name="T37" fmla="*/ 2147483647 h 241"/>
                <a:gd name="T38" fmla="*/ 2147483647 w 525"/>
                <a:gd name="T39" fmla="*/ 2147483647 h 241"/>
                <a:gd name="T40" fmla="*/ 2147483647 w 525"/>
                <a:gd name="T41" fmla="*/ 2147483647 h 241"/>
                <a:gd name="T42" fmla="*/ 2147483647 w 525"/>
                <a:gd name="T43" fmla="*/ 2147483647 h 241"/>
                <a:gd name="T44" fmla="*/ 2147483647 w 525"/>
                <a:gd name="T45" fmla="*/ 2147483647 h 241"/>
                <a:gd name="T46" fmla="*/ 2147483647 w 525"/>
                <a:gd name="T47" fmla="*/ 2147483647 h 241"/>
                <a:gd name="T48" fmla="*/ 2147483647 w 525"/>
                <a:gd name="T49" fmla="*/ 2147483647 h 241"/>
                <a:gd name="T50" fmla="*/ 2147483647 w 525"/>
                <a:gd name="T51" fmla="*/ 2147483647 h 241"/>
                <a:gd name="T52" fmla="*/ 2147483647 w 525"/>
                <a:gd name="T53" fmla="*/ 2147483647 h 241"/>
                <a:gd name="T54" fmla="*/ 2147483647 w 525"/>
                <a:gd name="T55" fmla="*/ 2147483647 h 241"/>
                <a:gd name="T56" fmla="*/ 2147483647 w 525"/>
                <a:gd name="T57" fmla="*/ 2147483647 h 241"/>
                <a:gd name="T58" fmla="*/ 2147483647 w 525"/>
                <a:gd name="T59" fmla="*/ 2147483647 h 241"/>
                <a:gd name="T60" fmla="*/ 2147483647 w 525"/>
                <a:gd name="T61" fmla="*/ 2147483647 h 241"/>
                <a:gd name="T62" fmla="*/ 2147483647 w 525"/>
                <a:gd name="T63" fmla="*/ 2147483647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525"/>
                <a:gd name="T97" fmla="*/ 0 h 241"/>
                <a:gd name="T98" fmla="*/ 525 w 525"/>
                <a:gd name="T99" fmla="*/ 241 h 24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5" name="Freeform 352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6365925" y="2370938"/>
              <a:ext cx="312429" cy="207086"/>
            </a:xfrm>
            <a:custGeom>
              <a:avLst/>
              <a:gdLst>
                <a:gd name="T0" fmla="*/ 2147483647 w 784"/>
                <a:gd name="T1" fmla="*/ 2147483647 h 430"/>
                <a:gd name="T2" fmla="*/ 2147483647 w 784"/>
                <a:gd name="T3" fmla="*/ 2147483647 h 430"/>
                <a:gd name="T4" fmla="*/ 2147483647 w 784"/>
                <a:gd name="T5" fmla="*/ 2147483647 h 430"/>
                <a:gd name="T6" fmla="*/ 2147483647 w 784"/>
                <a:gd name="T7" fmla="*/ 2147483647 h 430"/>
                <a:gd name="T8" fmla="*/ 2147483647 w 784"/>
                <a:gd name="T9" fmla="*/ 2147483647 h 430"/>
                <a:gd name="T10" fmla="*/ 2147483647 w 784"/>
                <a:gd name="T11" fmla="*/ 2147483647 h 430"/>
                <a:gd name="T12" fmla="*/ 2147483647 w 784"/>
                <a:gd name="T13" fmla="*/ 2147483647 h 430"/>
                <a:gd name="T14" fmla="*/ 2147483647 w 784"/>
                <a:gd name="T15" fmla="*/ 2147483647 h 430"/>
                <a:gd name="T16" fmla="*/ 2147483647 w 784"/>
                <a:gd name="T17" fmla="*/ 2147483647 h 430"/>
                <a:gd name="T18" fmla="*/ 2147483647 w 784"/>
                <a:gd name="T19" fmla="*/ 2147483647 h 430"/>
                <a:gd name="T20" fmla="*/ 2147483647 w 784"/>
                <a:gd name="T21" fmla="*/ 2147483647 h 430"/>
                <a:gd name="T22" fmla="*/ 2147483647 w 784"/>
                <a:gd name="T23" fmla="*/ 2147483647 h 430"/>
                <a:gd name="T24" fmla="*/ 2147483647 w 784"/>
                <a:gd name="T25" fmla="*/ 2147483647 h 430"/>
                <a:gd name="T26" fmla="*/ 2147483647 w 784"/>
                <a:gd name="T27" fmla="*/ 2147483647 h 430"/>
                <a:gd name="T28" fmla="*/ 2147483647 w 784"/>
                <a:gd name="T29" fmla="*/ 2147483647 h 430"/>
                <a:gd name="T30" fmla="*/ 2147483647 w 784"/>
                <a:gd name="T31" fmla="*/ 2147483647 h 430"/>
                <a:gd name="T32" fmla="*/ 2147483647 w 784"/>
                <a:gd name="T33" fmla="*/ 2147483647 h 430"/>
                <a:gd name="T34" fmla="*/ 2147483647 w 784"/>
                <a:gd name="T35" fmla="*/ 2147483647 h 430"/>
                <a:gd name="T36" fmla="*/ 2147483647 w 784"/>
                <a:gd name="T37" fmla="*/ 2147483647 h 430"/>
                <a:gd name="T38" fmla="*/ 2147483647 w 784"/>
                <a:gd name="T39" fmla="*/ 2147483647 h 430"/>
                <a:gd name="T40" fmla="*/ 2147483647 w 784"/>
                <a:gd name="T41" fmla="*/ 2147483647 h 430"/>
                <a:gd name="T42" fmla="*/ 2147483647 w 784"/>
                <a:gd name="T43" fmla="*/ 2147483647 h 430"/>
                <a:gd name="T44" fmla="*/ 2147483647 w 784"/>
                <a:gd name="T45" fmla="*/ 2147483647 h 430"/>
                <a:gd name="T46" fmla="*/ 2147483647 w 784"/>
                <a:gd name="T47" fmla="*/ 2147483647 h 430"/>
                <a:gd name="T48" fmla="*/ 2147483647 w 784"/>
                <a:gd name="T49" fmla="*/ 2147483647 h 430"/>
                <a:gd name="T50" fmla="*/ 2147483647 w 784"/>
                <a:gd name="T51" fmla="*/ 2147483647 h 430"/>
                <a:gd name="T52" fmla="*/ 2147483647 w 784"/>
                <a:gd name="T53" fmla="*/ 2147483647 h 430"/>
                <a:gd name="T54" fmla="*/ 2147483647 w 784"/>
                <a:gd name="T55" fmla="*/ 2147483647 h 430"/>
                <a:gd name="T56" fmla="*/ 2147483647 w 784"/>
                <a:gd name="T57" fmla="*/ 2147483647 h 430"/>
                <a:gd name="T58" fmla="*/ 2147483647 w 784"/>
                <a:gd name="T59" fmla="*/ 2147483647 h 430"/>
                <a:gd name="T60" fmla="*/ 2147483647 w 784"/>
                <a:gd name="T61" fmla="*/ 2147483647 h 430"/>
                <a:gd name="T62" fmla="*/ 2147483647 w 784"/>
                <a:gd name="T63" fmla="*/ 2147483647 h 430"/>
                <a:gd name="T64" fmla="*/ 2147483647 w 784"/>
                <a:gd name="T65" fmla="*/ 2147483647 h 430"/>
                <a:gd name="T66" fmla="*/ 2147483647 w 784"/>
                <a:gd name="T67" fmla="*/ 2147483647 h 430"/>
                <a:gd name="T68" fmla="*/ 0 w 784"/>
                <a:gd name="T69" fmla="*/ 2147483647 h 430"/>
                <a:gd name="T70" fmla="*/ 2147483647 w 784"/>
                <a:gd name="T71" fmla="*/ 2147483647 h 430"/>
                <a:gd name="T72" fmla="*/ 2147483647 w 784"/>
                <a:gd name="T73" fmla="*/ 2147483647 h 430"/>
                <a:gd name="T74" fmla="*/ 2147483647 w 784"/>
                <a:gd name="T75" fmla="*/ 2147483647 h 430"/>
                <a:gd name="T76" fmla="*/ 2147483647 w 784"/>
                <a:gd name="T77" fmla="*/ 2147483647 h 430"/>
                <a:gd name="T78" fmla="*/ 2147483647 w 784"/>
                <a:gd name="T79" fmla="*/ 2147483647 h 430"/>
                <a:gd name="T80" fmla="*/ 2147483647 w 784"/>
                <a:gd name="T81" fmla="*/ 2147483647 h 430"/>
                <a:gd name="T82" fmla="*/ 2147483647 w 784"/>
                <a:gd name="T83" fmla="*/ 2147483647 h 430"/>
                <a:gd name="T84" fmla="*/ 2147483647 w 784"/>
                <a:gd name="T85" fmla="*/ 2147483647 h 430"/>
                <a:gd name="T86" fmla="*/ 2147483647 w 784"/>
                <a:gd name="T87" fmla="*/ 2147483647 h 430"/>
                <a:gd name="T88" fmla="*/ 2147483647 w 784"/>
                <a:gd name="T89" fmla="*/ 2147483647 h 430"/>
                <a:gd name="T90" fmla="*/ 2147483647 w 784"/>
                <a:gd name="T91" fmla="*/ 2147483647 h 430"/>
                <a:gd name="T92" fmla="*/ 2147483647 w 784"/>
                <a:gd name="T93" fmla="*/ 2147483647 h 430"/>
                <a:gd name="T94" fmla="*/ 2147483647 w 784"/>
                <a:gd name="T95" fmla="*/ 2147483647 h 430"/>
                <a:gd name="T96" fmla="*/ 2147483647 w 784"/>
                <a:gd name="T97" fmla="*/ 2147483647 h 430"/>
                <a:gd name="T98" fmla="*/ 2147483647 w 784"/>
                <a:gd name="T99" fmla="*/ 0 h 430"/>
                <a:gd name="T100" fmla="*/ 2147483647 w 784"/>
                <a:gd name="T101" fmla="*/ 2147483647 h 430"/>
                <a:gd name="T102" fmla="*/ 2147483647 w 784"/>
                <a:gd name="T103" fmla="*/ 2147483647 h 430"/>
                <a:gd name="T104" fmla="*/ 2147483647 w 784"/>
                <a:gd name="T105" fmla="*/ 2147483647 h 430"/>
                <a:gd name="T106" fmla="*/ 2147483647 w 784"/>
                <a:gd name="T107" fmla="*/ 2147483647 h 430"/>
                <a:gd name="T108" fmla="*/ 2147483647 w 784"/>
                <a:gd name="T109" fmla="*/ 2147483647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84"/>
                <a:gd name="T166" fmla="*/ 0 h 430"/>
                <a:gd name="T167" fmla="*/ 784 w 784"/>
                <a:gd name="T168" fmla="*/ 430 h 430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6" name="Freeform 353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5645604" y="2268118"/>
              <a:ext cx="98357" cy="136126"/>
            </a:xfrm>
            <a:custGeom>
              <a:avLst/>
              <a:gdLst>
                <a:gd name="T0" fmla="*/ 2147483647 w 246"/>
                <a:gd name="T1" fmla="*/ 2147483647 h 284"/>
                <a:gd name="T2" fmla="*/ 2147483647 w 246"/>
                <a:gd name="T3" fmla="*/ 2147483647 h 284"/>
                <a:gd name="T4" fmla="*/ 2147483647 w 246"/>
                <a:gd name="T5" fmla="*/ 2147483647 h 284"/>
                <a:gd name="T6" fmla="*/ 2147483647 w 246"/>
                <a:gd name="T7" fmla="*/ 2147483647 h 284"/>
                <a:gd name="T8" fmla="*/ 2147483647 w 246"/>
                <a:gd name="T9" fmla="*/ 2147483647 h 284"/>
                <a:gd name="T10" fmla="*/ 2147483647 w 246"/>
                <a:gd name="T11" fmla="*/ 2147483647 h 284"/>
                <a:gd name="T12" fmla="*/ 2147483647 w 246"/>
                <a:gd name="T13" fmla="*/ 2147483647 h 284"/>
                <a:gd name="T14" fmla="*/ 2147483647 w 246"/>
                <a:gd name="T15" fmla="*/ 2147483647 h 284"/>
                <a:gd name="T16" fmla="*/ 2147483647 w 246"/>
                <a:gd name="T17" fmla="*/ 2147483647 h 284"/>
                <a:gd name="T18" fmla="*/ 2147483647 w 246"/>
                <a:gd name="T19" fmla="*/ 2147483647 h 284"/>
                <a:gd name="T20" fmla="*/ 2147483647 w 246"/>
                <a:gd name="T21" fmla="*/ 2147483647 h 284"/>
                <a:gd name="T22" fmla="*/ 2147483647 w 246"/>
                <a:gd name="T23" fmla="*/ 2147483647 h 284"/>
                <a:gd name="T24" fmla="*/ 2147483647 w 246"/>
                <a:gd name="T25" fmla="*/ 2147483647 h 284"/>
                <a:gd name="T26" fmla="*/ 2147483647 w 246"/>
                <a:gd name="T27" fmla="*/ 2147483647 h 284"/>
                <a:gd name="T28" fmla="*/ 2147483647 w 246"/>
                <a:gd name="T29" fmla="*/ 2147483647 h 284"/>
                <a:gd name="T30" fmla="*/ 2147483647 w 246"/>
                <a:gd name="T31" fmla="*/ 2147483647 h 284"/>
                <a:gd name="T32" fmla="*/ 2147483647 w 246"/>
                <a:gd name="T33" fmla="*/ 2147483647 h 284"/>
                <a:gd name="T34" fmla="*/ 2147483647 w 246"/>
                <a:gd name="T35" fmla="*/ 2147483647 h 284"/>
                <a:gd name="T36" fmla="*/ 2147483647 w 246"/>
                <a:gd name="T37" fmla="*/ 2147483647 h 284"/>
                <a:gd name="T38" fmla="*/ 2147483647 w 246"/>
                <a:gd name="T39" fmla="*/ 2147483647 h 284"/>
                <a:gd name="T40" fmla="*/ 2147483647 w 246"/>
                <a:gd name="T41" fmla="*/ 2147483647 h 284"/>
                <a:gd name="T42" fmla="*/ 2147483647 w 246"/>
                <a:gd name="T43" fmla="*/ 2147483647 h 284"/>
                <a:gd name="T44" fmla="*/ 2147483647 w 246"/>
                <a:gd name="T45" fmla="*/ 2147483647 h 284"/>
                <a:gd name="T46" fmla="*/ 2147483647 w 246"/>
                <a:gd name="T47" fmla="*/ 2147483647 h 284"/>
                <a:gd name="T48" fmla="*/ 2147483647 w 246"/>
                <a:gd name="T49" fmla="*/ 2147483647 h 284"/>
                <a:gd name="T50" fmla="*/ 2147483647 w 246"/>
                <a:gd name="T51" fmla="*/ 2147483647 h 284"/>
                <a:gd name="T52" fmla="*/ 2147483647 w 246"/>
                <a:gd name="T53" fmla="*/ 2147483647 h 284"/>
                <a:gd name="T54" fmla="*/ 2147483647 w 246"/>
                <a:gd name="T55" fmla="*/ 2147483647 h 284"/>
                <a:gd name="T56" fmla="*/ 2147483647 w 246"/>
                <a:gd name="T57" fmla="*/ 2147483647 h 284"/>
                <a:gd name="T58" fmla="*/ 2147483647 w 246"/>
                <a:gd name="T59" fmla="*/ 2147483647 h 284"/>
                <a:gd name="T60" fmla="*/ 2147483647 w 246"/>
                <a:gd name="T61" fmla="*/ 2147483647 h 284"/>
                <a:gd name="T62" fmla="*/ 2147483647 w 246"/>
                <a:gd name="T63" fmla="*/ 2147483647 h 284"/>
                <a:gd name="T64" fmla="*/ 2147483647 w 246"/>
                <a:gd name="T65" fmla="*/ 2147483647 h 284"/>
                <a:gd name="T66" fmla="*/ 2147483647 w 246"/>
                <a:gd name="T67" fmla="*/ 2147483647 h 284"/>
                <a:gd name="T68" fmla="*/ 2147483647 w 246"/>
                <a:gd name="T69" fmla="*/ 2147483647 h 284"/>
                <a:gd name="T70" fmla="*/ 2147483647 w 246"/>
                <a:gd name="T71" fmla="*/ 2147483647 h 284"/>
                <a:gd name="T72" fmla="*/ 2147483647 w 246"/>
                <a:gd name="T73" fmla="*/ 2147483647 h 284"/>
                <a:gd name="T74" fmla="*/ 2147483647 w 246"/>
                <a:gd name="T75" fmla="*/ 2147483647 h 284"/>
                <a:gd name="T76" fmla="*/ 2147483647 w 246"/>
                <a:gd name="T77" fmla="*/ 2147483647 h 284"/>
                <a:gd name="T78" fmla="*/ 2147483647 w 246"/>
                <a:gd name="T79" fmla="*/ 2147483647 h 284"/>
                <a:gd name="T80" fmla="*/ 0 w 246"/>
                <a:gd name="T81" fmla="*/ 2147483647 h 284"/>
                <a:gd name="T82" fmla="*/ 2147483647 w 246"/>
                <a:gd name="T83" fmla="*/ 2147483647 h 284"/>
                <a:gd name="T84" fmla="*/ 2147483647 w 246"/>
                <a:gd name="T85" fmla="*/ 2147483647 h 284"/>
                <a:gd name="T86" fmla="*/ 2147483647 w 246"/>
                <a:gd name="T87" fmla="*/ 2147483647 h 284"/>
                <a:gd name="T88" fmla="*/ 2147483647 w 246"/>
                <a:gd name="T89" fmla="*/ 2147483647 h 284"/>
                <a:gd name="T90" fmla="*/ 2147483647 w 246"/>
                <a:gd name="T91" fmla="*/ 2147483647 h 284"/>
                <a:gd name="T92" fmla="*/ 2147483647 w 246"/>
                <a:gd name="T93" fmla="*/ 2147483647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46"/>
                <a:gd name="T142" fmla="*/ 0 h 284"/>
                <a:gd name="T143" fmla="*/ 246 w 246"/>
                <a:gd name="T144" fmla="*/ 284 h 28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7" name="Freeform 354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5688997" y="2366593"/>
              <a:ext cx="62197" cy="55030"/>
            </a:xfrm>
            <a:custGeom>
              <a:avLst/>
              <a:gdLst>
                <a:gd name="T0" fmla="*/ 2147483647 w 160"/>
                <a:gd name="T1" fmla="*/ 0 h 117"/>
                <a:gd name="T2" fmla="*/ 2147483647 w 160"/>
                <a:gd name="T3" fmla="*/ 2147483647 h 117"/>
                <a:gd name="T4" fmla="*/ 2147483647 w 160"/>
                <a:gd name="T5" fmla="*/ 2147483647 h 117"/>
                <a:gd name="T6" fmla="*/ 2147483647 w 160"/>
                <a:gd name="T7" fmla="*/ 2147483647 h 117"/>
                <a:gd name="T8" fmla="*/ 2147483647 w 160"/>
                <a:gd name="T9" fmla="*/ 2147483647 h 117"/>
                <a:gd name="T10" fmla="*/ 2147483647 w 160"/>
                <a:gd name="T11" fmla="*/ 2147483647 h 117"/>
                <a:gd name="T12" fmla="*/ 2147483647 w 160"/>
                <a:gd name="T13" fmla="*/ 2147483647 h 117"/>
                <a:gd name="T14" fmla="*/ 2147483647 w 160"/>
                <a:gd name="T15" fmla="*/ 2147483647 h 117"/>
                <a:gd name="T16" fmla="*/ 2147483647 w 160"/>
                <a:gd name="T17" fmla="*/ 2147483647 h 117"/>
                <a:gd name="T18" fmla="*/ 2147483647 w 160"/>
                <a:gd name="T19" fmla="*/ 2147483647 h 117"/>
                <a:gd name="T20" fmla="*/ 2147483647 w 160"/>
                <a:gd name="T21" fmla="*/ 2147483647 h 117"/>
                <a:gd name="T22" fmla="*/ 2147483647 w 160"/>
                <a:gd name="T23" fmla="*/ 2147483647 h 117"/>
                <a:gd name="T24" fmla="*/ 2147483647 w 160"/>
                <a:gd name="T25" fmla="*/ 2147483647 h 117"/>
                <a:gd name="T26" fmla="*/ 2147483647 w 160"/>
                <a:gd name="T27" fmla="*/ 2147483647 h 117"/>
                <a:gd name="T28" fmla="*/ 2147483647 w 160"/>
                <a:gd name="T29" fmla="*/ 2147483647 h 117"/>
                <a:gd name="T30" fmla="*/ 2147483647 w 160"/>
                <a:gd name="T31" fmla="*/ 2147483647 h 117"/>
                <a:gd name="T32" fmla="*/ 2147483647 w 160"/>
                <a:gd name="T33" fmla="*/ 2147483647 h 117"/>
                <a:gd name="T34" fmla="*/ 2147483647 w 160"/>
                <a:gd name="T35" fmla="*/ 2147483647 h 117"/>
                <a:gd name="T36" fmla="*/ 2147483647 w 160"/>
                <a:gd name="T37" fmla="*/ 2147483647 h 117"/>
                <a:gd name="T38" fmla="*/ 2147483647 w 160"/>
                <a:gd name="T39" fmla="*/ 2147483647 h 117"/>
                <a:gd name="T40" fmla="*/ 2147483647 w 160"/>
                <a:gd name="T41" fmla="*/ 2147483647 h 117"/>
                <a:gd name="T42" fmla="*/ 2147483647 w 160"/>
                <a:gd name="T43" fmla="*/ 2147483647 h 117"/>
                <a:gd name="T44" fmla="*/ 2147483647 w 160"/>
                <a:gd name="T45" fmla="*/ 2147483647 h 117"/>
                <a:gd name="T46" fmla="*/ 2147483647 w 160"/>
                <a:gd name="T47" fmla="*/ 2147483647 h 117"/>
                <a:gd name="T48" fmla="*/ 2147483647 w 160"/>
                <a:gd name="T49" fmla="*/ 2147483647 h 117"/>
                <a:gd name="T50" fmla="*/ 2147483647 w 160"/>
                <a:gd name="T51" fmla="*/ 2147483647 h 117"/>
                <a:gd name="T52" fmla="*/ 0 w 160"/>
                <a:gd name="T53" fmla="*/ 2147483647 h 117"/>
                <a:gd name="T54" fmla="*/ 2147483647 w 160"/>
                <a:gd name="T55" fmla="*/ 2147483647 h 117"/>
                <a:gd name="T56" fmla="*/ 2147483647 w 160"/>
                <a:gd name="T57" fmla="*/ 2147483647 h 117"/>
                <a:gd name="T58" fmla="*/ 2147483647 w 160"/>
                <a:gd name="T59" fmla="*/ 2147483647 h 117"/>
                <a:gd name="T60" fmla="*/ 2147483647 w 160"/>
                <a:gd name="T61" fmla="*/ 2147483647 h 117"/>
                <a:gd name="T62" fmla="*/ 2147483647 w 160"/>
                <a:gd name="T63" fmla="*/ 2147483647 h 117"/>
                <a:gd name="T64" fmla="*/ 2147483647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0"/>
                <a:gd name="T100" fmla="*/ 0 h 117"/>
                <a:gd name="T101" fmla="*/ 160 w 160"/>
                <a:gd name="T102" fmla="*/ 117 h 11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8" name="Freeform 355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5765658" y="2935717"/>
              <a:ext cx="374625" cy="557539"/>
            </a:xfrm>
            <a:custGeom>
              <a:avLst/>
              <a:gdLst>
                <a:gd name="T0" fmla="*/ 2147483647 w 943"/>
                <a:gd name="T1" fmla="*/ 2147483647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147483647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43"/>
                <a:gd name="T157" fmla="*/ 0 h 1172"/>
                <a:gd name="T158" fmla="*/ 943 w 943"/>
                <a:gd name="T159" fmla="*/ 1172 h 117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9" name="Freeform 356"/>
            <p:cNvSpPr>
              <a:spLocks/>
            </p:cNvSpPr>
            <p:nvPr>
              <p:custDataLst>
                <p:tags r:id="rId262"/>
              </p:custDataLst>
            </p:nvPr>
          </p:nvSpPr>
          <p:spPr bwMode="auto">
            <a:xfrm>
              <a:off x="6206818" y="3245622"/>
              <a:ext cx="222750" cy="393898"/>
            </a:xfrm>
            <a:custGeom>
              <a:avLst/>
              <a:gdLst>
                <a:gd name="T0" fmla="*/ 2147483647 w 556"/>
                <a:gd name="T1" fmla="*/ 2147483647 h 819"/>
                <a:gd name="T2" fmla="*/ 2147483647 w 556"/>
                <a:gd name="T3" fmla="*/ 2147483647 h 819"/>
                <a:gd name="T4" fmla="*/ 2147483647 w 556"/>
                <a:gd name="T5" fmla="*/ 2147483647 h 819"/>
                <a:gd name="T6" fmla="*/ 2147483647 w 556"/>
                <a:gd name="T7" fmla="*/ 2147483647 h 819"/>
                <a:gd name="T8" fmla="*/ 2147483647 w 556"/>
                <a:gd name="T9" fmla="*/ 2147483647 h 819"/>
                <a:gd name="T10" fmla="*/ 2147483647 w 556"/>
                <a:gd name="T11" fmla="*/ 2147483647 h 819"/>
                <a:gd name="T12" fmla="*/ 2147483647 w 556"/>
                <a:gd name="T13" fmla="*/ 2147483647 h 819"/>
                <a:gd name="T14" fmla="*/ 2147483647 w 556"/>
                <a:gd name="T15" fmla="*/ 2147483647 h 819"/>
                <a:gd name="T16" fmla="*/ 2147483647 w 556"/>
                <a:gd name="T17" fmla="*/ 2147483647 h 819"/>
                <a:gd name="T18" fmla="*/ 2147483647 w 556"/>
                <a:gd name="T19" fmla="*/ 2147483647 h 819"/>
                <a:gd name="T20" fmla="*/ 2147483647 w 556"/>
                <a:gd name="T21" fmla="*/ 2147483647 h 819"/>
                <a:gd name="T22" fmla="*/ 2147483647 w 556"/>
                <a:gd name="T23" fmla="*/ 2147483647 h 819"/>
                <a:gd name="T24" fmla="*/ 2147483647 w 556"/>
                <a:gd name="T25" fmla="*/ 2147483647 h 819"/>
                <a:gd name="T26" fmla="*/ 2147483647 w 556"/>
                <a:gd name="T27" fmla="*/ 2147483647 h 819"/>
                <a:gd name="T28" fmla="*/ 2147483647 w 556"/>
                <a:gd name="T29" fmla="*/ 2147483647 h 819"/>
                <a:gd name="T30" fmla="*/ 2147483647 w 556"/>
                <a:gd name="T31" fmla="*/ 2147483647 h 819"/>
                <a:gd name="T32" fmla="*/ 2147483647 w 556"/>
                <a:gd name="T33" fmla="*/ 2147483647 h 819"/>
                <a:gd name="T34" fmla="*/ 2147483647 w 556"/>
                <a:gd name="T35" fmla="*/ 2147483647 h 819"/>
                <a:gd name="T36" fmla="*/ 2147483647 w 556"/>
                <a:gd name="T37" fmla="*/ 2147483647 h 819"/>
                <a:gd name="T38" fmla="*/ 2147483647 w 556"/>
                <a:gd name="T39" fmla="*/ 2147483647 h 819"/>
                <a:gd name="T40" fmla="*/ 2147483647 w 556"/>
                <a:gd name="T41" fmla="*/ 2147483647 h 819"/>
                <a:gd name="T42" fmla="*/ 2147483647 w 556"/>
                <a:gd name="T43" fmla="*/ 2147483647 h 819"/>
                <a:gd name="T44" fmla="*/ 2147483647 w 556"/>
                <a:gd name="T45" fmla="*/ 2147483647 h 819"/>
                <a:gd name="T46" fmla="*/ 2147483647 w 556"/>
                <a:gd name="T47" fmla="*/ 2147483647 h 819"/>
                <a:gd name="T48" fmla="*/ 2147483647 w 556"/>
                <a:gd name="T49" fmla="*/ 2147483647 h 819"/>
                <a:gd name="T50" fmla="*/ 2147483647 w 556"/>
                <a:gd name="T51" fmla="*/ 2147483647 h 819"/>
                <a:gd name="T52" fmla="*/ 2147483647 w 556"/>
                <a:gd name="T53" fmla="*/ 2147483647 h 819"/>
                <a:gd name="T54" fmla="*/ 2147483647 w 556"/>
                <a:gd name="T55" fmla="*/ 2147483647 h 819"/>
                <a:gd name="T56" fmla="*/ 2147483647 w 556"/>
                <a:gd name="T57" fmla="*/ 2147483647 h 819"/>
                <a:gd name="T58" fmla="*/ 2147483647 w 556"/>
                <a:gd name="T59" fmla="*/ 2147483647 h 819"/>
                <a:gd name="T60" fmla="*/ 2147483647 w 556"/>
                <a:gd name="T61" fmla="*/ 2147483647 h 819"/>
                <a:gd name="T62" fmla="*/ 2147483647 w 556"/>
                <a:gd name="T63" fmla="*/ 2147483647 h 819"/>
                <a:gd name="T64" fmla="*/ 2147483647 w 556"/>
                <a:gd name="T65" fmla="*/ 2147483647 h 819"/>
                <a:gd name="T66" fmla="*/ 2147483647 w 556"/>
                <a:gd name="T67" fmla="*/ 2147483647 h 819"/>
                <a:gd name="T68" fmla="*/ 2147483647 w 556"/>
                <a:gd name="T69" fmla="*/ 2147483647 h 819"/>
                <a:gd name="T70" fmla="*/ 2147483647 w 556"/>
                <a:gd name="T71" fmla="*/ 2147483647 h 819"/>
                <a:gd name="T72" fmla="*/ 2147483647 w 556"/>
                <a:gd name="T73" fmla="*/ 2147483647 h 819"/>
                <a:gd name="T74" fmla="*/ 2147483647 w 556"/>
                <a:gd name="T75" fmla="*/ 2147483647 h 819"/>
                <a:gd name="T76" fmla="*/ 2147483647 w 556"/>
                <a:gd name="T77" fmla="*/ 2147483647 h 819"/>
                <a:gd name="T78" fmla="*/ 2147483647 w 556"/>
                <a:gd name="T79" fmla="*/ 2147483647 h 819"/>
                <a:gd name="T80" fmla="*/ 2147483647 w 556"/>
                <a:gd name="T81" fmla="*/ 2147483647 h 819"/>
                <a:gd name="T82" fmla="*/ 2147483647 w 556"/>
                <a:gd name="T83" fmla="*/ 2147483647 h 819"/>
                <a:gd name="T84" fmla="*/ 2147483647 w 556"/>
                <a:gd name="T85" fmla="*/ 2147483647 h 819"/>
                <a:gd name="T86" fmla="*/ 2147483647 w 556"/>
                <a:gd name="T87" fmla="*/ 2147483647 h 819"/>
                <a:gd name="T88" fmla="*/ 2147483647 w 556"/>
                <a:gd name="T89" fmla="*/ 2147483647 h 819"/>
                <a:gd name="T90" fmla="*/ 2147483647 w 556"/>
                <a:gd name="T91" fmla="*/ 2147483647 h 819"/>
                <a:gd name="T92" fmla="*/ 2147483647 w 556"/>
                <a:gd name="T93" fmla="*/ 2147483647 h 819"/>
                <a:gd name="T94" fmla="*/ 2147483647 w 556"/>
                <a:gd name="T95" fmla="*/ 2147483647 h 819"/>
                <a:gd name="T96" fmla="*/ 2147483647 w 556"/>
                <a:gd name="T97" fmla="*/ 2147483647 h 819"/>
                <a:gd name="T98" fmla="*/ 2147483647 w 556"/>
                <a:gd name="T99" fmla="*/ 2147483647 h 819"/>
                <a:gd name="T100" fmla="*/ 2147483647 w 556"/>
                <a:gd name="T101" fmla="*/ 2147483647 h 819"/>
                <a:gd name="T102" fmla="*/ 2147483647 w 556"/>
                <a:gd name="T103" fmla="*/ 2147483647 h 819"/>
                <a:gd name="T104" fmla="*/ 2147483647 w 556"/>
                <a:gd name="T105" fmla="*/ 2147483647 h 819"/>
                <a:gd name="T106" fmla="*/ 2147483647 w 556"/>
                <a:gd name="T107" fmla="*/ 2147483647 h 819"/>
                <a:gd name="T108" fmla="*/ 2147483647 w 556"/>
                <a:gd name="T109" fmla="*/ 2147483647 h 819"/>
                <a:gd name="T110" fmla="*/ 2147483647 w 556"/>
                <a:gd name="T111" fmla="*/ 2147483647 h 819"/>
                <a:gd name="T112" fmla="*/ 2147483647 w 556"/>
                <a:gd name="T113" fmla="*/ 2147483647 h 819"/>
                <a:gd name="T114" fmla="*/ 2147483647 w 556"/>
                <a:gd name="T115" fmla="*/ 2147483647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56"/>
                <a:gd name="T175" fmla="*/ 0 h 819"/>
                <a:gd name="T176" fmla="*/ 556 w 556"/>
                <a:gd name="T177" fmla="*/ 819 h 81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0" name="Freeform 357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6214051" y="3234037"/>
              <a:ext cx="34714" cy="53581"/>
            </a:xfrm>
            <a:custGeom>
              <a:avLst/>
              <a:gdLst>
                <a:gd name="T0" fmla="*/ 2147483647 w 86"/>
                <a:gd name="T1" fmla="*/ 0 h 97"/>
                <a:gd name="T2" fmla="*/ 2147483647 w 86"/>
                <a:gd name="T3" fmla="*/ 2147483647 h 97"/>
                <a:gd name="T4" fmla="*/ 2147483647 w 86"/>
                <a:gd name="T5" fmla="*/ 2147483647 h 97"/>
                <a:gd name="T6" fmla="*/ 2147483647 w 86"/>
                <a:gd name="T7" fmla="*/ 2147483647 h 97"/>
                <a:gd name="T8" fmla="*/ 2147483647 w 86"/>
                <a:gd name="T9" fmla="*/ 2147483647 h 97"/>
                <a:gd name="T10" fmla="*/ 2147483647 w 86"/>
                <a:gd name="T11" fmla="*/ 2147483647 h 97"/>
                <a:gd name="T12" fmla="*/ 2147483647 w 86"/>
                <a:gd name="T13" fmla="*/ 2147483647 h 97"/>
                <a:gd name="T14" fmla="*/ 2147483647 w 86"/>
                <a:gd name="T15" fmla="*/ 2147483647 h 97"/>
                <a:gd name="T16" fmla="*/ 2147483647 w 86"/>
                <a:gd name="T17" fmla="*/ 2147483647 h 97"/>
                <a:gd name="T18" fmla="*/ 2147483647 w 86"/>
                <a:gd name="T19" fmla="*/ 2147483647 h 97"/>
                <a:gd name="T20" fmla="*/ 2147483647 w 86"/>
                <a:gd name="T21" fmla="*/ 2147483647 h 97"/>
                <a:gd name="T22" fmla="*/ 2147483647 w 86"/>
                <a:gd name="T23" fmla="*/ 2147483647 h 97"/>
                <a:gd name="T24" fmla="*/ 2147483647 w 86"/>
                <a:gd name="T25" fmla="*/ 2147483647 h 97"/>
                <a:gd name="T26" fmla="*/ 2147483647 w 86"/>
                <a:gd name="T27" fmla="*/ 2147483647 h 97"/>
                <a:gd name="T28" fmla="*/ 2147483647 w 86"/>
                <a:gd name="T29" fmla="*/ 2147483647 h 97"/>
                <a:gd name="T30" fmla="*/ 0 w 86"/>
                <a:gd name="T31" fmla="*/ 2147483647 h 97"/>
                <a:gd name="T32" fmla="*/ 0 w 86"/>
                <a:gd name="T33" fmla="*/ 2147483647 h 97"/>
                <a:gd name="T34" fmla="*/ 0 w 86"/>
                <a:gd name="T35" fmla="*/ 2147483647 h 97"/>
                <a:gd name="T36" fmla="*/ 2147483647 w 86"/>
                <a:gd name="T37" fmla="*/ 2147483647 h 97"/>
                <a:gd name="T38" fmla="*/ 2147483647 w 86"/>
                <a:gd name="T39" fmla="*/ 2147483647 h 97"/>
                <a:gd name="T40" fmla="*/ 2147483647 w 86"/>
                <a:gd name="T41" fmla="*/ 2147483647 h 97"/>
                <a:gd name="T42" fmla="*/ 2147483647 w 86"/>
                <a:gd name="T43" fmla="*/ 2147483647 h 97"/>
                <a:gd name="T44" fmla="*/ 2147483647 w 86"/>
                <a:gd name="T45" fmla="*/ 2147483647 h 97"/>
                <a:gd name="T46" fmla="*/ 2147483647 w 86"/>
                <a:gd name="T47" fmla="*/ 2147483647 h 97"/>
                <a:gd name="T48" fmla="*/ 2147483647 w 86"/>
                <a:gd name="T49" fmla="*/ 2147483647 h 97"/>
                <a:gd name="T50" fmla="*/ 2147483647 w 86"/>
                <a:gd name="T51" fmla="*/ 2147483647 h 97"/>
                <a:gd name="T52" fmla="*/ 2147483647 w 86"/>
                <a:gd name="T53" fmla="*/ 2147483647 h 97"/>
                <a:gd name="T54" fmla="*/ 2147483647 w 86"/>
                <a:gd name="T55" fmla="*/ 2147483647 h 97"/>
                <a:gd name="T56" fmla="*/ 2147483647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6"/>
                <a:gd name="T88" fmla="*/ 0 h 97"/>
                <a:gd name="T89" fmla="*/ 86 w 86"/>
                <a:gd name="T90" fmla="*/ 97 h 9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2" name="Line 359"/>
            <p:cNvSpPr>
              <a:spLocks noChangeShapeType="1"/>
            </p:cNvSpPr>
            <p:nvPr>
              <p:custDataLst>
                <p:tags r:id="rId264"/>
              </p:custDataLst>
            </p:nvPr>
          </p:nvSpPr>
          <p:spPr bwMode="auto">
            <a:xfrm flipH="1">
              <a:off x="3169318" y="3626486"/>
              <a:ext cx="4340" cy="7241"/>
            </a:xfrm>
            <a:prstGeom prst="line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3" name="Freeform 360"/>
            <p:cNvSpPr>
              <a:spLocks/>
            </p:cNvSpPr>
            <p:nvPr>
              <p:custDataLst>
                <p:tags r:id="rId265"/>
              </p:custDataLst>
            </p:nvPr>
          </p:nvSpPr>
          <p:spPr bwMode="auto">
            <a:xfrm>
              <a:off x="3169318" y="3633727"/>
              <a:ext cx="11571" cy="53581"/>
            </a:xfrm>
            <a:custGeom>
              <a:avLst/>
              <a:gdLst>
                <a:gd name="T0" fmla="*/ 0 w 33"/>
                <a:gd name="T1" fmla="*/ 0 h 6"/>
                <a:gd name="T2" fmla="*/ 2147483647 w 33"/>
                <a:gd name="T3" fmla="*/ 2147483647 h 6"/>
                <a:gd name="T4" fmla="*/ 2147483647 w 33"/>
                <a:gd name="T5" fmla="*/ 2147483647 h 6"/>
                <a:gd name="T6" fmla="*/ 2147483647 w 33"/>
                <a:gd name="T7" fmla="*/ 2147483647 h 6"/>
                <a:gd name="T8" fmla="*/ 2147483647 w 3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"/>
                <a:gd name="T16" fmla="*/ 0 h 6"/>
                <a:gd name="T17" fmla="*/ 33 w 33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4" name="Freeform 361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3176551" y="3622142"/>
              <a:ext cx="4339" cy="52134"/>
            </a:xfrm>
            <a:custGeom>
              <a:avLst/>
              <a:gdLst>
                <a:gd name="T0" fmla="*/ 2147483647 w 13"/>
                <a:gd name="T1" fmla="*/ 2147483647 h 30"/>
                <a:gd name="T2" fmla="*/ 2147483647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  <a:gd name="T9" fmla="*/ 0 w 13"/>
                <a:gd name="T10" fmla="*/ 0 h 30"/>
                <a:gd name="T11" fmla="*/ 13 w 13"/>
                <a:gd name="T12" fmla="*/ 30 h 3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6" name="Freeform 363"/>
            <p:cNvSpPr>
              <a:spLocks/>
            </p:cNvSpPr>
            <p:nvPr/>
          </p:nvSpPr>
          <p:spPr bwMode="auto">
            <a:xfrm>
              <a:off x="3411509" y="3562767"/>
              <a:ext cx="138220" cy="183916"/>
            </a:xfrm>
            <a:custGeom>
              <a:avLst/>
              <a:gdLst>
                <a:gd name="T0" fmla="*/ 100 w 352"/>
                <a:gd name="T1" fmla="*/ 26 h 387"/>
                <a:gd name="T2" fmla="*/ 92 w 352"/>
                <a:gd name="T3" fmla="*/ 26 h 387"/>
                <a:gd name="T4" fmla="*/ 85 w 352"/>
                <a:gd name="T5" fmla="*/ 26 h 387"/>
                <a:gd name="T6" fmla="*/ 80 w 352"/>
                <a:gd name="T7" fmla="*/ 24 h 387"/>
                <a:gd name="T8" fmla="*/ 71 w 352"/>
                <a:gd name="T9" fmla="*/ 19 h 387"/>
                <a:gd name="T10" fmla="*/ 54 w 352"/>
                <a:gd name="T11" fmla="*/ 7 h 387"/>
                <a:gd name="T12" fmla="*/ 44 w 352"/>
                <a:gd name="T13" fmla="*/ 2 h 387"/>
                <a:gd name="T14" fmla="*/ 41 w 352"/>
                <a:gd name="T15" fmla="*/ 6 h 387"/>
                <a:gd name="T16" fmla="*/ 38 w 352"/>
                <a:gd name="T17" fmla="*/ 10 h 387"/>
                <a:gd name="T18" fmla="*/ 34 w 352"/>
                <a:gd name="T19" fmla="*/ 11 h 387"/>
                <a:gd name="T20" fmla="*/ 28 w 352"/>
                <a:gd name="T21" fmla="*/ 18 h 387"/>
                <a:gd name="T22" fmla="*/ 17 w 352"/>
                <a:gd name="T23" fmla="*/ 32 h 387"/>
                <a:gd name="T24" fmla="*/ 10 w 352"/>
                <a:gd name="T25" fmla="*/ 43 h 387"/>
                <a:gd name="T26" fmla="*/ 5 w 352"/>
                <a:gd name="T27" fmla="*/ 51 h 387"/>
                <a:gd name="T28" fmla="*/ 2 w 352"/>
                <a:gd name="T29" fmla="*/ 58 h 387"/>
                <a:gd name="T30" fmla="*/ 0 w 352"/>
                <a:gd name="T31" fmla="*/ 65 h 387"/>
                <a:gd name="T32" fmla="*/ 0 w 352"/>
                <a:gd name="T33" fmla="*/ 70 h 387"/>
                <a:gd name="T34" fmla="*/ 1 w 352"/>
                <a:gd name="T35" fmla="*/ 73 h 387"/>
                <a:gd name="T36" fmla="*/ 3 w 352"/>
                <a:gd name="T37" fmla="*/ 76 h 387"/>
                <a:gd name="T38" fmla="*/ 8 w 352"/>
                <a:gd name="T39" fmla="*/ 79 h 387"/>
                <a:gd name="T40" fmla="*/ 13 w 352"/>
                <a:gd name="T41" fmla="*/ 80 h 387"/>
                <a:gd name="T42" fmla="*/ 17 w 352"/>
                <a:gd name="T43" fmla="*/ 80 h 387"/>
                <a:gd name="T44" fmla="*/ 20 w 352"/>
                <a:gd name="T45" fmla="*/ 79 h 387"/>
                <a:gd name="T46" fmla="*/ 23 w 352"/>
                <a:gd name="T47" fmla="*/ 77 h 387"/>
                <a:gd name="T48" fmla="*/ 25 w 352"/>
                <a:gd name="T49" fmla="*/ 77 h 387"/>
                <a:gd name="T50" fmla="*/ 26 w 352"/>
                <a:gd name="T51" fmla="*/ 78 h 387"/>
                <a:gd name="T52" fmla="*/ 26 w 352"/>
                <a:gd name="T53" fmla="*/ 84 h 387"/>
                <a:gd name="T54" fmla="*/ 24 w 352"/>
                <a:gd name="T55" fmla="*/ 92 h 387"/>
                <a:gd name="T56" fmla="*/ 23 w 352"/>
                <a:gd name="T57" fmla="*/ 95 h 387"/>
                <a:gd name="T58" fmla="*/ 23 w 352"/>
                <a:gd name="T59" fmla="*/ 101 h 387"/>
                <a:gd name="T60" fmla="*/ 26 w 352"/>
                <a:gd name="T61" fmla="*/ 109 h 387"/>
                <a:gd name="T62" fmla="*/ 29 w 352"/>
                <a:gd name="T63" fmla="*/ 115 h 387"/>
                <a:gd name="T64" fmla="*/ 39 w 352"/>
                <a:gd name="T65" fmla="*/ 122 h 387"/>
                <a:gd name="T66" fmla="*/ 46 w 352"/>
                <a:gd name="T67" fmla="*/ 126 h 387"/>
                <a:gd name="T68" fmla="*/ 49 w 352"/>
                <a:gd name="T69" fmla="*/ 127 h 387"/>
                <a:gd name="T70" fmla="*/ 52 w 352"/>
                <a:gd name="T71" fmla="*/ 124 h 387"/>
                <a:gd name="T72" fmla="*/ 56 w 352"/>
                <a:gd name="T73" fmla="*/ 119 h 387"/>
                <a:gd name="T74" fmla="*/ 57 w 352"/>
                <a:gd name="T75" fmla="*/ 115 h 387"/>
                <a:gd name="T76" fmla="*/ 58 w 352"/>
                <a:gd name="T77" fmla="*/ 111 h 387"/>
                <a:gd name="T78" fmla="*/ 59 w 352"/>
                <a:gd name="T79" fmla="*/ 106 h 387"/>
                <a:gd name="T80" fmla="*/ 63 w 352"/>
                <a:gd name="T81" fmla="*/ 100 h 387"/>
                <a:gd name="T82" fmla="*/ 69 w 352"/>
                <a:gd name="T83" fmla="*/ 92 h 387"/>
                <a:gd name="T84" fmla="*/ 76 w 352"/>
                <a:gd name="T85" fmla="*/ 86 h 387"/>
                <a:gd name="T86" fmla="*/ 85 w 352"/>
                <a:gd name="T87" fmla="*/ 82 h 387"/>
                <a:gd name="T88" fmla="*/ 96 w 352"/>
                <a:gd name="T89" fmla="*/ 75 h 387"/>
                <a:gd name="T90" fmla="*/ 104 w 352"/>
                <a:gd name="T91" fmla="*/ 70 h 387"/>
                <a:gd name="T92" fmla="*/ 109 w 352"/>
                <a:gd name="T93" fmla="*/ 65 h 387"/>
                <a:gd name="T94" fmla="*/ 111 w 352"/>
                <a:gd name="T95" fmla="*/ 61 h 387"/>
                <a:gd name="T96" fmla="*/ 113 w 352"/>
                <a:gd name="T97" fmla="*/ 55 h 387"/>
                <a:gd name="T98" fmla="*/ 113 w 352"/>
                <a:gd name="T99" fmla="*/ 49 h 387"/>
                <a:gd name="T100" fmla="*/ 110 w 352"/>
                <a:gd name="T101" fmla="*/ 41 h 387"/>
                <a:gd name="T102" fmla="*/ 106 w 352"/>
                <a:gd name="T103" fmla="*/ 30 h 38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52"/>
                <a:gd name="T157" fmla="*/ 0 h 387"/>
                <a:gd name="T158" fmla="*/ 352 w 352"/>
                <a:gd name="T159" fmla="*/ 387 h 38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7" name="Freeform 364"/>
            <p:cNvSpPr>
              <a:spLocks/>
            </p:cNvSpPr>
            <p:nvPr/>
          </p:nvSpPr>
          <p:spPr bwMode="auto">
            <a:xfrm>
              <a:off x="3182773" y="3614901"/>
              <a:ext cx="20794" cy="37652"/>
            </a:xfrm>
            <a:custGeom>
              <a:avLst/>
              <a:gdLst>
                <a:gd name="T0" fmla="*/ 5 w 52"/>
                <a:gd name="T1" fmla="*/ 0 h 78"/>
                <a:gd name="T2" fmla="*/ 7 w 52"/>
                <a:gd name="T3" fmla="*/ 0 h 78"/>
                <a:gd name="T4" fmla="*/ 8 w 52"/>
                <a:gd name="T5" fmla="*/ 1 h 78"/>
                <a:gd name="T6" fmla="*/ 10 w 52"/>
                <a:gd name="T7" fmla="*/ 2 h 78"/>
                <a:gd name="T8" fmla="*/ 12 w 52"/>
                <a:gd name="T9" fmla="*/ 3 h 78"/>
                <a:gd name="T10" fmla="*/ 13 w 52"/>
                <a:gd name="T11" fmla="*/ 4 h 78"/>
                <a:gd name="T12" fmla="*/ 15 w 52"/>
                <a:gd name="T13" fmla="*/ 6 h 78"/>
                <a:gd name="T14" fmla="*/ 15 w 52"/>
                <a:gd name="T15" fmla="*/ 7 h 78"/>
                <a:gd name="T16" fmla="*/ 16 w 52"/>
                <a:gd name="T17" fmla="*/ 8 h 78"/>
                <a:gd name="T18" fmla="*/ 17 w 52"/>
                <a:gd name="T19" fmla="*/ 11 h 78"/>
                <a:gd name="T20" fmla="*/ 17 w 52"/>
                <a:gd name="T21" fmla="*/ 14 h 78"/>
                <a:gd name="T22" fmla="*/ 17 w 52"/>
                <a:gd name="T23" fmla="*/ 15 h 78"/>
                <a:gd name="T24" fmla="*/ 16 w 52"/>
                <a:gd name="T25" fmla="*/ 17 h 78"/>
                <a:gd name="T26" fmla="*/ 15 w 52"/>
                <a:gd name="T27" fmla="*/ 18 h 78"/>
                <a:gd name="T28" fmla="*/ 14 w 52"/>
                <a:gd name="T29" fmla="*/ 20 h 78"/>
                <a:gd name="T30" fmla="*/ 13 w 52"/>
                <a:gd name="T31" fmla="*/ 22 h 78"/>
                <a:gd name="T32" fmla="*/ 13 w 52"/>
                <a:gd name="T33" fmla="*/ 24 h 78"/>
                <a:gd name="T34" fmla="*/ 9 w 52"/>
                <a:gd name="T35" fmla="*/ 25 h 78"/>
                <a:gd name="T36" fmla="*/ 5 w 52"/>
                <a:gd name="T37" fmla="*/ 26 h 78"/>
                <a:gd name="T38" fmla="*/ 4 w 52"/>
                <a:gd name="T39" fmla="*/ 26 h 78"/>
                <a:gd name="T40" fmla="*/ 2 w 52"/>
                <a:gd name="T41" fmla="*/ 26 h 78"/>
                <a:gd name="T42" fmla="*/ 1 w 52"/>
                <a:gd name="T43" fmla="*/ 26 h 78"/>
                <a:gd name="T44" fmla="*/ 1 w 52"/>
                <a:gd name="T45" fmla="*/ 26 h 78"/>
                <a:gd name="T46" fmla="*/ 1 w 52"/>
                <a:gd name="T47" fmla="*/ 25 h 78"/>
                <a:gd name="T48" fmla="*/ 0 w 52"/>
                <a:gd name="T49" fmla="*/ 24 h 78"/>
                <a:gd name="T50" fmla="*/ 0 w 52"/>
                <a:gd name="T51" fmla="*/ 23 h 78"/>
                <a:gd name="T52" fmla="*/ 0 w 52"/>
                <a:gd name="T53" fmla="*/ 21 h 78"/>
                <a:gd name="T54" fmla="*/ 1 w 52"/>
                <a:gd name="T55" fmla="*/ 20 h 78"/>
                <a:gd name="T56" fmla="*/ 2 w 52"/>
                <a:gd name="T57" fmla="*/ 19 h 78"/>
                <a:gd name="T58" fmla="*/ 6 w 52"/>
                <a:gd name="T59" fmla="*/ 16 h 78"/>
                <a:gd name="T60" fmla="*/ 9 w 52"/>
                <a:gd name="T61" fmla="*/ 14 h 78"/>
                <a:gd name="T62" fmla="*/ 8 w 52"/>
                <a:gd name="T63" fmla="*/ 11 h 78"/>
                <a:gd name="T64" fmla="*/ 7 w 52"/>
                <a:gd name="T65" fmla="*/ 7 h 78"/>
                <a:gd name="T66" fmla="*/ 6 w 52"/>
                <a:gd name="T67" fmla="*/ 3 h 78"/>
                <a:gd name="T68" fmla="*/ 5 w 52"/>
                <a:gd name="T69" fmla="*/ 0 h 7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52"/>
                <a:gd name="T106" fmla="*/ 0 h 78"/>
                <a:gd name="T107" fmla="*/ 52 w 52"/>
                <a:gd name="T108" fmla="*/ 78 h 7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8" name="Freeform 365"/>
            <p:cNvSpPr>
              <a:spLocks/>
            </p:cNvSpPr>
            <p:nvPr/>
          </p:nvSpPr>
          <p:spPr bwMode="auto">
            <a:xfrm>
              <a:off x="3169318" y="3620693"/>
              <a:ext cx="11009" cy="14482"/>
            </a:xfrm>
            <a:custGeom>
              <a:avLst/>
              <a:gdLst>
                <a:gd name="T0" fmla="*/ 4 w 33"/>
                <a:gd name="T1" fmla="*/ 2 h 30"/>
                <a:gd name="T2" fmla="*/ 0 w 33"/>
                <a:gd name="T3" fmla="*/ 8 h 30"/>
                <a:gd name="T4" fmla="*/ 2 w 33"/>
                <a:gd name="T5" fmla="*/ 8 h 30"/>
                <a:gd name="T6" fmla="*/ 4 w 33"/>
                <a:gd name="T7" fmla="*/ 9 h 30"/>
                <a:gd name="T8" fmla="*/ 6 w 33"/>
                <a:gd name="T9" fmla="*/ 10 h 30"/>
                <a:gd name="T10" fmla="*/ 9 w 33"/>
                <a:gd name="T11" fmla="*/ 10 h 30"/>
                <a:gd name="T12" fmla="*/ 9 w 33"/>
                <a:gd name="T13" fmla="*/ 0 h 30"/>
                <a:gd name="T14" fmla="*/ 5 w 33"/>
                <a:gd name="T15" fmla="*/ 0 h 30"/>
                <a:gd name="T16" fmla="*/ 4 w 33"/>
                <a:gd name="T17" fmla="*/ 2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30"/>
                <a:gd name="T29" fmla="*/ 33 w 33"/>
                <a:gd name="T30" fmla="*/ 30 h 3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9" name="Freeform 366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6493211" y="4217333"/>
              <a:ext cx="17357" cy="53582"/>
            </a:xfrm>
            <a:custGeom>
              <a:avLst/>
              <a:gdLst>
                <a:gd name="T0" fmla="*/ 2147483647 w 47"/>
                <a:gd name="T1" fmla="*/ 0 h 28"/>
                <a:gd name="T2" fmla="*/ 2147483647 w 47"/>
                <a:gd name="T3" fmla="*/ 0 h 28"/>
                <a:gd name="T4" fmla="*/ 2147483647 w 47"/>
                <a:gd name="T5" fmla="*/ 2147483647 h 28"/>
                <a:gd name="T6" fmla="*/ 2147483647 w 47"/>
                <a:gd name="T7" fmla="*/ 2147483647 h 28"/>
                <a:gd name="T8" fmla="*/ 2147483647 w 47"/>
                <a:gd name="T9" fmla="*/ 2147483647 h 28"/>
                <a:gd name="T10" fmla="*/ 2147483647 w 47"/>
                <a:gd name="T11" fmla="*/ 2147483647 h 28"/>
                <a:gd name="T12" fmla="*/ 2147483647 w 47"/>
                <a:gd name="T13" fmla="*/ 2147483647 h 28"/>
                <a:gd name="T14" fmla="*/ 2147483647 w 47"/>
                <a:gd name="T15" fmla="*/ 2147483647 h 28"/>
                <a:gd name="T16" fmla="*/ 2147483647 w 47"/>
                <a:gd name="T17" fmla="*/ 2147483647 h 28"/>
                <a:gd name="T18" fmla="*/ 2147483647 w 47"/>
                <a:gd name="T19" fmla="*/ 2147483647 h 28"/>
                <a:gd name="T20" fmla="*/ 2147483647 w 47"/>
                <a:gd name="T21" fmla="*/ 2147483647 h 28"/>
                <a:gd name="T22" fmla="*/ 2147483647 w 47"/>
                <a:gd name="T23" fmla="*/ 2147483647 h 28"/>
                <a:gd name="T24" fmla="*/ 2147483647 w 47"/>
                <a:gd name="T25" fmla="*/ 2147483647 h 28"/>
                <a:gd name="T26" fmla="*/ 2147483647 w 47"/>
                <a:gd name="T27" fmla="*/ 2147483647 h 28"/>
                <a:gd name="T28" fmla="*/ 0 w 47"/>
                <a:gd name="T29" fmla="*/ 2147483647 h 28"/>
                <a:gd name="T30" fmla="*/ 2147483647 w 47"/>
                <a:gd name="T31" fmla="*/ 2147483647 h 28"/>
                <a:gd name="T32" fmla="*/ 2147483647 w 47"/>
                <a:gd name="T33" fmla="*/ 2147483647 h 28"/>
                <a:gd name="T34" fmla="*/ 2147483647 w 47"/>
                <a:gd name="T35" fmla="*/ 2147483647 h 28"/>
                <a:gd name="T36" fmla="*/ 2147483647 w 47"/>
                <a:gd name="T37" fmla="*/ 2147483647 h 28"/>
                <a:gd name="T38" fmla="*/ 2147483647 w 47"/>
                <a:gd name="T39" fmla="*/ 2147483647 h 28"/>
                <a:gd name="T40" fmla="*/ 2147483647 w 47"/>
                <a:gd name="T41" fmla="*/ 2147483647 h 28"/>
                <a:gd name="T42" fmla="*/ 2147483647 w 47"/>
                <a:gd name="T43" fmla="*/ 2147483647 h 28"/>
                <a:gd name="T44" fmla="*/ 2147483647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7"/>
                <a:gd name="T70" fmla="*/ 0 h 28"/>
                <a:gd name="T71" fmla="*/ 47 w 47"/>
                <a:gd name="T72" fmla="*/ 28 h 2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0" name="Freeform 367"/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6467175" y="4241952"/>
              <a:ext cx="21697" cy="52134"/>
            </a:xfrm>
            <a:custGeom>
              <a:avLst/>
              <a:gdLst>
                <a:gd name="T0" fmla="*/ 2147483647 w 53"/>
                <a:gd name="T1" fmla="*/ 0 h 33"/>
                <a:gd name="T2" fmla="*/ 2147483647 w 53"/>
                <a:gd name="T3" fmla="*/ 2147483647 h 33"/>
                <a:gd name="T4" fmla="*/ 2147483647 w 53"/>
                <a:gd name="T5" fmla="*/ 2147483647 h 33"/>
                <a:gd name="T6" fmla="*/ 2147483647 w 53"/>
                <a:gd name="T7" fmla="*/ 2147483647 h 33"/>
                <a:gd name="T8" fmla="*/ 2147483647 w 53"/>
                <a:gd name="T9" fmla="*/ 2147483647 h 33"/>
                <a:gd name="T10" fmla="*/ 2147483647 w 53"/>
                <a:gd name="T11" fmla="*/ 2147483647 h 33"/>
                <a:gd name="T12" fmla="*/ 2147483647 w 53"/>
                <a:gd name="T13" fmla="*/ 2147483647 h 33"/>
                <a:gd name="T14" fmla="*/ 2147483647 w 53"/>
                <a:gd name="T15" fmla="*/ 2147483647 h 33"/>
                <a:gd name="T16" fmla="*/ 2147483647 w 53"/>
                <a:gd name="T17" fmla="*/ 2147483647 h 33"/>
                <a:gd name="T18" fmla="*/ 2147483647 w 53"/>
                <a:gd name="T19" fmla="*/ 2147483647 h 33"/>
                <a:gd name="T20" fmla="*/ 2147483647 w 53"/>
                <a:gd name="T21" fmla="*/ 2147483647 h 33"/>
                <a:gd name="T22" fmla="*/ 2147483647 w 53"/>
                <a:gd name="T23" fmla="*/ 2147483647 h 33"/>
                <a:gd name="T24" fmla="*/ 2147483647 w 53"/>
                <a:gd name="T25" fmla="*/ 2147483647 h 33"/>
                <a:gd name="T26" fmla="*/ 2147483647 w 53"/>
                <a:gd name="T27" fmla="*/ 2147483647 h 33"/>
                <a:gd name="T28" fmla="*/ 2147483647 w 53"/>
                <a:gd name="T29" fmla="*/ 2147483647 h 33"/>
                <a:gd name="T30" fmla="*/ 2147483647 w 53"/>
                <a:gd name="T31" fmla="*/ 2147483647 h 33"/>
                <a:gd name="T32" fmla="*/ 0 w 53"/>
                <a:gd name="T33" fmla="*/ 2147483647 h 33"/>
                <a:gd name="T34" fmla="*/ 0 w 53"/>
                <a:gd name="T35" fmla="*/ 2147483647 h 33"/>
                <a:gd name="T36" fmla="*/ 2147483647 w 53"/>
                <a:gd name="T37" fmla="*/ 2147483647 h 33"/>
                <a:gd name="T38" fmla="*/ 2147483647 w 53"/>
                <a:gd name="T39" fmla="*/ 2147483647 h 33"/>
                <a:gd name="T40" fmla="*/ 2147483647 w 53"/>
                <a:gd name="T41" fmla="*/ 2147483647 h 33"/>
                <a:gd name="T42" fmla="*/ 2147483647 w 53"/>
                <a:gd name="T43" fmla="*/ 2147483647 h 33"/>
                <a:gd name="T44" fmla="*/ 2147483647 w 53"/>
                <a:gd name="T45" fmla="*/ 2147483647 h 33"/>
                <a:gd name="T46" fmla="*/ 2147483647 w 53"/>
                <a:gd name="T47" fmla="*/ 2147483647 h 33"/>
                <a:gd name="T48" fmla="*/ 2147483647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3"/>
                <a:gd name="T76" fmla="*/ 0 h 33"/>
                <a:gd name="T77" fmla="*/ 53 w 53"/>
                <a:gd name="T78" fmla="*/ 33 h 3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2" name="Freeform 369"/>
            <p:cNvSpPr>
              <a:spLocks/>
            </p:cNvSpPr>
            <p:nvPr/>
          </p:nvSpPr>
          <p:spPr bwMode="auto">
            <a:xfrm>
              <a:off x="6447642" y="3814747"/>
              <a:ext cx="6133" cy="8689"/>
            </a:xfrm>
            <a:custGeom>
              <a:avLst/>
              <a:gdLst>
                <a:gd name="T0" fmla="*/ 0 w 13"/>
                <a:gd name="T1" fmla="*/ 0 h 18"/>
                <a:gd name="T2" fmla="*/ 0 w 13"/>
                <a:gd name="T3" fmla="*/ 0 h 18"/>
                <a:gd name="T4" fmla="*/ 0 w 13"/>
                <a:gd name="T5" fmla="*/ 0 h 18"/>
                <a:gd name="T6" fmla="*/ 0 w 13"/>
                <a:gd name="T7" fmla="*/ 0 h 18"/>
                <a:gd name="T8" fmla="*/ 0 w 13"/>
                <a:gd name="T9" fmla="*/ 0 h 18"/>
                <a:gd name="T10" fmla="*/ 0 w 13"/>
                <a:gd name="T11" fmla="*/ 0 h 18"/>
                <a:gd name="T12" fmla="*/ 0 w 13"/>
                <a:gd name="T13" fmla="*/ 0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18"/>
                <a:gd name="T23" fmla="*/ 13 w 13"/>
                <a:gd name="T24" fmla="*/ 18 h 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3" name="Line 370"/>
            <p:cNvSpPr>
              <a:spLocks noChangeShapeType="1"/>
            </p:cNvSpPr>
            <p:nvPr/>
          </p:nvSpPr>
          <p:spPr bwMode="auto">
            <a:xfrm>
              <a:off x="6447642" y="3817643"/>
              <a:ext cx="2453" cy="1448"/>
            </a:xfrm>
            <a:prstGeom prst="line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4" name="Freeform 371"/>
            <p:cNvSpPr>
              <a:spLocks/>
            </p:cNvSpPr>
            <p:nvPr/>
          </p:nvSpPr>
          <p:spPr bwMode="auto">
            <a:xfrm>
              <a:off x="6412071" y="3845158"/>
              <a:ext cx="6133" cy="8689"/>
            </a:xfrm>
            <a:custGeom>
              <a:avLst/>
              <a:gdLst>
                <a:gd name="T0" fmla="*/ 0 w 14"/>
                <a:gd name="T1" fmla="*/ 0 h 19"/>
                <a:gd name="T2" fmla="*/ 0 w 14"/>
                <a:gd name="T3" fmla="*/ 0 h 19"/>
                <a:gd name="T4" fmla="*/ 0 w 14"/>
                <a:gd name="T5" fmla="*/ 0 h 19"/>
                <a:gd name="T6" fmla="*/ 0 60000 65536"/>
                <a:gd name="T7" fmla="*/ 0 60000 65536"/>
                <a:gd name="T8" fmla="*/ 0 60000 65536"/>
                <a:gd name="T9" fmla="*/ 0 w 14"/>
                <a:gd name="T10" fmla="*/ 0 h 19"/>
                <a:gd name="T11" fmla="*/ 14 w 14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5" name="Freeform 372"/>
            <p:cNvSpPr>
              <a:spLocks/>
            </p:cNvSpPr>
            <p:nvPr/>
          </p:nvSpPr>
          <p:spPr bwMode="auto">
            <a:xfrm>
              <a:off x="6380181" y="3863984"/>
              <a:ext cx="2453" cy="8689"/>
            </a:xfrm>
            <a:custGeom>
              <a:avLst/>
              <a:gdLst>
                <a:gd name="T0" fmla="*/ 0 w 7"/>
                <a:gd name="T1" fmla="*/ 0 h 18"/>
                <a:gd name="T2" fmla="*/ 0 w 7"/>
                <a:gd name="T3" fmla="*/ 0 h 18"/>
                <a:gd name="T4" fmla="*/ 0 w 7"/>
                <a:gd name="T5" fmla="*/ 0 h 18"/>
                <a:gd name="T6" fmla="*/ 0 w 7"/>
                <a:gd name="T7" fmla="*/ 0 h 18"/>
                <a:gd name="T8" fmla="*/ 0 w 7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18"/>
                <a:gd name="T17" fmla="*/ 7 w 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92D05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6" name="Freeform 373"/>
            <p:cNvSpPr>
              <a:spLocks/>
            </p:cNvSpPr>
            <p:nvPr/>
          </p:nvSpPr>
          <p:spPr bwMode="auto">
            <a:xfrm>
              <a:off x="6467267" y="3778543"/>
              <a:ext cx="8586" cy="5793"/>
            </a:xfrm>
            <a:custGeom>
              <a:avLst/>
              <a:gdLst>
                <a:gd name="T0" fmla="*/ 0 w 20"/>
                <a:gd name="T1" fmla="*/ 0 h 12"/>
                <a:gd name="T2" fmla="*/ 0 w 20"/>
                <a:gd name="T3" fmla="*/ 0 h 12"/>
                <a:gd name="T4" fmla="*/ 0 w 20"/>
                <a:gd name="T5" fmla="*/ 0 h 12"/>
                <a:gd name="T6" fmla="*/ 0 w 20"/>
                <a:gd name="T7" fmla="*/ 0 h 12"/>
                <a:gd name="T8" fmla="*/ 0 w 20"/>
                <a:gd name="T9" fmla="*/ 0 h 12"/>
                <a:gd name="T10" fmla="*/ 0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12"/>
                <a:gd name="T23" fmla="*/ 20 w 20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7" name="Line 374"/>
            <p:cNvSpPr>
              <a:spLocks noChangeShapeType="1"/>
            </p:cNvSpPr>
            <p:nvPr/>
          </p:nvSpPr>
          <p:spPr bwMode="auto">
            <a:xfrm>
              <a:off x="6472173" y="3778543"/>
              <a:ext cx="1227" cy="2896"/>
            </a:xfrm>
            <a:prstGeom prst="line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8" name="Freeform 375"/>
            <p:cNvSpPr>
              <a:spLocks/>
            </p:cNvSpPr>
            <p:nvPr/>
          </p:nvSpPr>
          <p:spPr bwMode="auto">
            <a:xfrm>
              <a:off x="6322532" y="3858191"/>
              <a:ext cx="8586" cy="8689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0 h 18"/>
                <a:gd name="T4" fmla="*/ 0 w 20"/>
                <a:gd name="T5" fmla="*/ 0 h 18"/>
                <a:gd name="T6" fmla="*/ 0 60000 65536"/>
                <a:gd name="T7" fmla="*/ 0 60000 65536"/>
                <a:gd name="T8" fmla="*/ 0 60000 65536"/>
                <a:gd name="T9" fmla="*/ 0 w 20"/>
                <a:gd name="T10" fmla="*/ 0 h 18"/>
                <a:gd name="T11" fmla="*/ 20 w 20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solidFill>
              <a:srgbClr val="92D05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9" name="Freeform 376"/>
            <p:cNvSpPr>
              <a:spLocks/>
            </p:cNvSpPr>
            <p:nvPr/>
          </p:nvSpPr>
          <p:spPr bwMode="auto">
            <a:xfrm>
              <a:off x="6327438" y="3861088"/>
              <a:ext cx="3680" cy="5793"/>
            </a:xfrm>
            <a:custGeom>
              <a:avLst/>
              <a:gdLst>
                <a:gd name="T0" fmla="*/ 0 w 7"/>
                <a:gd name="T1" fmla="*/ 0 h 12"/>
                <a:gd name="T2" fmla="*/ 0 w 7"/>
                <a:gd name="T3" fmla="*/ 0 h 12"/>
                <a:gd name="T4" fmla="*/ 0 w 7"/>
                <a:gd name="T5" fmla="*/ 0 h 12"/>
                <a:gd name="T6" fmla="*/ 0 60000 65536"/>
                <a:gd name="T7" fmla="*/ 0 60000 65536"/>
                <a:gd name="T8" fmla="*/ 0 60000 65536"/>
                <a:gd name="T9" fmla="*/ 0 w 7"/>
                <a:gd name="T10" fmla="*/ 0 h 12"/>
                <a:gd name="T11" fmla="*/ 7 w 7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0" name="Freeform 377"/>
            <p:cNvSpPr>
              <a:spLocks/>
            </p:cNvSpPr>
            <p:nvPr/>
          </p:nvSpPr>
          <p:spPr bwMode="auto">
            <a:xfrm>
              <a:off x="6322532" y="3858191"/>
              <a:ext cx="8586" cy="8689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0 h 18"/>
                <a:gd name="T4" fmla="*/ 0 w 20"/>
                <a:gd name="T5" fmla="*/ 0 h 18"/>
                <a:gd name="T6" fmla="*/ 0 w 20"/>
                <a:gd name="T7" fmla="*/ 0 h 18"/>
                <a:gd name="T8" fmla="*/ 0 w 20"/>
                <a:gd name="T9" fmla="*/ 0 h 18"/>
                <a:gd name="T10" fmla="*/ 0 w 20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18"/>
                <a:gd name="T20" fmla="*/ 20 w 2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1" name="Freeform 378"/>
            <p:cNvSpPr>
              <a:spLocks/>
            </p:cNvSpPr>
            <p:nvPr/>
          </p:nvSpPr>
          <p:spPr bwMode="auto">
            <a:xfrm>
              <a:off x="6380181" y="3863984"/>
              <a:ext cx="2453" cy="8689"/>
            </a:xfrm>
            <a:custGeom>
              <a:avLst/>
              <a:gdLst>
                <a:gd name="T0" fmla="*/ 0 w 7"/>
                <a:gd name="T1" fmla="*/ 0 h 18"/>
                <a:gd name="T2" fmla="*/ 0 w 7"/>
                <a:gd name="T3" fmla="*/ 0 h 18"/>
                <a:gd name="T4" fmla="*/ 0 w 7"/>
                <a:gd name="T5" fmla="*/ 0 h 18"/>
                <a:gd name="T6" fmla="*/ 0 w 7"/>
                <a:gd name="T7" fmla="*/ 0 h 18"/>
                <a:gd name="T8" fmla="*/ 0 w 7"/>
                <a:gd name="T9" fmla="*/ 0 h 18"/>
                <a:gd name="T10" fmla="*/ 0 w 7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18"/>
                <a:gd name="T20" fmla="*/ 7 w 7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2" name="Freeform 379"/>
            <p:cNvSpPr>
              <a:spLocks/>
            </p:cNvSpPr>
            <p:nvPr/>
          </p:nvSpPr>
          <p:spPr bwMode="auto">
            <a:xfrm>
              <a:off x="6447642" y="3814747"/>
              <a:ext cx="6133" cy="8689"/>
            </a:xfrm>
            <a:custGeom>
              <a:avLst/>
              <a:gdLst>
                <a:gd name="T0" fmla="*/ 0 w 13"/>
                <a:gd name="T1" fmla="*/ 0 h 18"/>
                <a:gd name="T2" fmla="*/ 0 w 13"/>
                <a:gd name="T3" fmla="*/ 0 h 18"/>
                <a:gd name="T4" fmla="*/ 0 w 13"/>
                <a:gd name="T5" fmla="*/ 0 h 18"/>
                <a:gd name="T6" fmla="*/ 0 w 13"/>
                <a:gd name="T7" fmla="*/ 0 h 18"/>
                <a:gd name="T8" fmla="*/ 0 w 13"/>
                <a:gd name="T9" fmla="*/ 0 h 18"/>
                <a:gd name="T10" fmla="*/ 0 w 13"/>
                <a:gd name="T11" fmla="*/ 0 h 18"/>
                <a:gd name="T12" fmla="*/ 0 w 13"/>
                <a:gd name="T13" fmla="*/ 0 h 18"/>
                <a:gd name="T14" fmla="*/ 0 w 13"/>
                <a:gd name="T15" fmla="*/ 0 h 18"/>
                <a:gd name="T16" fmla="*/ 0 w 13"/>
                <a:gd name="T17" fmla="*/ 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18"/>
                <a:gd name="T29" fmla="*/ 13 w 13"/>
                <a:gd name="T30" fmla="*/ 18 h 1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3" name="Freeform 380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5528444" y="3771302"/>
              <a:ext cx="290732" cy="346109"/>
            </a:xfrm>
            <a:custGeom>
              <a:avLst/>
              <a:gdLst>
                <a:gd name="T0" fmla="*/ 2147483647 w 736"/>
                <a:gd name="T1" fmla="*/ 2147483647 h 721"/>
                <a:gd name="T2" fmla="*/ 2147483647 w 736"/>
                <a:gd name="T3" fmla="*/ 2147483647 h 721"/>
                <a:gd name="T4" fmla="*/ 2147483647 w 736"/>
                <a:gd name="T5" fmla="*/ 2147483647 h 721"/>
                <a:gd name="T6" fmla="*/ 2147483647 w 736"/>
                <a:gd name="T7" fmla="*/ 2147483647 h 721"/>
                <a:gd name="T8" fmla="*/ 2147483647 w 736"/>
                <a:gd name="T9" fmla="*/ 2147483647 h 721"/>
                <a:gd name="T10" fmla="*/ 2147483647 w 736"/>
                <a:gd name="T11" fmla="*/ 2147483647 h 721"/>
                <a:gd name="T12" fmla="*/ 2147483647 w 736"/>
                <a:gd name="T13" fmla="*/ 2147483647 h 721"/>
                <a:gd name="T14" fmla="*/ 2147483647 w 736"/>
                <a:gd name="T15" fmla="*/ 2147483647 h 721"/>
                <a:gd name="T16" fmla="*/ 2147483647 w 736"/>
                <a:gd name="T17" fmla="*/ 2147483647 h 721"/>
                <a:gd name="T18" fmla="*/ 2147483647 w 736"/>
                <a:gd name="T19" fmla="*/ 2147483647 h 721"/>
                <a:gd name="T20" fmla="*/ 2147483647 w 736"/>
                <a:gd name="T21" fmla="*/ 2147483647 h 721"/>
                <a:gd name="T22" fmla="*/ 2147483647 w 736"/>
                <a:gd name="T23" fmla="*/ 2147483647 h 721"/>
                <a:gd name="T24" fmla="*/ 2147483647 w 736"/>
                <a:gd name="T25" fmla="*/ 2147483647 h 721"/>
                <a:gd name="T26" fmla="*/ 2147483647 w 736"/>
                <a:gd name="T27" fmla="*/ 2147483647 h 721"/>
                <a:gd name="T28" fmla="*/ 2147483647 w 736"/>
                <a:gd name="T29" fmla="*/ 2147483647 h 721"/>
                <a:gd name="T30" fmla="*/ 2147483647 w 736"/>
                <a:gd name="T31" fmla="*/ 2147483647 h 721"/>
                <a:gd name="T32" fmla="*/ 2147483647 w 736"/>
                <a:gd name="T33" fmla="*/ 2147483647 h 721"/>
                <a:gd name="T34" fmla="*/ 2147483647 w 736"/>
                <a:gd name="T35" fmla="*/ 2147483647 h 721"/>
                <a:gd name="T36" fmla="*/ 2147483647 w 736"/>
                <a:gd name="T37" fmla="*/ 2147483647 h 721"/>
                <a:gd name="T38" fmla="*/ 2147483647 w 736"/>
                <a:gd name="T39" fmla="*/ 2147483647 h 721"/>
                <a:gd name="T40" fmla="*/ 2147483647 w 736"/>
                <a:gd name="T41" fmla="*/ 2147483647 h 721"/>
                <a:gd name="T42" fmla="*/ 2147483647 w 736"/>
                <a:gd name="T43" fmla="*/ 2147483647 h 721"/>
                <a:gd name="T44" fmla="*/ 2147483647 w 736"/>
                <a:gd name="T45" fmla="*/ 2147483647 h 721"/>
                <a:gd name="T46" fmla="*/ 2147483647 w 736"/>
                <a:gd name="T47" fmla="*/ 2147483647 h 721"/>
                <a:gd name="T48" fmla="*/ 2147483647 w 736"/>
                <a:gd name="T49" fmla="*/ 2147483647 h 721"/>
                <a:gd name="T50" fmla="*/ 2147483647 w 736"/>
                <a:gd name="T51" fmla="*/ 2147483647 h 721"/>
                <a:gd name="T52" fmla="*/ 2147483647 w 736"/>
                <a:gd name="T53" fmla="*/ 2147483647 h 721"/>
                <a:gd name="T54" fmla="*/ 2147483647 w 736"/>
                <a:gd name="T55" fmla="*/ 2147483647 h 721"/>
                <a:gd name="T56" fmla="*/ 2147483647 w 736"/>
                <a:gd name="T57" fmla="*/ 2147483647 h 721"/>
                <a:gd name="T58" fmla="*/ 2147483647 w 736"/>
                <a:gd name="T59" fmla="*/ 2147483647 h 721"/>
                <a:gd name="T60" fmla="*/ 2147483647 w 736"/>
                <a:gd name="T61" fmla="*/ 2147483647 h 721"/>
                <a:gd name="T62" fmla="*/ 2147483647 w 736"/>
                <a:gd name="T63" fmla="*/ 2147483647 h 721"/>
                <a:gd name="T64" fmla="*/ 2147483647 w 736"/>
                <a:gd name="T65" fmla="*/ 2147483647 h 721"/>
                <a:gd name="T66" fmla="*/ 2147483647 w 736"/>
                <a:gd name="T67" fmla="*/ 0 h 721"/>
                <a:gd name="T68" fmla="*/ 2147483647 w 736"/>
                <a:gd name="T69" fmla="*/ 2147483647 h 721"/>
                <a:gd name="T70" fmla="*/ 2147483647 w 736"/>
                <a:gd name="T71" fmla="*/ 2147483647 h 721"/>
                <a:gd name="T72" fmla="*/ 2147483647 w 736"/>
                <a:gd name="T73" fmla="*/ 2147483647 h 721"/>
                <a:gd name="T74" fmla="*/ 2147483647 w 736"/>
                <a:gd name="T75" fmla="*/ 2147483647 h 721"/>
                <a:gd name="T76" fmla="*/ 2147483647 w 736"/>
                <a:gd name="T77" fmla="*/ 2147483647 h 721"/>
                <a:gd name="T78" fmla="*/ 2147483647 w 736"/>
                <a:gd name="T79" fmla="*/ 2147483647 h 721"/>
                <a:gd name="T80" fmla="*/ 2147483647 w 736"/>
                <a:gd name="T81" fmla="*/ 2147483647 h 721"/>
                <a:gd name="T82" fmla="*/ 2147483647 w 736"/>
                <a:gd name="T83" fmla="*/ 2147483647 h 721"/>
                <a:gd name="T84" fmla="*/ 2147483647 w 736"/>
                <a:gd name="T85" fmla="*/ 2147483647 h 721"/>
                <a:gd name="T86" fmla="*/ 2147483647 w 736"/>
                <a:gd name="T87" fmla="*/ 2147483647 h 721"/>
                <a:gd name="T88" fmla="*/ 2147483647 w 736"/>
                <a:gd name="T89" fmla="*/ 2147483647 h 721"/>
                <a:gd name="T90" fmla="*/ 2147483647 w 736"/>
                <a:gd name="T91" fmla="*/ 2147483647 h 721"/>
                <a:gd name="T92" fmla="*/ 2147483647 w 736"/>
                <a:gd name="T93" fmla="*/ 2147483647 h 721"/>
                <a:gd name="T94" fmla="*/ 2147483647 w 736"/>
                <a:gd name="T95" fmla="*/ 2147483647 h 721"/>
                <a:gd name="T96" fmla="*/ 2147483647 w 736"/>
                <a:gd name="T97" fmla="*/ 21474836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36"/>
                <a:gd name="T148" fmla="*/ 0 h 721"/>
                <a:gd name="T149" fmla="*/ 736 w 736"/>
                <a:gd name="T150" fmla="*/ 721 h 721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4" name="Freeform 381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5538568" y="3746683"/>
              <a:ext cx="14464" cy="55030"/>
            </a:xfrm>
            <a:custGeom>
              <a:avLst/>
              <a:gdLst>
                <a:gd name="T0" fmla="*/ 0 w 39"/>
                <a:gd name="T1" fmla="*/ 2147483647 h 31"/>
                <a:gd name="T2" fmla="*/ 2147483647 w 39"/>
                <a:gd name="T3" fmla="*/ 2147483647 h 31"/>
                <a:gd name="T4" fmla="*/ 2147483647 w 39"/>
                <a:gd name="T5" fmla="*/ 2147483647 h 31"/>
                <a:gd name="T6" fmla="*/ 2147483647 w 39"/>
                <a:gd name="T7" fmla="*/ 2147483647 h 31"/>
                <a:gd name="T8" fmla="*/ 2147483647 w 39"/>
                <a:gd name="T9" fmla="*/ 2147483647 h 31"/>
                <a:gd name="T10" fmla="*/ 2147483647 w 39"/>
                <a:gd name="T11" fmla="*/ 2147483647 h 31"/>
                <a:gd name="T12" fmla="*/ 2147483647 w 39"/>
                <a:gd name="T13" fmla="*/ 2147483647 h 31"/>
                <a:gd name="T14" fmla="*/ 2147483647 w 39"/>
                <a:gd name="T15" fmla="*/ 0 h 31"/>
                <a:gd name="T16" fmla="*/ 2147483647 w 39"/>
                <a:gd name="T17" fmla="*/ 0 h 31"/>
                <a:gd name="T18" fmla="*/ 2147483647 w 39"/>
                <a:gd name="T19" fmla="*/ 0 h 31"/>
                <a:gd name="T20" fmla="*/ 2147483647 w 39"/>
                <a:gd name="T21" fmla="*/ 0 h 31"/>
                <a:gd name="T22" fmla="*/ 0 w 39"/>
                <a:gd name="T23" fmla="*/ 0 h 31"/>
                <a:gd name="T24" fmla="*/ 0 w 39"/>
                <a:gd name="T25" fmla="*/ 2147483647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9"/>
                <a:gd name="T40" fmla="*/ 0 h 31"/>
                <a:gd name="T41" fmla="*/ 39 w 39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5" name="Freeform 382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5631140" y="4241952"/>
              <a:ext cx="361607" cy="363486"/>
            </a:xfrm>
            <a:custGeom>
              <a:avLst/>
              <a:gdLst>
                <a:gd name="T0" fmla="*/ 2147483647 w 903"/>
                <a:gd name="T1" fmla="*/ 2147483647 h 759"/>
                <a:gd name="T2" fmla="*/ 2147483647 w 903"/>
                <a:gd name="T3" fmla="*/ 2147483647 h 759"/>
                <a:gd name="T4" fmla="*/ 2147483647 w 903"/>
                <a:gd name="T5" fmla="*/ 2147483647 h 759"/>
                <a:gd name="T6" fmla="*/ 2147483647 w 903"/>
                <a:gd name="T7" fmla="*/ 2147483647 h 759"/>
                <a:gd name="T8" fmla="*/ 2147483647 w 903"/>
                <a:gd name="T9" fmla="*/ 2147483647 h 759"/>
                <a:gd name="T10" fmla="*/ 2147483647 w 903"/>
                <a:gd name="T11" fmla="*/ 2147483647 h 759"/>
                <a:gd name="T12" fmla="*/ 2147483647 w 903"/>
                <a:gd name="T13" fmla="*/ 2147483647 h 759"/>
                <a:gd name="T14" fmla="*/ 2147483647 w 903"/>
                <a:gd name="T15" fmla="*/ 2147483647 h 759"/>
                <a:gd name="T16" fmla="*/ 2147483647 w 903"/>
                <a:gd name="T17" fmla="*/ 2147483647 h 759"/>
                <a:gd name="T18" fmla="*/ 2147483647 w 903"/>
                <a:gd name="T19" fmla="*/ 2147483647 h 759"/>
                <a:gd name="T20" fmla="*/ 2147483647 w 903"/>
                <a:gd name="T21" fmla="*/ 2147483647 h 759"/>
                <a:gd name="T22" fmla="*/ 2147483647 w 903"/>
                <a:gd name="T23" fmla="*/ 2147483647 h 759"/>
                <a:gd name="T24" fmla="*/ 2147483647 w 903"/>
                <a:gd name="T25" fmla="*/ 2147483647 h 759"/>
                <a:gd name="T26" fmla="*/ 2147483647 w 903"/>
                <a:gd name="T27" fmla="*/ 2147483647 h 759"/>
                <a:gd name="T28" fmla="*/ 2147483647 w 903"/>
                <a:gd name="T29" fmla="*/ 2147483647 h 759"/>
                <a:gd name="T30" fmla="*/ 2147483647 w 903"/>
                <a:gd name="T31" fmla="*/ 2147483647 h 759"/>
                <a:gd name="T32" fmla="*/ 2147483647 w 903"/>
                <a:gd name="T33" fmla="*/ 2147483647 h 759"/>
                <a:gd name="T34" fmla="*/ 2147483647 w 903"/>
                <a:gd name="T35" fmla="*/ 2147483647 h 759"/>
                <a:gd name="T36" fmla="*/ 2147483647 w 903"/>
                <a:gd name="T37" fmla="*/ 2147483647 h 759"/>
                <a:gd name="T38" fmla="*/ 2147483647 w 903"/>
                <a:gd name="T39" fmla="*/ 2147483647 h 759"/>
                <a:gd name="T40" fmla="*/ 2147483647 w 903"/>
                <a:gd name="T41" fmla="*/ 2147483647 h 759"/>
                <a:gd name="T42" fmla="*/ 2147483647 w 903"/>
                <a:gd name="T43" fmla="*/ 2147483647 h 759"/>
                <a:gd name="T44" fmla="*/ 2147483647 w 903"/>
                <a:gd name="T45" fmla="*/ 2147483647 h 759"/>
                <a:gd name="T46" fmla="*/ 2147483647 w 903"/>
                <a:gd name="T47" fmla="*/ 2147483647 h 759"/>
                <a:gd name="T48" fmla="*/ 2147483647 w 903"/>
                <a:gd name="T49" fmla="*/ 2147483647 h 759"/>
                <a:gd name="T50" fmla="*/ 2147483647 w 903"/>
                <a:gd name="T51" fmla="*/ 2147483647 h 759"/>
                <a:gd name="T52" fmla="*/ 2147483647 w 903"/>
                <a:gd name="T53" fmla="*/ 2147483647 h 759"/>
                <a:gd name="T54" fmla="*/ 0 w 903"/>
                <a:gd name="T55" fmla="*/ 2147483647 h 759"/>
                <a:gd name="T56" fmla="*/ 2147483647 w 903"/>
                <a:gd name="T57" fmla="*/ 2147483647 h 759"/>
                <a:gd name="T58" fmla="*/ 2147483647 w 903"/>
                <a:gd name="T59" fmla="*/ 2147483647 h 759"/>
                <a:gd name="T60" fmla="*/ 2147483647 w 903"/>
                <a:gd name="T61" fmla="*/ 2147483647 h 759"/>
                <a:gd name="T62" fmla="*/ 2147483647 w 903"/>
                <a:gd name="T63" fmla="*/ 2147483647 h 759"/>
                <a:gd name="T64" fmla="*/ 2147483647 w 903"/>
                <a:gd name="T65" fmla="*/ 2147483647 h 759"/>
                <a:gd name="T66" fmla="*/ 2147483647 w 903"/>
                <a:gd name="T67" fmla="*/ 2147483647 h 759"/>
                <a:gd name="T68" fmla="*/ 2147483647 w 903"/>
                <a:gd name="T69" fmla="*/ 2147483647 h 759"/>
                <a:gd name="T70" fmla="*/ 2147483647 w 903"/>
                <a:gd name="T71" fmla="*/ 2147483647 h 759"/>
                <a:gd name="T72" fmla="*/ 2147483647 w 903"/>
                <a:gd name="T73" fmla="*/ 2147483647 h 759"/>
                <a:gd name="T74" fmla="*/ 2147483647 w 903"/>
                <a:gd name="T75" fmla="*/ 2147483647 h 759"/>
                <a:gd name="T76" fmla="*/ 2147483647 w 903"/>
                <a:gd name="T77" fmla="*/ 2147483647 h 759"/>
                <a:gd name="T78" fmla="*/ 2147483647 w 903"/>
                <a:gd name="T79" fmla="*/ 2147483647 h 759"/>
                <a:gd name="T80" fmla="*/ 2147483647 w 903"/>
                <a:gd name="T81" fmla="*/ 2147483647 h 759"/>
                <a:gd name="T82" fmla="*/ 2147483647 w 903"/>
                <a:gd name="T83" fmla="*/ 2147483647 h 759"/>
                <a:gd name="T84" fmla="*/ 2147483647 w 903"/>
                <a:gd name="T85" fmla="*/ 2147483647 h 759"/>
                <a:gd name="T86" fmla="*/ 2147483647 w 903"/>
                <a:gd name="T87" fmla="*/ 2147483647 h 759"/>
                <a:gd name="T88" fmla="*/ 2147483647 w 903"/>
                <a:gd name="T89" fmla="*/ 2147483647 h 759"/>
                <a:gd name="T90" fmla="*/ 2147483647 w 903"/>
                <a:gd name="T91" fmla="*/ 2147483647 h 759"/>
                <a:gd name="T92" fmla="*/ 2147483647 w 903"/>
                <a:gd name="T93" fmla="*/ 2147483647 h 759"/>
                <a:gd name="T94" fmla="*/ 2147483647 w 903"/>
                <a:gd name="T95" fmla="*/ 2147483647 h 759"/>
                <a:gd name="T96" fmla="*/ 2147483647 w 903"/>
                <a:gd name="T97" fmla="*/ 2147483647 h 759"/>
                <a:gd name="T98" fmla="*/ 2147483647 w 903"/>
                <a:gd name="T99" fmla="*/ 2147483647 h 759"/>
                <a:gd name="T100" fmla="*/ 2147483647 w 903"/>
                <a:gd name="T101" fmla="*/ 2147483647 h 759"/>
                <a:gd name="T102" fmla="*/ 2147483647 w 903"/>
                <a:gd name="T103" fmla="*/ 2147483647 h 759"/>
                <a:gd name="T104" fmla="*/ 2147483647 w 903"/>
                <a:gd name="T105" fmla="*/ 2147483647 h 759"/>
                <a:gd name="T106" fmla="*/ 2147483647 w 903"/>
                <a:gd name="T107" fmla="*/ 2147483647 h 759"/>
                <a:gd name="T108" fmla="*/ 2147483647 w 903"/>
                <a:gd name="T109" fmla="*/ 2147483647 h 759"/>
                <a:gd name="T110" fmla="*/ 2147483647 w 903"/>
                <a:gd name="T111" fmla="*/ 2147483647 h 759"/>
                <a:gd name="T112" fmla="*/ 2147483647 w 903"/>
                <a:gd name="T113" fmla="*/ 2147483647 h 759"/>
                <a:gd name="T114" fmla="*/ 2147483647 w 903"/>
                <a:gd name="T115" fmla="*/ 2147483647 h 759"/>
                <a:gd name="T116" fmla="*/ 2147483647 w 903"/>
                <a:gd name="T117" fmla="*/ 2147483647 h 759"/>
                <a:gd name="T118" fmla="*/ 2147483647 w 903"/>
                <a:gd name="T119" fmla="*/ 2147483647 h 759"/>
                <a:gd name="T120" fmla="*/ 2147483647 w 903"/>
                <a:gd name="T121" fmla="*/ 2147483647 h 759"/>
                <a:gd name="T122" fmla="*/ 2147483647 w 903"/>
                <a:gd name="T123" fmla="*/ 2147483647 h 759"/>
                <a:gd name="T124" fmla="*/ 2147483647 w 903"/>
                <a:gd name="T125" fmla="*/ 2147483647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903"/>
                <a:gd name="T190" fmla="*/ 0 h 759"/>
                <a:gd name="T191" fmla="*/ 903 w 903"/>
                <a:gd name="T192" fmla="*/ 759 h 75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6" name="Freeform 383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5765658" y="2935717"/>
              <a:ext cx="374625" cy="557539"/>
            </a:xfrm>
            <a:custGeom>
              <a:avLst/>
              <a:gdLst>
                <a:gd name="T0" fmla="*/ 2147483647 w 943"/>
                <a:gd name="T1" fmla="*/ 2147483647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147483647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43"/>
                <a:gd name="T157" fmla="*/ 0 h 1172"/>
                <a:gd name="T158" fmla="*/ 943 w 943"/>
                <a:gd name="T159" fmla="*/ 1172 h 117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92D05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8" name="Freeform 385"/>
            <p:cNvSpPr>
              <a:spLocks/>
            </p:cNvSpPr>
            <p:nvPr/>
          </p:nvSpPr>
          <p:spPr bwMode="auto">
            <a:xfrm>
              <a:off x="4657694" y="3119633"/>
              <a:ext cx="18158" cy="15629"/>
            </a:xfrm>
            <a:custGeom>
              <a:avLst/>
              <a:gdLst>
                <a:gd name="T0" fmla="*/ 14 w 51"/>
                <a:gd name="T1" fmla="*/ 0 h 33"/>
                <a:gd name="T2" fmla="*/ 0 w 51"/>
                <a:gd name="T3" fmla="*/ 2 h 33"/>
                <a:gd name="T4" fmla="*/ 1 w 51"/>
                <a:gd name="T5" fmla="*/ 9 h 33"/>
                <a:gd name="T6" fmla="*/ 3 w 51"/>
                <a:gd name="T7" fmla="*/ 11 h 33"/>
                <a:gd name="T8" fmla="*/ 11 w 51"/>
                <a:gd name="T9" fmla="*/ 8 h 33"/>
                <a:gd name="T10" fmla="*/ 15 w 51"/>
                <a:gd name="T11" fmla="*/ 5 h 33"/>
                <a:gd name="T12" fmla="*/ 16 w 51"/>
                <a:gd name="T13" fmla="*/ 3 h 33"/>
                <a:gd name="T14" fmla="*/ 14 w 51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1"/>
                <a:gd name="T25" fmla="*/ 0 h 33"/>
                <a:gd name="T26" fmla="*/ 51 w 51"/>
                <a:gd name="T27" fmla="*/ 33 h 3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9" name="Freeform 386"/>
            <p:cNvSpPr>
              <a:spLocks/>
            </p:cNvSpPr>
            <p:nvPr/>
          </p:nvSpPr>
          <p:spPr bwMode="auto">
            <a:xfrm>
              <a:off x="4680392" y="3135262"/>
              <a:ext cx="22698" cy="9946"/>
            </a:xfrm>
            <a:custGeom>
              <a:avLst/>
              <a:gdLst>
                <a:gd name="T0" fmla="*/ 20 w 61"/>
                <a:gd name="T1" fmla="*/ 2 h 20"/>
                <a:gd name="T2" fmla="*/ 17 w 61"/>
                <a:gd name="T3" fmla="*/ 1 h 20"/>
                <a:gd name="T4" fmla="*/ 0 w 61"/>
                <a:gd name="T5" fmla="*/ 0 h 20"/>
                <a:gd name="T6" fmla="*/ 1 w 61"/>
                <a:gd name="T7" fmla="*/ 5 h 20"/>
                <a:gd name="T8" fmla="*/ 2 w 61"/>
                <a:gd name="T9" fmla="*/ 7 h 20"/>
                <a:gd name="T10" fmla="*/ 6 w 61"/>
                <a:gd name="T11" fmla="*/ 5 h 20"/>
                <a:gd name="T12" fmla="*/ 20 w 61"/>
                <a:gd name="T13" fmla="*/ 2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1"/>
                <a:gd name="T22" fmla="*/ 0 h 20"/>
                <a:gd name="T23" fmla="*/ 61 w 61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0" name="Freeform 387"/>
            <p:cNvSpPr>
              <a:spLocks/>
            </p:cNvSpPr>
            <p:nvPr/>
          </p:nvSpPr>
          <p:spPr bwMode="auto">
            <a:xfrm>
              <a:off x="4720112" y="3123895"/>
              <a:ext cx="5674" cy="17050"/>
            </a:xfrm>
            <a:custGeom>
              <a:avLst/>
              <a:gdLst>
                <a:gd name="T0" fmla="*/ 1 w 15"/>
                <a:gd name="T1" fmla="*/ 0 h 36"/>
                <a:gd name="T2" fmla="*/ 0 w 15"/>
                <a:gd name="T3" fmla="*/ 7 h 36"/>
                <a:gd name="T4" fmla="*/ 0 w 15"/>
                <a:gd name="T5" fmla="*/ 12 h 36"/>
                <a:gd name="T6" fmla="*/ 4 w 15"/>
                <a:gd name="T7" fmla="*/ 12 h 36"/>
                <a:gd name="T8" fmla="*/ 5 w 15"/>
                <a:gd name="T9" fmla="*/ 5 h 36"/>
                <a:gd name="T10" fmla="*/ 1 w 15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36"/>
                <a:gd name="T20" fmla="*/ 15 w 15"/>
                <a:gd name="T21" fmla="*/ 36 h 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1" name="Freeform 388"/>
            <p:cNvSpPr>
              <a:spLocks/>
            </p:cNvSpPr>
            <p:nvPr/>
          </p:nvSpPr>
          <p:spPr bwMode="auto">
            <a:xfrm>
              <a:off x="4718977" y="3145208"/>
              <a:ext cx="12484" cy="15629"/>
            </a:xfrm>
            <a:custGeom>
              <a:avLst/>
              <a:gdLst>
                <a:gd name="T0" fmla="*/ 1 w 37"/>
                <a:gd name="T1" fmla="*/ 1 h 33"/>
                <a:gd name="T2" fmla="*/ 7 w 37"/>
                <a:gd name="T3" fmla="*/ 0 h 33"/>
                <a:gd name="T4" fmla="*/ 10 w 37"/>
                <a:gd name="T5" fmla="*/ 2 h 33"/>
                <a:gd name="T6" fmla="*/ 11 w 37"/>
                <a:gd name="T7" fmla="*/ 7 h 33"/>
                <a:gd name="T8" fmla="*/ 7 w 37"/>
                <a:gd name="T9" fmla="*/ 11 h 33"/>
                <a:gd name="T10" fmla="*/ 3 w 37"/>
                <a:gd name="T11" fmla="*/ 11 h 33"/>
                <a:gd name="T12" fmla="*/ 1 w 37"/>
                <a:gd name="T13" fmla="*/ 8 h 33"/>
                <a:gd name="T14" fmla="*/ 0 w 37"/>
                <a:gd name="T15" fmla="*/ 5 h 33"/>
                <a:gd name="T16" fmla="*/ 1 w 37"/>
                <a:gd name="T17" fmla="*/ 1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7"/>
                <a:gd name="T28" fmla="*/ 0 h 33"/>
                <a:gd name="T29" fmla="*/ 37 w 37"/>
                <a:gd name="T30" fmla="*/ 33 h 3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2" name="Freeform 389"/>
            <p:cNvSpPr>
              <a:spLocks/>
            </p:cNvSpPr>
            <p:nvPr/>
          </p:nvSpPr>
          <p:spPr bwMode="auto">
            <a:xfrm>
              <a:off x="4698550" y="3169362"/>
              <a:ext cx="18158" cy="25575"/>
            </a:xfrm>
            <a:custGeom>
              <a:avLst/>
              <a:gdLst>
                <a:gd name="T0" fmla="*/ 1 w 49"/>
                <a:gd name="T1" fmla="*/ 0 h 54"/>
                <a:gd name="T2" fmla="*/ 0 w 49"/>
                <a:gd name="T3" fmla="*/ 0 h 54"/>
                <a:gd name="T4" fmla="*/ 1 w 49"/>
                <a:gd name="T5" fmla="*/ 17 h 54"/>
                <a:gd name="T6" fmla="*/ 6 w 49"/>
                <a:gd name="T7" fmla="*/ 18 h 54"/>
                <a:gd name="T8" fmla="*/ 14 w 49"/>
                <a:gd name="T9" fmla="*/ 15 h 54"/>
                <a:gd name="T10" fmla="*/ 16 w 49"/>
                <a:gd name="T11" fmla="*/ 10 h 54"/>
                <a:gd name="T12" fmla="*/ 13 w 49"/>
                <a:gd name="T13" fmla="*/ 7 h 54"/>
                <a:gd name="T14" fmla="*/ 6 w 49"/>
                <a:gd name="T15" fmla="*/ 3 h 54"/>
                <a:gd name="T16" fmla="*/ 1 w 49"/>
                <a:gd name="T17" fmla="*/ 0 h 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9"/>
                <a:gd name="T28" fmla="*/ 0 h 54"/>
                <a:gd name="T29" fmla="*/ 49 w 49"/>
                <a:gd name="T30" fmla="*/ 54 h 5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3" name="Freeform 390"/>
            <p:cNvSpPr>
              <a:spLocks/>
            </p:cNvSpPr>
            <p:nvPr/>
          </p:nvSpPr>
          <p:spPr bwMode="auto">
            <a:xfrm>
              <a:off x="4682661" y="3183570"/>
              <a:ext cx="10214" cy="9946"/>
            </a:xfrm>
            <a:custGeom>
              <a:avLst/>
              <a:gdLst>
                <a:gd name="T0" fmla="*/ 6 w 26"/>
                <a:gd name="T1" fmla="*/ 0 h 22"/>
                <a:gd name="T2" fmla="*/ 1 w 26"/>
                <a:gd name="T3" fmla="*/ 1 h 22"/>
                <a:gd name="T4" fmla="*/ 0 w 26"/>
                <a:gd name="T5" fmla="*/ 5 h 22"/>
                <a:gd name="T6" fmla="*/ 2 w 26"/>
                <a:gd name="T7" fmla="*/ 7 h 22"/>
                <a:gd name="T8" fmla="*/ 7 w 26"/>
                <a:gd name="T9" fmla="*/ 7 h 22"/>
                <a:gd name="T10" fmla="*/ 9 w 26"/>
                <a:gd name="T11" fmla="*/ 4 h 22"/>
                <a:gd name="T12" fmla="*/ 6 w 26"/>
                <a:gd name="T13" fmla="*/ 0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6"/>
                <a:gd name="T22" fmla="*/ 0 h 22"/>
                <a:gd name="T23" fmla="*/ 26 w 26"/>
                <a:gd name="T24" fmla="*/ 22 h 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5" name="Freeform 435"/>
            <p:cNvSpPr>
              <a:spLocks/>
            </p:cNvSpPr>
            <p:nvPr>
              <p:custDataLst>
                <p:tags r:id="rId273"/>
              </p:custDataLst>
            </p:nvPr>
          </p:nvSpPr>
          <p:spPr bwMode="auto">
            <a:xfrm>
              <a:off x="6044818" y="3626486"/>
              <a:ext cx="5786" cy="52134"/>
            </a:xfrm>
            <a:custGeom>
              <a:avLst/>
              <a:gdLst>
                <a:gd name="T0" fmla="*/ 2147483647 w 14"/>
                <a:gd name="T1" fmla="*/ 0 h 7"/>
                <a:gd name="T2" fmla="*/ 2147483647 w 14"/>
                <a:gd name="T3" fmla="*/ 2147483647 h 7"/>
                <a:gd name="T4" fmla="*/ 2147483647 w 14"/>
                <a:gd name="T5" fmla="*/ 2147483647 h 7"/>
                <a:gd name="T6" fmla="*/ 0 w 14"/>
                <a:gd name="T7" fmla="*/ 2147483647 h 7"/>
                <a:gd name="T8" fmla="*/ 2147483647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4"/>
                <a:gd name="T16" fmla="*/ 0 h 7"/>
                <a:gd name="T17" fmla="*/ 14 w 14"/>
                <a:gd name="T18" fmla="*/ 7 h 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6" name="Freeform 436"/>
            <p:cNvSpPr>
              <a:spLocks/>
            </p:cNvSpPr>
            <p:nvPr>
              <p:custDataLst>
                <p:tags r:id="rId274"/>
              </p:custDataLst>
            </p:nvPr>
          </p:nvSpPr>
          <p:spPr bwMode="auto">
            <a:xfrm>
              <a:off x="5580515" y="2929925"/>
              <a:ext cx="227089" cy="456168"/>
            </a:xfrm>
            <a:custGeom>
              <a:avLst/>
              <a:gdLst>
                <a:gd name="T0" fmla="*/ 2147483647 w 581"/>
                <a:gd name="T1" fmla="*/ 2147483647 h 955"/>
                <a:gd name="T2" fmla="*/ 2147483647 w 581"/>
                <a:gd name="T3" fmla="*/ 2147483647 h 955"/>
                <a:gd name="T4" fmla="*/ 2147483647 w 581"/>
                <a:gd name="T5" fmla="*/ 2147483647 h 955"/>
                <a:gd name="T6" fmla="*/ 2147483647 w 581"/>
                <a:gd name="T7" fmla="*/ 2147483647 h 955"/>
                <a:gd name="T8" fmla="*/ 2147483647 w 581"/>
                <a:gd name="T9" fmla="*/ 2147483647 h 955"/>
                <a:gd name="T10" fmla="*/ 2147483647 w 581"/>
                <a:gd name="T11" fmla="*/ 2147483647 h 955"/>
                <a:gd name="T12" fmla="*/ 2147483647 w 581"/>
                <a:gd name="T13" fmla="*/ 2147483647 h 955"/>
                <a:gd name="T14" fmla="*/ 2147483647 w 581"/>
                <a:gd name="T15" fmla="*/ 2147483647 h 955"/>
                <a:gd name="T16" fmla="*/ 2147483647 w 581"/>
                <a:gd name="T17" fmla="*/ 2147483647 h 955"/>
                <a:gd name="T18" fmla="*/ 2147483647 w 581"/>
                <a:gd name="T19" fmla="*/ 2147483647 h 955"/>
                <a:gd name="T20" fmla="*/ 2147483647 w 581"/>
                <a:gd name="T21" fmla="*/ 2147483647 h 955"/>
                <a:gd name="T22" fmla="*/ 2147483647 w 581"/>
                <a:gd name="T23" fmla="*/ 2147483647 h 955"/>
                <a:gd name="T24" fmla="*/ 2147483647 w 581"/>
                <a:gd name="T25" fmla="*/ 2147483647 h 955"/>
                <a:gd name="T26" fmla="*/ 2147483647 w 581"/>
                <a:gd name="T27" fmla="*/ 2147483647 h 955"/>
                <a:gd name="T28" fmla="*/ 2147483647 w 581"/>
                <a:gd name="T29" fmla="*/ 2147483647 h 955"/>
                <a:gd name="T30" fmla="*/ 2147483647 w 581"/>
                <a:gd name="T31" fmla="*/ 2147483647 h 955"/>
                <a:gd name="T32" fmla="*/ 2147483647 w 581"/>
                <a:gd name="T33" fmla="*/ 2147483647 h 955"/>
                <a:gd name="T34" fmla="*/ 2147483647 w 581"/>
                <a:gd name="T35" fmla="*/ 2147483647 h 955"/>
                <a:gd name="T36" fmla="*/ 2147483647 w 581"/>
                <a:gd name="T37" fmla="*/ 2147483647 h 955"/>
                <a:gd name="T38" fmla="*/ 2147483647 w 581"/>
                <a:gd name="T39" fmla="*/ 2147483647 h 955"/>
                <a:gd name="T40" fmla="*/ 2147483647 w 581"/>
                <a:gd name="T41" fmla="*/ 2147483647 h 955"/>
                <a:gd name="T42" fmla="*/ 2147483647 w 581"/>
                <a:gd name="T43" fmla="*/ 2147483647 h 955"/>
                <a:gd name="T44" fmla="*/ 2147483647 w 581"/>
                <a:gd name="T45" fmla="*/ 2147483647 h 955"/>
                <a:gd name="T46" fmla="*/ 2147483647 w 581"/>
                <a:gd name="T47" fmla="*/ 2147483647 h 955"/>
                <a:gd name="T48" fmla="*/ 2147483647 w 581"/>
                <a:gd name="T49" fmla="*/ 2147483647 h 955"/>
                <a:gd name="T50" fmla="*/ 2147483647 w 581"/>
                <a:gd name="T51" fmla="*/ 2147483647 h 955"/>
                <a:gd name="T52" fmla="*/ 2147483647 w 581"/>
                <a:gd name="T53" fmla="*/ 2147483647 h 955"/>
                <a:gd name="T54" fmla="*/ 2147483647 w 581"/>
                <a:gd name="T55" fmla="*/ 2147483647 h 955"/>
                <a:gd name="T56" fmla="*/ 2147483647 w 581"/>
                <a:gd name="T57" fmla="*/ 2147483647 h 955"/>
                <a:gd name="T58" fmla="*/ 2147483647 w 581"/>
                <a:gd name="T59" fmla="*/ 2147483647 h 955"/>
                <a:gd name="T60" fmla="*/ 2147483647 w 581"/>
                <a:gd name="T61" fmla="*/ 2147483647 h 955"/>
                <a:gd name="T62" fmla="*/ 2147483647 w 581"/>
                <a:gd name="T63" fmla="*/ 2147483647 h 955"/>
                <a:gd name="T64" fmla="*/ 2147483647 w 581"/>
                <a:gd name="T65" fmla="*/ 2147483647 h 955"/>
                <a:gd name="T66" fmla="*/ 2147483647 w 581"/>
                <a:gd name="T67" fmla="*/ 2147483647 h 955"/>
                <a:gd name="T68" fmla="*/ 2147483647 w 581"/>
                <a:gd name="T69" fmla="*/ 2147483647 h 955"/>
                <a:gd name="T70" fmla="*/ 2147483647 w 581"/>
                <a:gd name="T71" fmla="*/ 2147483647 h 955"/>
                <a:gd name="T72" fmla="*/ 2147483647 w 581"/>
                <a:gd name="T73" fmla="*/ 2147483647 h 955"/>
                <a:gd name="T74" fmla="*/ 2147483647 w 581"/>
                <a:gd name="T75" fmla="*/ 2147483647 h 955"/>
                <a:gd name="T76" fmla="*/ 2147483647 w 581"/>
                <a:gd name="T77" fmla="*/ 2147483647 h 955"/>
                <a:gd name="T78" fmla="*/ 2147483647 w 581"/>
                <a:gd name="T79" fmla="*/ 2147483647 h 955"/>
                <a:gd name="T80" fmla="*/ 2147483647 w 581"/>
                <a:gd name="T81" fmla="*/ 2147483647 h 955"/>
                <a:gd name="T82" fmla="*/ 2147483647 w 581"/>
                <a:gd name="T83" fmla="*/ 2147483647 h 955"/>
                <a:gd name="T84" fmla="*/ 2147483647 w 581"/>
                <a:gd name="T85" fmla="*/ 2147483647 h 955"/>
                <a:gd name="T86" fmla="*/ 2147483647 w 581"/>
                <a:gd name="T87" fmla="*/ 2147483647 h 955"/>
                <a:gd name="T88" fmla="*/ 2147483647 w 581"/>
                <a:gd name="T89" fmla="*/ 2147483647 h 955"/>
                <a:gd name="T90" fmla="*/ 2147483647 w 581"/>
                <a:gd name="T91" fmla="*/ 2147483647 h 955"/>
                <a:gd name="T92" fmla="*/ 2147483647 w 581"/>
                <a:gd name="T93" fmla="*/ 2147483647 h 955"/>
                <a:gd name="T94" fmla="*/ 2147483647 w 581"/>
                <a:gd name="T95" fmla="*/ 2147483647 h 955"/>
                <a:gd name="T96" fmla="*/ 2147483647 w 581"/>
                <a:gd name="T97" fmla="*/ 2147483647 h 955"/>
                <a:gd name="T98" fmla="*/ 2147483647 w 581"/>
                <a:gd name="T99" fmla="*/ 2147483647 h 955"/>
                <a:gd name="T100" fmla="*/ 2147483647 w 581"/>
                <a:gd name="T101" fmla="*/ 0 h 955"/>
                <a:gd name="T102" fmla="*/ 2147483647 w 581"/>
                <a:gd name="T103" fmla="*/ 2147483647 h 955"/>
                <a:gd name="T104" fmla="*/ 2147483647 w 581"/>
                <a:gd name="T105" fmla="*/ 214748364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81"/>
                <a:gd name="T160" fmla="*/ 0 h 955"/>
                <a:gd name="T161" fmla="*/ 581 w 581"/>
                <a:gd name="T162" fmla="*/ 955 h 955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92D05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7" name="Freeform 437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5346275" y="2405336"/>
              <a:ext cx="14464" cy="52134"/>
            </a:xfrm>
            <a:custGeom>
              <a:avLst/>
              <a:gdLst>
                <a:gd name="T0" fmla="*/ 2147483647 w 45"/>
                <a:gd name="T1" fmla="*/ 0 h 36"/>
                <a:gd name="T2" fmla="*/ 0 w 45"/>
                <a:gd name="T3" fmla="*/ 2147483647 h 36"/>
                <a:gd name="T4" fmla="*/ 2147483647 w 45"/>
                <a:gd name="T5" fmla="*/ 2147483647 h 36"/>
                <a:gd name="T6" fmla="*/ 2147483647 w 45"/>
                <a:gd name="T7" fmla="*/ 2147483647 h 36"/>
                <a:gd name="T8" fmla="*/ 2147483647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5"/>
                <a:gd name="T16" fmla="*/ 0 h 36"/>
                <a:gd name="T17" fmla="*/ 45 w 45"/>
                <a:gd name="T18" fmla="*/ 36 h 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918" name="Group 438"/>
            <p:cNvGrpSpPr>
              <a:grpSpLocks/>
            </p:cNvGrpSpPr>
            <p:nvPr>
              <p:custDataLst>
                <p:tags r:id="rId276"/>
              </p:custDataLst>
            </p:nvPr>
          </p:nvGrpSpPr>
          <p:grpSpPr bwMode="auto">
            <a:xfrm>
              <a:off x="3736318" y="4246296"/>
              <a:ext cx="350036" cy="941300"/>
              <a:chOff x="1589" y="3126"/>
              <a:chExt cx="290" cy="657"/>
            </a:xfrm>
            <a:solidFill>
              <a:schemeClr val="tx1">
                <a:lumMod val="20000"/>
                <a:lumOff val="80000"/>
              </a:schemeClr>
            </a:solidFill>
          </p:grpSpPr>
          <p:sp>
            <p:nvSpPr>
              <p:cNvPr id="919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15 w 46"/>
                  <a:gd name="T1" fmla="*/ 4 h 51"/>
                  <a:gd name="T2" fmla="*/ 6 w 46"/>
                  <a:gd name="T3" fmla="*/ 0 h 51"/>
                  <a:gd name="T4" fmla="*/ 4 w 46"/>
                  <a:gd name="T5" fmla="*/ 2 h 51"/>
                  <a:gd name="T6" fmla="*/ 2 w 46"/>
                  <a:gd name="T7" fmla="*/ 3 h 51"/>
                  <a:gd name="T8" fmla="*/ 1 w 46"/>
                  <a:gd name="T9" fmla="*/ 4 h 51"/>
                  <a:gd name="T10" fmla="*/ 1 w 46"/>
                  <a:gd name="T11" fmla="*/ 5 h 51"/>
                  <a:gd name="T12" fmla="*/ 0 w 46"/>
                  <a:gd name="T13" fmla="*/ 5 h 51"/>
                  <a:gd name="T14" fmla="*/ 0 w 46"/>
                  <a:gd name="T15" fmla="*/ 6 h 51"/>
                  <a:gd name="T16" fmla="*/ 0 w 46"/>
                  <a:gd name="T17" fmla="*/ 8 h 51"/>
                  <a:gd name="T18" fmla="*/ 1 w 46"/>
                  <a:gd name="T19" fmla="*/ 10 h 51"/>
                  <a:gd name="T20" fmla="*/ 1 w 46"/>
                  <a:gd name="T21" fmla="*/ 12 h 51"/>
                  <a:gd name="T22" fmla="*/ 2 w 46"/>
                  <a:gd name="T23" fmla="*/ 14 h 51"/>
                  <a:gd name="T24" fmla="*/ 3 w 46"/>
                  <a:gd name="T25" fmla="*/ 15 h 51"/>
                  <a:gd name="T26" fmla="*/ 4 w 46"/>
                  <a:gd name="T27" fmla="*/ 16 h 51"/>
                  <a:gd name="T28" fmla="*/ 5 w 46"/>
                  <a:gd name="T29" fmla="*/ 17 h 51"/>
                  <a:gd name="T30" fmla="*/ 5 w 46"/>
                  <a:gd name="T31" fmla="*/ 17 h 51"/>
                  <a:gd name="T32" fmla="*/ 6 w 46"/>
                  <a:gd name="T33" fmla="*/ 17 h 51"/>
                  <a:gd name="T34" fmla="*/ 6 w 46"/>
                  <a:gd name="T35" fmla="*/ 17 h 51"/>
                  <a:gd name="T36" fmla="*/ 11 w 46"/>
                  <a:gd name="T37" fmla="*/ 17 h 51"/>
                  <a:gd name="T38" fmla="*/ 15 w 46"/>
                  <a:gd name="T39" fmla="*/ 17 h 51"/>
                  <a:gd name="T40" fmla="*/ 15 w 46"/>
                  <a:gd name="T41" fmla="*/ 12 h 51"/>
                  <a:gd name="T42" fmla="*/ 15 w 46"/>
                  <a:gd name="T43" fmla="*/ 9 h 51"/>
                  <a:gd name="T44" fmla="*/ 15 w 46"/>
                  <a:gd name="T45" fmla="*/ 6 h 51"/>
                  <a:gd name="T46" fmla="*/ 15 w 46"/>
                  <a:gd name="T47" fmla="*/ 4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46"/>
                  <a:gd name="T73" fmla="*/ 0 h 51"/>
                  <a:gd name="T74" fmla="*/ 46 w 46"/>
                  <a:gd name="T75" fmla="*/ 51 h 51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013" kern="1200">
                  <a:solidFill>
                    <a:srgbClr val="E7E6E6">
                      <a:lumMod val="75000"/>
                    </a:srgbClr>
                  </a:solidFill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20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5 h 158"/>
                  <a:gd name="T4" fmla="*/ 1 w 192"/>
                  <a:gd name="T5" fmla="*/ 9 h 158"/>
                  <a:gd name="T6" fmla="*/ 1 w 192"/>
                  <a:gd name="T7" fmla="*/ 13 h 158"/>
                  <a:gd name="T8" fmla="*/ 2 w 192"/>
                  <a:gd name="T9" fmla="*/ 17 h 158"/>
                  <a:gd name="T10" fmla="*/ 4 w 192"/>
                  <a:gd name="T11" fmla="*/ 20 h 158"/>
                  <a:gd name="T12" fmla="*/ 5 w 192"/>
                  <a:gd name="T13" fmla="*/ 24 h 158"/>
                  <a:gd name="T14" fmla="*/ 7 w 192"/>
                  <a:gd name="T15" fmla="*/ 27 h 158"/>
                  <a:gd name="T16" fmla="*/ 8 w 192"/>
                  <a:gd name="T17" fmla="*/ 30 h 158"/>
                  <a:gd name="T18" fmla="*/ 15 w 192"/>
                  <a:gd name="T19" fmla="*/ 41 h 158"/>
                  <a:gd name="T20" fmla="*/ 22 w 192"/>
                  <a:gd name="T21" fmla="*/ 50 h 158"/>
                  <a:gd name="T22" fmla="*/ 24 w 192"/>
                  <a:gd name="T23" fmla="*/ 51 h 158"/>
                  <a:gd name="T24" fmla="*/ 26 w 192"/>
                  <a:gd name="T25" fmla="*/ 51 h 158"/>
                  <a:gd name="T26" fmla="*/ 28 w 192"/>
                  <a:gd name="T27" fmla="*/ 52 h 158"/>
                  <a:gd name="T28" fmla="*/ 30 w 192"/>
                  <a:gd name="T29" fmla="*/ 52 h 158"/>
                  <a:gd name="T30" fmla="*/ 34 w 192"/>
                  <a:gd name="T31" fmla="*/ 53 h 158"/>
                  <a:gd name="T32" fmla="*/ 39 w 192"/>
                  <a:gd name="T33" fmla="*/ 53 h 158"/>
                  <a:gd name="T34" fmla="*/ 50 w 192"/>
                  <a:gd name="T35" fmla="*/ 52 h 158"/>
                  <a:gd name="T36" fmla="*/ 63 w 192"/>
                  <a:gd name="T37" fmla="*/ 52 h 158"/>
                  <a:gd name="T38" fmla="*/ 60 w 192"/>
                  <a:gd name="T39" fmla="*/ 51 h 158"/>
                  <a:gd name="T40" fmla="*/ 58 w 192"/>
                  <a:gd name="T41" fmla="*/ 51 h 158"/>
                  <a:gd name="T42" fmla="*/ 55 w 192"/>
                  <a:gd name="T43" fmla="*/ 51 h 158"/>
                  <a:gd name="T44" fmla="*/ 53 w 192"/>
                  <a:gd name="T45" fmla="*/ 50 h 158"/>
                  <a:gd name="T46" fmla="*/ 48 w 192"/>
                  <a:gd name="T47" fmla="*/ 48 h 158"/>
                  <a:gd name="T48" fmla="*/ 42 w 192"/>
                  <a:gd name="T49" fmla="*/ 46 h 158"/>
                  <a:gd name="T50" fmla="*/ 38 w 192"/>
                  <a:gd name="T51" fmla="*/ 44 h 158"/>
                  <a:gd name="T52" fmla="*/ 33 w 192"/>
                  <a:gd name="T53" fmla="*/ 40 h 158"/>
                  <a:gd name="T54" fmla="*/ 29 w 192"/>
                  <a:gd name="T55" fmla="*/ 37 h 158"/>
                  <a:gd name="T56" fmla="*/ 25 w 192"/>
                  <a:gd name="T57" fmla="*/ 33 h 158"/>
                  <a:gd name="T58" fmla="*/ 21 w 192"/>
                  <a:gd name="T59" fmla="*/ 29 h 158"/>
                  <a:gd name="T60" fmla="*/ 17 w 192"/>
                  <a:gd name="T61" fmla="*/ 25 h 158"/>
                  <a:gd name="T62" fmla="*/ 14 w 192"/>
                  <a:gd name="T63" fmla="*/ 21 h 158"/>
                  <a:gd name="T64" fmla="*/ 11 w 192"/>
                  <a:gd name="T65" fmla="*/ 17 h 158"/>
                  <a:gd name="T66" fmla="*/ 9 w 192"/>
                  <a:gd name="T67" fmla="*/ 13 h 158"/>
                  <a:gd name="T68" fmla="*/ 7 w 192"/>
                  <a:gd name="T69" fmla="*/ 9 h 158"/>
                  <a:gd name="T70" fmla="*/ 5 w 192"/>
                  <a:gd name="T71" fmla="*/ 5 h 158"/>
                  <a:gd name="T72" fmla="*/ 4 w 192"/>
                  <a:gd name="T73" fmla="*/ 2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92"/>
                  <a:gd name="T115" fmla="*/ 0 h 158"/>
                  <a:gd name="T116" fmla="*/ 192 w 192"/>
                  <a:gd name="T117" fmla="*/ 158 h 158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013" kern="1200">
                  <a:solidFill>
                    <a:srgbClr val="E7E6E6">
                      <a:lumMod val="75000"/>
                    </a:srgbClr>
                  </a:solidFill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21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253 w 884"/>
                  <a:gd name="T1" fmla="*/ 138 h 1818"/>
                  <a:gd name="T2" fmla="*/ 286 w 884"/>
                  <a:gd name="T3" fmla="*/ 114 h 1818"/>
                  <a:gd name="T4" fmla="*/ 290 w 884"/>
                  <a:gd name="T5" fmla="*/ 77 h 1818"/>
                  <a:gd name="T6" fmla="*/ 276 w 884"/>
                  <a:gd name="T7" fmla="*/ 64 h 1818"/>
                  <a:gd name="T8" fmla="*/ 276 w 884"/>
                  <a:gd name="T9" fmla="*/ 87 h 1818"/>
                  <a:gd name="T10" fmla="*/ 254 w 884"/>
                  <a:gd name="T11" fmla="*/ 109 h 1818"/>
                  <a:gd name="T12" fmla="*/ 219 w 884"/>
                  <a:gd name="T13" fmla="*/ 110 h 1818"/>
                  <a:gd name="T14" fmla="*/ 205 w 884"/>
                  <a:gd name="T15" fmla="*/ 97 h 1818"/>
                  <a:gd name="T16" fmla="*/ 216 w 884"/>
                  <a:gd name="T17" fmla="*/ 72 h 1818"/>
                  <a:gd name="T18" fmla="*/ 178 w 884"/>
                  <a:gd name="T19" fmla="*/ 49 h 1818"/>
                  <a:gd name="T20" fmla="*/ 139 w 884"/>
                  <a:gd name="T21" fmla="*/ 29 h 1818"/>
                  <a:gd name="T22" fmla="*/ 122 w 884"/>
                  <a:gd name="T23" fmla="*/ 3 h 1818"/>
                  <a:gd name="T24" fmla="*/ 94 w 884"/>
                  <a:gd name="T25" fmla="*/ 7 h 1818"/>
                  <a:gd name="T26" fmla="*/ 77 w 884"/>
                  <a:gd name="T27" fmla="*/ 8 h 1818"/>
                  <a:gd name="T28" fmla="*/ 56 w 884"/>
                  <a:gd name="T29" fmla="*/ 3 h 1818"/>
                  <a:gd name="T30" fmla="*/ 32 w 884"/>
                  <a:gd name="T31" fmla="*/ 18 h 1818"/>
                  <a:gd name="T32" fmla="*/ 22 w 884"/>
                  <a:gd name="T33" fmla="*/ 39 h 1818"/>
                  <a:gd name="T34" fmla="*/ 9 w 884"/>
                  <a:gd name="T35" fmla="*/ 60 h 1818"/>
                  <a:gd name="T36" fmla="*/ 18 w 884"/>
                  <a:gd name="T37" fmla="*/ 84 h 1818"/>
                  <a:gd name="T38" fmla="*/ 17 w 884"/>
                  <a:gd name="T39" fmla="*/ 106 h 1818"/>
                  <a:gd name="T40" fmla="*/ 0 w 884"/>
                  <a:gd name="T41" fmla="*/ 144 h 1818"/>
                  <a:gd name="T42" fmla="*/ 4 w 884"/>
                  <a:gd name="T43" fmla="*/ 203 h 1818"/>
                  <a:gd name="T44" fmla="*/ 25 w 884"/>
                  <a:gd name="T45" fmla="*/ 232 h 1818"/>
                  <a:gd name="T46" fmla="*/ 20 w 884"/>
                  <a:gd name="T47" fmla="*/ 251 h 1818"/>
                  <a:gd name="T48" fmla="*/ 20 w 884"/>
                  <a:gd name="T49" fmla="*/ 269 h 1818"/>
                  <a:gd name="T50" fmla="*/ 27 w 884"/>
                  <a:gd name="T51" fmla="*/ 283 h 1818"/>
                  <a:gd name="T52" fmla="*/ 17 w 884"/>
                  <a:gd name="T53" fmla="*/ 300 h 1818"/>
                  <a:gd name="T54" fmla="*/ 27 w 884"/>
                  <a:gd name="T55" fmla="*/ 328 h 1818"/>
                  <a:gd name="T56" fmla="*/ 27 w 884"/>
                  <a:gd name="T57" fmla="*/ 352 h 1818"/>
                  <a:gd name="T58" fmla="*/ 26 w 884"/>
                  <a:gd name="T59" fmla="*/ 384 h 1818"/>
                  <a:gd name="T60" fmla="*/ 45 w 884"/>
                  <a:gd name="T61" fmla="*/ 422 h 1818"/>
                  <a:gd name="T62" fmla="*/ 65 w 884"/>
                  <a:gd name="T63" fmla="*/ 465 h 1818"/>
                  <a:gd name="T64" fmla="*/ 71 w 884"/>
                  <a:gd name="T65" fmla="*/ 488 h 1818"/>
                  <a:gd name="T66" fmla="*/ 75 w 884"/>
                  <a:gd name="T67" fmla="*/ 509 h 1818"/>
                  <a:gd name="T68" fmla="*/ 70 w 884"/>
                  <a:gd name="T69" fmla="*/ 530 h 1818"/>
                  <a:gd name="T70" fmla="*/ 66 w 884"/>
                  <a:gd name="T71" fmla="*/ 548 h 1818"/>
                  <a:gd name="T72" fmla="*/ 75 w 884"/>
                  <a:gd name="T73" fmla="*/ 573 h 1818"/>
                  <a:gd name="T74" fmla="*/ 102 w 884"/>
                  <a:gd name="T75" fmla="*/ 591 h 1818"/>
                  <a:gd name="T76" fmla="*/ 129 w 884"/>
                  <a:gd name="T77" fmla="*/ 599 h 1818"/>
                  <a:gd name="T78" fmla="*/ 148 w 884"/>
                  <a:gd name="T79" fmla="*/ 595 h 1818"/>
                  <a:gd name="T80" fmla="*/ 149 w 884"/>
                  <a:gd name="T81" fmla="*/ 568 h 1818"/>
                  <a:gd name="T82" fmla="*/ 154 w 884"/>
                  <a:gd name="T83" fmla="*/ 537 h 1818"/>
                  <a:gd name="T84" fmla="*/ 162 w 884"/>
                  <a:gd name="T85" fmla="*/ 503 h 1818"/>
                  <a:gd name="T86" fmla="*/ 138 w 884"/>
                  <a:gd name="T87" fmla="*/ 495 h 1818"/>
                  <a:gd name="T88" fmla="*/ 132 w 884"/>
                  <a:gd name="T89" fmla="*/ 477 h 1818"/>
                  <a:gd name="T90" fmla="*/ 149 w 884"/>
                  <a:gd name="T91" fmla="*/ 465 h 1818"/>
                  <a:gd name="T92" fmla="*/ 159 w 884"/>
                  <a:gd name="T93" fmla="*/ 444 h 1818"/>
                  <a:gd name="T94" fmla="*/ 149 w 884"/>
                  <a:gd name="T95" fmla="*/ 408 h 1818"/>
                  <a:gd name="T96" fmla="*/ 139 w 884"/>
                  <a:gd name="T97" fmla="*/ 380 h 1818"/>
                  <a:gd name="T98" fmla="*/ 170 w 884"/>
                  <a:gd name="T99" fmla="*/ 389 h 1818"/>
                  <a:gd name="T100" fmla="*/ 186 w 884"/>
                  <a:gd name="T101" fmla="*/ 384 h 1818"/>
                  <a:gd name="T102" fmla="*/ 183 w 884"/>
                  <a:gd name="T103" fmla="*/ 359 h 1818"/>
                  <a:gd name="T104" fmla="*/ 185 w 884"/>
                  <a:gd name="T105" fmla="*/ 343 h 1818"/>
                  <a:gd name="T106" fmla="*/ 222 w 884"/>
                  <a:gd name="T107" fmla="*/ 341 h 1818"/>
                  <a:gd name="T108" fmla="*/ 261 w 884"/>
                  <a:gd name="T109" fmla="*/ 324 h 1818"/>
                  <a:gd name="T110" fmla="*/ 268 w 884"/>
                  <a:gd name="T111" fmla="*/ 294 h 1818"/>
                  <a:gd name="T112" fmla="*/ 256 w 884"/>
                  <a:gd name="T113" fmla="*/ 284 h 1818"/>
                  <a:gd name="T114" fmla="*/ 249 w 884"/>
                  <a:gd name="T115" fmla="*/ 270 h 1818"/>
                  <a:gd name="T116" fmla="*/ 227 w 884"/>
                  <a:gd name="T117" fmla="*/ 251 h 1818"/>
                  <a:gd name="T118" fmla="*/ 230 w 884"/>
                  <a:gd name="T119" fmla="*/ 177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884"/>
                  <a:gd name="T181" fmla="*/ 0 h 1818"/>
                  <a:gd name="T182" fmla="*/ 884 w 884"/>
                  <a:gd name="T183" fmla="*/ 1818 h 1818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013" kern="1200">
                  <a:solidFill>
                    <a:srgbClr val="E7E6E6">
                      <a:lumMod val="75000"/>
                    </a:srgbClr>
                  </a:solidFill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922" name="Freeform 442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6205372" y="2378178"/>
              <a:ext cx="112821" cy="99923"/>
            </a:xfrm>
            <a:custGeom>
              <a:avLst/>
              <a:gdLst>
                <a:gd name="T0" fmla="*/ 2147483647 w 279"/>
                <a:gd name="T1" fmla="*/ 2147483647 h 204"/>
                <a:gd name="T2" fmla="*/ 2147483647 w 279"/>
                <a:gd name="T3" fmla="*/ 2147483647 h 204"/>
                <a:gd name="T4" fmla="*/ 2147483647 w 279"/>
                <a:gd name="T5" fmla="*/ 2147483647 h 204"/>
                <a:gd name="T6" fmla="*/ 2147483647 w 279"/>
                <a:gd name="T7" fmla="*/ 2147483647 h 204"/>
                <a:gd name="T8" fmla="*/ 2147483647 w 279"/>
                <a:gd name="T9" fmla="*/ 2147483647 h 204"/>
                <a:gd name="T10" fmla="*/ 2147483647 w 279"/>
                <a:gd name="T11" fmla="*/ 2147483647 h 204"/>
                <a:gd name="T12" fmla="*/ 2147483647 w 279"/>
                <a:gd name="T13" fmla="*/ 2147483647 h 204"/>
                <a:gd name="T14" fmla="*/ 2147483647 w 279"/>
                <a:gd name="T15" fmla="*/ 2147483647 h 204"/>
                <a:gd name="T16" fmla="*/ 2147483647 w 279"/>
                <a:gd name="T17" fmla="*/ 2147483647 h 204"/>
                <a:gd name="T18" fmla="*/ 2147483647 w 279"/>
                <a:gd name="T19" fmla="*/ 2147483647 h 204"/>
                <a:gd name="T20" fmla="*/ 2147483647 w 279"/>
                <a:gd name="T21" fmla="*/ 2147483647 h 204"/>
                <a:gd name="T22" fmla="*/ 2147483647 w 279"/>
                <a:gd name="T23" fmla="*/ 2147483647 h 204"/>
                <a:gd name="T24" fmla="*/ 2147483647 w 279"/>
                <a:gd name="T25" fmla="*/ 2147483647 h 204"/>
                <a:gd name="T26" fmla="*/ 2147483647 w 279"/>
                <a:gd name="T27" fmla="*/ 2147483647 h 204"/>
                <a:gd name="T28" fmla="*/ 2147483647 w 279"/>
                <a:gd name="T29" fmla="*/ 2147483647 h 204"/>
                <a:gd name="T30" fmla="*/ 2147483647 w 279"/>
                <a:gd name="T31" fmla="*/ 2147483647 h 204"/>
                <a:gd name="T32" fmla="*/ 2147483647 w 279"/>
                <a:gd name="T33" fmla="*/ 2147483647 h 204"/>
                <a:gd name="T34" fmla="*/ 2147483647 w 279"/>
                <a:gd name="T35" fmla="*/ 2147483647 h 204"/>
                <a:gd name="T36" fmla="*/ 2147483647 w 279"/>
                <a:gd name="T37" fmla="*/ 2147483647 h 204"/>
                <a:gd name="T38" fmla="*/ 2147483647 w 279"/>
                <a:gd name="T39" fmla="*/ 2147483647 h 204"/>
                <a:gd name="T40" fmla="*/ 2147483647 w 279"/>
                <a:gd name="T41" fmla="*/ 2147483647 h 204"/>
                <a:gd name="T42" fmla="*/ 2147483647 w 279"/>
                <a:gd name="T43" fmla="*/ 2147483647 h 204"/>
                <a:gd name="T44" fmla="*/ 2147483647 w 279"/>
                <a:gd name="T45" fmla="*/ 2147483647 h 204"/>
                <a:gd name="T46" fmla="*/ 2147483647 w 279"/>
                <a:gd name="T47" fmla="*/ 2147483647 h 204"/>
                <a:gd name="T48" fmla="*/ 2147483647 w 279"/>
                <a:gd name="T49" fmla="*/ 2147483647 h 204"/>
                <a:gd name="T50" fmla="*/ 2147483647 w 279"/>
                <a:gd name="T51" fmla="*/ 2147483647 h 204"/>
                <a:gd name="T52" fmla="*/ 2147483647 w 279"/>
                <a:gd name="T53" fmla="*/ 2147483647 h 204"/>
                <a:gd name="T54" fmla="*/ 2147483647 w 279"/>
                <a:gd name="T55" fmla="*/ 2147483647 h 204"/>
                <a:gd name="T56" fmla="*/ 2147483647 w 279"/>
                <a:gd name="T57" fmla="*/ 2147483647 h 204"/>
                <a:gd name="T58" fmla="*/ 2147483647 w 279"/>
                <a:gd name="T59" fmla="*/ 2147483647 h 204"/>
                <a:gd name="T60" fmla="*/ 2147483647 w 279"/>
                <a:gd name="T61" fmla="*/ 2147483647 h 204"/>
                <a:gd name="T62" fmla="*/ 2147483647 w 279"/>
                <a:gd name="T63" fmla="*/ 2147483647 h 204"/>
                <a:gd name="T64" fmla="*/ 0 w 279"/>
                <a:gd name="T65" fmla="*/ 2147483647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79"/>
                <a:gd name="T100" fmla="*/ 0 h 204"/>
                <a:gd name="T101" fmla="*/ 279 w 279"/>
                <a:gd name="T102" fmla="*/ 204 h 20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3" name="Freeform 443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5719372" y="1988625"/>
              <a:ext cx="190929" cy="137574"/>
            </a:xfrm>
            <a:custGeom>
              <a:avLst/>
              <a:gdLst>
                <a:gd name="T0" fmla="*/ 2147483647 w 485"/>
                <a:gd name="T1" fmla="*/ 2147483647 h 291"/>
                <a:gd name="T2" fmla="*/ 2147483647 w 485"/>
                <a:gd name="T3" fmla="*/ 2147483647 h 291"/>
                <a:gd name="T4" fmla="*/ 2147483647 w 485"/>
                <a:gd name="T5" fmla="*/ 2147483647 h 291"/>
                <a:gd name="T6" fmla="*/ 2147483647 w 485"/>
                <a:gd name="T7" fmla="*/ 2147483647 h 291"/>
                <a:gd name="T8" fmla="*/ 2147483647 w 485"/>
                <a:gd name="T9" fmla="*/ 2147483647 h 291"/>
                <a:gd name="T10" fmla="*/ 2147483647 w 485"/>
                <a:gd name="T11" fmla="*/ 2147483647 h 291"/>
                <a:gd name="T12" fmla="*/ 2147483647 w 485"/>
                <a:gd name="T13" fmla="*/ 2147483647 h 291"/>
                <a:gd name="T14" fmla="*/ 2147483647 w 485"/>
                <a:gd name="T15" fmla="*/ 2147483647 h 291"/>
                <a:gd name="T16" fmla="*/ 2147483647 w 485"/>
                <a:gd name="T17" fmla="*/ 2147483647 h 291"/>
                <a:gd name="T18" fmla="*/ 2147483647 w 485"/>
                <a:gd name="T19" fmla="*/ 2147483647 h 291"/>
                <a:gd name="T20" fmla="*/ 2147483647 w 485"/>
                <a:gd name="T21" fmla="*/ 2147483647 h 291"/>
                <a:gd name="T22" fmla="*/ 2147483647 w 485"/>
                <a:gd name="T23" fmla="*/ 2147483647 h 291"/>
                <a:gd name="T24" fmla="*/ 2147483647 w 485"/>
                <a:gd name="T25" fmla="*/ 2147483647 h 291"/>
                <a:gd name="T26" fmla="*/ 2147483647 w 485"/>
                <a:gd name="T27" fmla="*/ 2147483647 h 291"/>
                <a:gd name="T28" fmla="*/ 2147483647 w 485"/>
                <a:gd name="T29" fmla="*/ 2147483647 h 291"/>
                <a:gd name="T30" fmla="*/ 0 w 485"/>
                <a:gd name="T31" fmla="*/ 2147483647 h 291"/>
                <a:gd name="T32" fmla="*/ 2147483647 w 485"/>
                <a:gd name="T33" fmla="*/ 2147483647 h 291"/>
                <a:gd name="T34" fmla="*/ 2147483647 w 485"/>
                <a:gd name="T35" fmla="*/ 2147483647 h 291"/>
                <a:gd name="T36" fmla="*/ 2147483647 w 485"/>
                <a:gd name="T37" fmla="*/ 2147483647 h 291"/>
                <a:gd name="T38" fmla="*/ 2147483647 w 485"/>
                <a:gd name="T39" fmla="*/ 2147483647 h 291"/>
                <a:gd name="T40" fmla="*/ 2147483647 w 485"/>
                <a:gd name="T41" fmla="*/ 2147483647 h 291"/>
                <a:gd name="T42" fmla="*/ 2147483647 w 485"/>
                <a:gd name="T43" fmla="*/ 2147483647 h 291"/>
                <a:gd name="T44" fmla="*/ 2147483647 w 485"/>
                <a:gd name="T45" fmla="*/ 2147483647 h 291"/>
                <a:gd name="T46" fmla="*/ 2147483647 w 485"/>
                <a:gd name="T47" fmla="*/ 2147483647 h 291"/>
                <a:gd name="T48" fmla="*/ 2147483647 w 485"/>
                <a:gd name="T49" fmla="*/ 2147483647 h 291"/>
                <a:gd name="T50" fmla="*/ 2147483647 w 485"/>
                <a:gd name="T51" fmla="*/ 2147483647 h 291"/>
                <a:gd name="T52" fmla="*/ 2147483647 w 485"/>
                <a:gd name="T53" fmla="*/ 2147483647 h 291"/>
                <a:gd name="T54" fmla="*/ 2147483647 w 485"/>
                <a:gd name="T55" fmla="*/ 2147483647 h 291"/>
                <a:gd name="T56" fmla="*/ 2147483647 w 485"/>
                <a:gd name="T57" fmla="*/ 2147483647 h 291"/>
                <a:gd name="T58" fmla="*/ 2147483647 w 485"/>
                <a:gd name="T59" fmla="*/ 2147483647 h 291"/>
                <a:gd name="T60" fmla="*/ 2147483647 w 485"/>
                <a:gd name="T61" fmla="*/ 2147483647 h 291"/>
                <a:gd name="T62" fmla="*/ 2147483647 w 485"/>
                <a:gd name="T63" fmla="*/ 2147483647 h 291"/>
                <a:gd name="T64" fmla="*/ 2147483647 w 485"/>
                <a:gd name="T65" fmla="*/ 2147483647 h 291"/>
                <a:gd name="T66" fmla="*/ 2147483647 w 485"/>
                <a:gd name="T67" fmla="*/ 2147483647 h 291"/>
                <a:gd name="T68" fmla="*/ 2147483647 w 485"/>
                <a:gd name="T69" fmla="*/ 2147483647 h 291"/>
                <a:gd name="T70" fmla="*/ 2147483647 w 485"/>
                <a:gd name="T71" fmla="*/ 2147483647 h 291"/>
                <a:gd name="T72" fmla="*/ 2147483647 w 485"/>
                <a:gd name="T73" fmla="*/ 2147483647 h 291"/>
                <a:gd name="T74" fmla="*/ 2147483647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85"/>
                <a:gd name="T115" fmla="*/ 0 h 291"/>
                <a:gd name="T116" fmla="*/ 485 w 485"/>
                <a:gd name="T117" fmla="*/ 291 h 29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4" name="Freeform 444"/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5589194" y="2291289"/>
              <a:ext cx="75214" cy="79649"/>
            </a:xfrm>
            <a:custGeom>
              <a:avLst/>
              <a:gdLst>
                <a:gd name="T0" fmla="*/ 2147483647 w 186"/>
                <a:gd name="T1" fmla="*/ 2147483647 h 166"/>
                <a:gd name="T2" fmla="*/ 2147483647 w 186"/>
                <a:gd name="T3" fmla="*/ 2147483647 h 166"/>
                <a:gd name="T4" fmla="*/ 2147483647 w 186"/>
                <a:gd name="T5" fmla="*/ 2147483647 h 166"/>
                <a:gd name="T6" fmla="*/ 2147483647 w 186"/>
                <a:gd name="T7" fmla="*/ 2147483647 h 166"/>
                <a:gd name="T8" fmla="*/ 2147483647 w 186"/>
                <a:gd name="T9" fmla="*/ 2147483647 h 166"/>
                <a:gd name="T10" fmla="*/ 2147483647 w 186"/>
                <a:gd name="T11" fmla="*/ 2147483647 h 166"/>
                <a:gd name="T12" fmla="*/ 2147483647 w 186"/>
                <a:gd name="T13" fmla="*/ 2147483647 h 166"/>
                <a:gd name="T14" fmla="*/ 2147483647 w 186"/>
                <a:gd name="T15" fmla="*/ 2147483647 h 166"/>
                <a:gd name="T16" fmla="*/ 2147483647 w 186"/>
                <a:gd name="T17" fmla="*/ 2147483647 h 166"/>
                <a:gd name="T18" fmla="*/ 2147483647 w 186"/>
                <a:gd name="T19" fmla="*/ 2147483647 h 166"/>
                <a:gd name="T20" fmla="*/ 0 w 186"/>
                <a:gd name="T21" fmla="*/ 2147483647 h 166"/>
                <a:gd name="T22" fmla="*/ 0 w 186"/>
                <a:gd name="T23" fmla="*/ 0 h 166"/>
                <a:gd name="T24" fmla="*/ 2147483647 w 186"/>
                <a:gd name="T25" fmla="*/ 2147483647 h 166"/>
                <a:gd name="T26" fmla="*/ 2147483647 w 186"/>
                <a:gd name="T27" fmla="*/ 2147483647 h 166"/>
                <a:gd name="T28" fmla="*/ 2147483647 w 186"/>
                <a:gd name="T29" fmla="*/ 2147483647 h 166"/>
                <a:gd name="T30" fmla="*/ 2147483647 w 186"/>
                <a:gd name="T31" fmla="*/ 2147483647 h 166"/>
                <a:gd name="T32" fmla="*/ 2147483647 w 186"/>
                <a:gd name="T33" fmla="*/ 2147483647 h 166"/>
                <a:gd name="T34" fmla="*/ 2147483647 w 186"/>
                <a:gd name="T35" fmla="*/ 2147483647 h 166"/>
                <a:gd name="T36" fmla="*/ 2147483647 w 186"/>
                <a:gd name="T37" fmla="*/ 2147483647 h 166"/>
                <a:gd name="T38" fmla="*/ 2147483647 w 186"/>
                <a:gd name="T39" fmla="*/ 0 h 166"/>
                <a:gd name="T40" fmla="*/ 2147483647 w 186"/>
                <a:gd name="T41" fmla="*/ 2147483647 h 166"/>
                <a:gd name="T42" fmla="*/ 2147483647 w 186"/>
                <a:gd name="T43" fmla="*/ 2147483647 h 166"/>
                <a:gd name="T44" fmla="*/ 2147483647 w 186"/>
                <a:gd name="T45" fmla="*/ 2147483647 h 166"/>
                <a:gd name="T46" fmla="*/ 2147483647 w 186"/>
                <a:gd name="T47" fmla="*/ 2147483647 h 166"/>
                <a:gd name="T48" fmla="*/ 2147483647 w 186"/>
                <a:gd name="T49" fmla="*/ 2147483647 h 166"/>
                <a:gd name="T50" fmla="*/ 2147483647 w 186"/>
                <a:gd name="T51" fmla="*/ 2147483647 h 166"/>
                <a:gd name="T52" fmla="*/ 2147483647 w 186"/>
                <a:gd name="T53" fmla="*/ 2147483647 h 166"/>
                <a:gd name="T54" fmla="*/ 2147483647 w 186"/>
                <a:gd name="T55" fmla="*/ 2147483647 h 166"/>
                <a:gd name="T56" fmla="*/ 2147483647 w 186"/>
                <a:gd name="T57" fmla="*/ 2147483647 h 166"/>
                <a:gd name="T58" fmla="*/ 2147483647 w 186"/>
                <a:gd name="T59" fmla="*/ 2147483647 h 166"/>
                <a:gd name="T60" fmla="*/ 2147483647 w 186"/>
                <a:gd name="T61" fmla="*/ 2147483647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86"/>
                <a:gd name="T94" fmla="*/ 0 h 166"/>
                <a:gd name="T95" fmla="*/ 186 w 186"/>
                <a:gd name="T96" fmla="*/ 166 h 16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5" name="Freeform 445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4099372" y="3601868"/>
              <a:ext cx="75214" cy="52134"/>
            </a:xfrm>
            <a:custGeom>
              <a:avLst/>
              <a:gdLst>
                <a:gd name="T0" fmla="*/ 2147483647 w 186"/>
                <a:gd name="T1" fmla="*/ 2147483647 h 104"/>
                <a:gd name="T2" fmla="*/ 2147483647 w 186"/>
                <a:gd name="T3" fmla="*/ 2147483647 h 104"/>
                <a:gd name="T4" fmla="*/ 2147483647 w 186"/>
                <a:gd name="T5" fmla="*/ 2147483647 h 104"/>
                <a:gd name="T6" fmla="*/ 2147483647 w 186"/>
                <a:gd name="T7" fmla="*/ 2147483647 h 104"/>
                <a:gd name="T8" fmla="*/ 2147483647 w 186"/>
                <a:gd name="T9" fmla="*/ 2147483647 h 104"/>
                <a:gd name="T10" fmla="*/ 2147483647 w 186"/>
                <a:gd name="T11" fmla="*/ 2147483647 h 104"/>
                <a:gd name="T12" fmla="*/ 2147483647 w 186"/>
                <a:gd name="T13" fmla="*/ 2147483647 h 104"/>
                <a:gd name="T14" fmla="*/ 2147483647 w 186"/>
                <a:gd name="T15" fmla="*/ 2147483647 h 104"/>
                <a:gd name="T16" fmla="*/ 2147483647 w 186"/>
                <a:gd name="T17" fmla="*/ 2147483647 h 104"/>
                <a:gd name="T18" fmla="*/ 2147483647 w 186"/>
                <a:gd name="T19" fmla="*/ 2147483647 h 104"/>
                <a:gd name="T20" fmla="*/ 2147483647 w 186"/>
                <a:gd name="T21" fmla="*/ 2147483647 h 104"/>
                <a:gd name="T22" fmla="*/ 2147483647 w 186"/>
                <a:gd name="T23" fmla="*/ 2147483647 h 104"/>
                <a:gd name="T24" fmla="*/ 2147483647 w 186"/>
                <a:gd name="T25" fmla="*/ 2147483647 h 104"/>
                <a:gd name="T26" fmla="*/ 2147483647 w 186"/>
                <a:gd name="T27" fmla="*/ 0 h 104"/>
                <a:gd name="T28" fmla="*/ 2147483647 w 186"/>
                <a:gd name="T29" fmla="*/ 0 h 104"/>
                <a:gd name="T30" fmla="*/ 2147483647 w 186"/>
                <a:gd name="T31" fmla="*/ 2147483647 h 104"/>
                <a:gd name="T32" fmla="*/ 2147483647 w 186"/>
                <a:gd name="T33" fmla="*/ 2147483647 h 104"/>
                <a:gd name="T34" fmla="*/ 2147483647 w 186"/>
                <a:gd name="T35" fmla="*/ 2147483647 h 104"/>
                <a:gd name="T36" fmla="*/ 2147483647 w 186"/>
                <a:gd name="T37" fmla="*/ 2147483647 h 104"/>
                <a:gd name="T38" fmla="*/ 2147483647 w 186"/>
                <a:gd name="T39" fmla="*/ 2147483647 h 104"/>
                <a:gd name="T40" fmla="*/ 2147483647 w 186"/>
                <a:gd name="T41" fmla="*/ 2147483647 h 104"/>
                <a:gd name="T42" fmla="*/ 2147483647 w 186"/>
                <a:gd name="T43" fmla="*/ 2147483647 h 104"/>
                <a:gd name="T44" fmla="*/ 2147483647 w 186"/>
                <a:gd name="T45" fmla="*/ 2147483647 h 104"/>
                <a:gd name="T46" fmla="*/ 2147483647 w 186"/>
                <a:gd name="T47" fmla="*/ 2147483647 h 104"/>
                <a:gd name="T48" fmla="*/ 0 w 186"/>
                <a:gd name="T49" fmla="*/ 2147483647 h 104"/>
                <a:gd name="T50" fmla="*/ 2147483647 w 186"/>
                <a:gd name="T51" fmla="*/ 2147483647 h 104"/>
                <a:gd name="T52" fmla="*/ 2147483647 w 186"/>
                <a:gd name="T53" fmla="*/ 2147483647 h 104"/>
                <a:gd name="T54" fmla="*/ 2147483647 w 186"/>
                <a:gd name="T55" fmla="*/ 2147483647 h 104"/>
                <a:gd name="T56" fmla="*/ 2147483647 w 186"/>
                <a:gd name="T57" fmla="*/ 2147483647 h 104"/>
                <a:gd name="T58" fmla="*/ 2147483647 w 186"/>
                <a:gd name="T59" fmla="*/ 2147483647 h 104"/>
                <a:gd name="T60" fmla="*/ 2147483647 w 186"/>
                <a:gd name="T61" fmla="*/ 2147483647 h 104"/>
                <a:gd name="T62" fmla="*/ 2147483647 w 186"/>
                <a:gd name="T63" fmla="*/ 2147483647 h 104"/>
                <a:gd name="T64" fmla="*/ 2147483647 w 186"/>
                <a:gd name="T65" fmla="*/ 2147483647 h 104"/>
                <a:gd name="T66" fmla="*/ 2147483647 w 186"/>
                <a:gd name="T67" fmla="*/ 2147483647 h 104"/>
                <a:gd name="T68" fmla="*/ 2147483647 w 186"/>
                <a:gd name="T69" fmla="*/ 2147483647 h 104"/>
                <a:gd name="T70" fmla="*/ 2147483647 w 186"/>
                <a:gd name="T71" fmla="*/ 2147483647 h 104"/>
                <a:gd name="T72" fmla="*/ 2147483647 w 186"/>
                <a:gd name="T73" fmla="*/ 2147483647 h 104"/>
                <a:gd name="T74" fmla="*/ 2147483647 w 186"/>
                <a:gd name="T75" fmla="*/ 2147483647 h 104"/>
                <a:gd name="T76" fmla="*/ 2147483647 w 186"/>
                <a:gd name="T77" fmla="*/ 2147483647 h 104"/>
                <a:gd name="T78" fmla="*/ 2147483647 w 186"/>
                <a:gd name="T79" fmla="*/ 2147483647 h 104"/>
                <a:gd name="T80" fmla="*/ 2147483647 w 186"/>
                <a:gd name="T81" fmla="*/ 2147483647 h 104"/>
                <a:gd name="T82" fmla="*/ 2147483647 w 186"/>
                <a:gd name="T83" fmla="*/ 2147483647 h 104"/>
                <a:gd name="T84" fmla="*/ 2147483647 w 186"/>
                <a:gd name="T85" fmla="*/ 2147483647 h 104"/>
                <a:gd name="T86" fmla="*/ 2147483647 w 186"/>
                <a:gd name="T87" fmla="*/ 2147483647 h 104"/>
                <a:gd name="T88" fmla="*/ 2147483647 w 186"/>
                <a:gd name="T89" fmla="*/ 2147483647 h 104"/>
                <a:gd name="T90" fmla="*/ 2147483647 w 186"/>
                <a:gd name="T91" fmla="*/ 2147483647 h 104"/>
                <a:gd name="T92" fmla="*/ 2147483647 w 186"/>
                <a:gd name="T93" fmla="*/ 2147483647 h 104"/>
                <a:gd name="T94" fmla="*/ 2147483647 w 186"/>
                <a:gd name="T95" fmla="*/ 2147483647 h 104"/>
                <a:gd name="T96" fmla="*/ 2147483647 w 186"/>
                <a:gd name="T97" fmla="*/ 2147483647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86"/>
                <a:gd name="T148" fmla="*/ 0 h 104"/>
                <a:gd name="T149" fmla="*/ 186 w 186"/>
                <a:gd name="T150" fmla="*/ 104 h 10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6" name="Freeform 446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5733836" y="2323148"/>
              <a:ext cx="121500" cy="88338"/>
            </a:xfrm>
            <a:custGeom>
              <a:avLst/>
              <a:gdLst>
                <a:gd name="T0" fmla="*/ 2147483647 w 311"/>
                <a:gd name="T1" fmla="*/ 2147483647 h 179"/>
                <a:gd name="T2" fmla="*/ 2147483647 w 311"/>
                <a:gd name="T3" fmla="*/ 2147483647 h 179"/>
                <a:gd name="T4" fmla="*/ 2147483647 w 311"/>
                <a:gd name="T5" fmla="*/ 2147483647 h 179"/>
                <a:gd name="T6" fmla="*/ 2147483647 w 311"/>
                <a:gd name="T7" fmla="*/ 2147483647 h 179"/>
                <a:gd name="T8" fmla="*/ 2147483647 w 311"/>
                <a:gd name="T9" fmla="*/ 0 h 179"/>
                <a:gd name="T10" fmla="*/ 2147483647 w 311"/>
                <a:gd name="T11" fmla="*/ 2147483647 h 179"/>
                <a:gd name="T12" fmla="*/ 2147483647 w 311"/>
                <a:gd name="T13" fmla="*/ 2147483647 h 179"/>
                <a:gd name="T14" fmla="*/ 2147483647 w 311"/>
                <a:gd name="T15" fmla="*/ 2147483647 h 179"/>
                <a:gd name="T16" fmla="*/ 2147483647 w 311"/>
                <a:gd name="T17" fmla="*/ 2147483647 h 179"/>
                <a:gd name="T18" fmla="*/ 2147483647 w 311"/>
                <a:gd name="T19" fmla="*/ 2147483647 h 179"/>
                <a:gd name="T20" fmla="*/ 2147483647 w 311"/>
                <a:gd name="T21" fmla="*/ 2147483647 h 179"/>
                <a:gd name="T22" fmla="*/ 2147483647 w 311"/>
                <a:gd name="T23" fmla="*/ 2147483647 h 179"/>
                <a:gd name="T24" fmla="*/ 2147483647 w 311"/>
                <a:gd name="T25" fmla="*/ 2147483647 h 179"/>
                <a:gd name="T26" fmla="*/ 2147483647 w 311"/>
                <a:gd name="T27" fmla="*/ 2147483647 h 179"/>
                <a:gd name="T28" fmla="*/ 2147483647 w 311"/>
                <a:gd name="T29" fmla="*/ 2147483647 h 179"/>
                <a:gd name="T30" fmla="*/ 2147483647 w 311"/>
                <a:gd name="T31" fmla="*/ 2147483647 h 179"/>
                <a:gd name="T32" fmla="*/ 2147483647 w 311"/>
                <a:gd name="T33" fmla="*/ 2147483647 h 179"/>
                <a:gd name="T34" fmla="*/ 2147483647 w 311"/>
                <a:gd name="T35" fmla="*/ 2147483647 h 179"/>
                <a:gd name="T36" fmla="*/ 2147483647 w 311"/>
                <a:gd name="T37" fmla="*/ 2147483647 h 179"/>
                <a:gd name="T38" fmla="*/ 2147483647 w 311"/>
                <a:gd name="T39" fmla="*/ 2147483647 h 179"/>
                <a:gd name="T40" fmla="*/ 2147483647 w 311"/>
                <a:gd name="T41" fmla="*/ 2147483647 h 179"/>
                <a:gd name="T42" fmla="*/ 2147483647 w 311"/>
                <a:gd name="T43" fmla="*/ 2147483647 h 179"/>
                <a:gd name="T44" fmla="*/ 2147483647 w 311"/>
                <a:gd name="T45" fmla="*/ 2147483647 h 179"/>
                <a:gd name="T46" fmla="*/ 2147483647 w 311"/>
                <a:gd name="T47" fmla="*/ 2147483647 h 179"/>
                <a:gd name="T48" fmla="*/ 2147483647 w 311"/>
                <a:gd name="T49" fmla="*/ 2147483647 h 179"/>
                <a:gd name="T50" fmla="*/ 2147483647 w 311"/>
                <a:gd name="T51" fmla="*/ 2147483647 h 179"/>
                <a:gd name="T52" fmla="*/ 2147483647 w 311"/>
                <a:gd name="T53" fmla="*/ 2147483647 h 179"/>
                <a:gd name="T54" fmla="*/ 2147483647 w 311"/>
                <a:gd name="T55" fmla="*/ 2147483647 h 179"/>
                <a:gd name="T56" fmla="*/ 2147483647 w 311"/>
                <a:gd name="T57" fmla="*/ 2147483647 h 179"/>
                <a:gd name="T58" fmla="*/ 2147483647 w 311"/>
                <a:gd name="T59" fmla="*/ 2147483647 h 179"/>
                <a:gd name="T60" fmla="*/ 2147483647 w 311"/>
                <a:gd name="T61" fmla="*/ 2147483647 h 179"/>
                <a:gd name="T62" fmla="*/ 2147483647 w 311"/>
                <a:gd name="T63" fmla="*/ 2147483647 h 179"/>
                <a:gd name="T64" fmla="*/ 2147483647 w 311"/>
                <a:gd name="T65" fmla="*/ 2147483647 h 179"/>
                <a:gd name="T66" fmla="*/ 2147483647 w 311"/>
                <a:gd name="T67" fmla="*/ 2147483647 h 179"/>
                <a:gd name="T68" fmla="*/ 2147483647 w 311"/>
                <a:gd name="T69" fmla="*/ 2147483647 h 179"/>
                <a:gd name="T70" fmla="*/ 2147483647 w 311"/>
                <a:gd name="T71" fmla="*/ 2147483647 h 179"/>
                <a:gd name="T72" fmla="*/ 2147483647 w 311"/>
                <a:gd name="T73" fmla="*/ 2147483647 h 179"/>
                <a:gd name="T74" fmla="*/ 0 w 311"/>
                <a:gd name="T75" fmla="*/ 2147483647 h 179"/>
                <a:gd name="T76" fmla="*/ 0 w 311"/>
                <a:gd name="T77" fmla="*/ 2147483647 h 179"/>
                <a:gd name="T78" fmla="*/ 2147483647 w 311"/>
                <a:gd name="T79" fmla="*/ 2147483647 h 179"/>
                <a:gd name="T80" fmla="*/ 2147483647 w 311"/>
                <a:gd name="T81" fmla="*/ 2147483647 h 179"/>
                <a:gd name="T82" fmla="*/ 2147483647 w 311"/>
                <a:gd name="T83" fmla="*/ 2147483647 h 179"/>
                <a:gd name="T84" fmla="*/ 2147483647 w 311"/>
                <a:gd name="T85" fmla="*/ 2147483647 h 179"/>
                <a:gd name="T86" fmla="*/ 2147483647 w 311"/>
                <a:gd name="T87" fmla="*/ 2147483647 h 179"/>
                <a:gd name="T88" fmla="*/ 2147483647 w 311"/>
                <a:gd name="T89" fmla="*/ 2147483647 h 179"/>
                <a:gd name="T90" fmla="*/ 2147483647 w 311"/>
                <a:gd name="T91" fmla="*/ 2147483647 h 179"/>
                <a:gd name="T92" fmla="*/ 2147483647 w 311"/>
                <a:gd name="T93" fmla="*/ 2147483647 h 179"/>
                <a:gd name="T94" fmla="*/ 2147483647 w 311"/>
                <a:gd name="T95" fmla="*/ 2147483647 h 179"/>
                <a:gd name="T96" fmla="*/ 2147483647 w 311"/>
                <a:gd name="T97" fmla="*/ 2147483647 h 179"/>
                <a:gd name="T98" fmla="*/ 2147483647 w 311"/>
                <a:gd name="T99" fmla="*/ 2147483647 h 179"/>
                <a:gd name="T100" fmla="*/ 0 w 311"/>
                <a:gd name="T101" fmla="*/ 2147483647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11"/>
                <a:gd name="T154" fmla="*/ 0 h 179"/>
                <a:gd name="T155" fmla="*/ 311 w 311"/>
                <a:gd name="T156" fmla="*/ 179 h 17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7" name="Freeform 447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5146586" y="3168870"/>
              <a:ext cx="162000" cy="150608"/>
            </a:xfrm>
            <a:custGeom>
              <a:avLst/>
              <a:gdLst>
                <a:gd name="T0" fmla="*/ 2147483647 w 405"/>
                <a:gd name="T1" fmla="*/ 2147483647 h 314"/>
                <a:gd name="T2" fmla="*/ 2147483647 w 405"/>
                <a:gd name="T3" fmla="*/ 2147483647 h 314"/>
                <a:gd name="T4" fmla="*/ 2147483647 w 405"/>
                <a:gd name="T5" fmla="*/ 2147483647 h 314"/>
                <a:gd name="T6" fmla="*/ 2147483647 w 405"/>
                <a:gd name="T7" fmla="*/ 2147483647 h 314"/>
                <a:gd name="T8" fmla="*/ 2147483647 w 405"/>
                <a:gd name="T9" fmla="*/ 2147483647 h 314"/>
                <a:gd name="T10" fmla="*/ 2147483647 w 405"/>
                <a:gd name="T11" fmla="*/ 2147483647 h 314"/>
                <a:gd name="T12" fmla="*/ 2147483647 w 405"/>
                <a:gd name="T13" fmla="*/ 2147483647 h 314"/>
                <a:gd name="T14" fmla="*/ 2147483647 w 405"/>
                <a:gd name="T15" fmla="*/ 2147483647 h 314"/>
                <a:gd name="T16" fmla="*/ 2147483647 w 405"/>
                <a:gd name="T17" fmla="*/ 2147483647 h 314"/>
                <a:gd name="T18" fmla="*/ 2147483647 w 405"/>
                <a:gd name="T19" fmla="*/ 2147483647 h 314"/>
                <a:gd name="T20" fmla="*/ 2147483647 w 405"/>
                <a:gd name="T21" fmla="*/ 2147483647 h 314"/>
                <a:gd name="T22" fmla="*/ 2147483647 w 405"/>
                <a:gd name="T23" fmla="*/ 2147483647 h 314"/>
                <a:gd name="T24" fmla="*/ 2147483647 w 405"/>
                <a:gd name="T25" fmla="*/ 2147483647 h 314"/>
                <a:gd name="T26" fmla="*/ 2147483647 w 405"/>
                <a:gd name="T27" fmla="*/ 2147483647 h 314"/>
                <a:gd name="T28" fmla="*/ 2147483647 w 405"/>
                <a:gd name="T29" fmla="*/ 2147483647 h 314"/>
                <a:gd name="T30" fmla="*/ 2147483647 w 405"/>
                <a:gd name="T31" fmla="*/ 2147483647 h 314"/>
                <a:gd name="T32" fmla="*/ 2147483647 w 405"/>
                <a:gd name="T33" fmla="*/ 2147483647 h 314"/>
                <a:gd name="T34" fmla="*/ 2147483647 w 405"/>
                <a:gd name="T35" fmla="*/ 2147483647 h 314"/>
                <a:gd name="T36" fmla="*/ 2147483647 w 405"/>
                <a:gd name="T37" fmla="*/ 2147483647 h 314"/>
                <a:gd name="T38" fmla="*/ 2147483647 w 405"/>
                <a:gd name="T39" fmla="*/ 2147483647 h 314"/>
                <a:gd name="T40" fmla="*/ 2147483647 w 405"/>
                <a:gd name="T41" fmla="*/ 0 h 314"/>
                <a:gd name="T42" fmla="*/ 2147483647 w 405"/>
                <a:gd name="T43" fmla="*/ 2147483647 h 314"/>
                <a:gd name="T44" fmla="*/ 2147483647 w 405"/>
                <a:gd name="T45" fmla="*/ 2147483647 h 314"/>
                <a:gd name="T46" fmla="*/ 2147483647 w 405"/>
                <a:gd name="T47" fmla="*/ 2147483647 h 314"/>
                <a:gd name="T48" fmla="*/ 2147483647 w 405"/>
                <a:gd name="T49" fmla="*/ 2147483647 h 314"/>
                <a:gd name="T50" fmla="*/ 2147483647 w 405"/>
                <a:gd name="T51" fmla="*/ 2147483647 h 314"/>
                <a:gd name="T52" fmla="*/ 2147483647 w 405"/>
                <a:gd name="T53" fmla="*/ 2147483647 h 314"/>
                <a:gd name="T54" fmla="*/ 2147483647 w 405"/>
                <a:gd name="T55" fmla="*/ 2147483647 h 314"/>
                <a:gd name="T56" fmla="*/ 2147483647 w 405"/>
                <a:gd name="T57" fmla="*/ 2147483647 h 314"/>
                <a:gd name="T58" fmla="*/ 2147483647 w 405"/>
                <a:gd name="T59" fmla="*/ 2147483647 h 314"/>
                <a:gd name="T60" fmla="*/ 2147483647 w 405"/>
                <a:gd name="T61" fmla="*/ 2147483647 h 314"/>
                <a:gd name="T62" fmla="*/ 2147483647 w 405"/>
                <a:gd name="T63" fmla="*/ 2147483647 h 314"/>
                <a:gd name="T64" fmla="*/ 2147483647 w 405"/>
                <a:gd name="T65" fmla="*/ 2147483647 h 314"/>
                <a:gd name="T66" fmla="*/ 2147483647 w 405"/>
                <a:gd name="T67" fmla="*/ 2147483647 h 314"/>
                <a:gd name="T68" fmla="*/ 2147483647 w 405"/>
                <a:gd name="T69" fmla="*/ 2147483647 h 314"/>
                <a:gd name="T70" fmla="*/ 2147483647 w 405"/>
                <a:gd name="T71" fmla="*/ 2147483647 h 314"/>
                <a:gd name="T72" fmla="*/ 2147483647 w 405"/>
                <a:gd name="T73" fmla="*/ 2147483647 h 314"/>
                <a:gd name="T74" fmla="*/ 2147483647 w 405"/>
                <a:gd name="T75" fmla="*/ 2147483647 h 314"/>
                <a:gd name="T76" fmla="*/ 2147483647 w 405"/>
                <a:gd name="T77" fmla="*/ 2147483647 h 314"/>
                <a:gd name="T78" fmla="*/ 2147483647 w 405"/>
                <a:gd name="T79" fmla="*/ 2147483647 h 314"/>
                <a:gd name="T80" fmla="*/ 2147483647 w 405"/>
                <a:gd name="T81" fmla="*/ 2147483647 h 314"/>
                <a:gd name="T82" fmla="*/ 2147483647 w 405"/>
                <a:gd name="T83" fmla="*/ 2147483647 h 314"/>
                <a:gd name="T84" fmla="*/ 2147483647 w 405"/>
                <a:gd name="T85" fmla="*/ 2147483647 h 314"/>
                <a:gd name="T86" fmla="*/ 2147483647 w 405"/>
                <a:gd name="T87" fmla="*/ 2147483647 h 314"/>
                <a:gd name="T88" fmla="*/ 2147483647 w 405"/>
                <a:gd name="T89" fmla="*/ 2147483647 h 314"/>
                <a:gd name="T90" fmla="*/ 2147483647 w 405"/>
                <a:gd name="T91" fmla="*/ 2147483647 h 314"/>
                <a:gd name="T92" fmla="*/ 2147483647 w 405"/>
                <a:gd name="T93" fmla="*/ 2147483647 h 314"/>
                <a:gd name="T94" fmla="*/ 2147483647 w 405"/>
                <a:gd name="T95" fmla="*/ 2147483647 h 314"/>
                <a:gd name="T96" fmla="*/ 2147483647 w 405"/>
                <a:gd name="T97" fmla="*/ 2147483647 h 314"/>
                <a:gd name="T98" fmla="*/ 2147483647 w 405"/>
                <a:gd name="T99" fmla="*/ 2147483647 h 314"/>
                <a:gd name="T100" fmla="*/ 2147483647 w 405"/>
                <a:gd name="T101" fmla="*/ 2147483647 h 314"/>
                <a:gd name="T102" fmla="*/ 2147483647 w 405"/>
                <a:gd name="T103" fmla="*/ 2147483647 h 314"/>
                <a:gd name="T104" fmla="*/ 0 w 405"/>
                <a:gd name="T105" fmla="*/ 2147483647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05"/>
                <a:gd name="T160" fmla="*/ 0 h 314"/>
                <a:gd name="T161" fmla="*/ 405 w 405"/>
                <a:gd name="T162" fmla="*/ 314 h 31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9" name="Freeform 449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7696640" y="3011021"/>
              <a:ext cx="50625" cy="52134"/>
            </a:xfrm>
            <a:custGeom>
              <a:avLst/>
              <a:gdLst>
                <a:gd name="T0" fmla="*/ 0 w 126"/>
                <a:gd name="T1" fmla="*/ 2147483647 h 105"/>
                <a:gd name="T2" fmla="*/ 2147483647 w 126"/>
                <a:gd name="T3" fmla="*/ 2147483647 h 105"/>
                <a:gd name="T4" fmla="*/ 2147483647 w 126"/>
                <a:gd name="T5" fmla="*/ 2147483647 h 105"/>
                <a:gd name="T6" fmla="*/ 2147483647 w 126"/>
                <a:gd name="T7" fmla="*/ 2147483647 h 105"/>
                <a:gd name="T8" fmla="*/ 2147483647 w 126"/>
                <a:gd name="T9" fmla="*/ 2147483647 h 105"/>
                <a:gd name="T10" fmla="*/ 2147483647 w 126"/>
                <a:gd name="T11" fmla="*/ 2147483647 h 105"/>
                <a:gd name="T12" fmla="*/ 2147483647 w 126"/>
                <a:gd name="T13" fmla="*/ 0 h 105"/>
                <a:gd name="T14" fmla="*/ 2147483647 w 126"/>
                <a:gd name="T15" fmla="*/ 0 h 105"/>
                <a:gd name="T16" fmla="*/ 2147483647 w 126"/>
                <a:gd name="T17" fmla="*/ 2147483647 h 105"/>
                <a:gd name="T18" fmla="*/ 2147483647 w 126"/>
                <a:gd name="T19" fmla="*/ 2147483647 h 105"/>
                <a:gd name="T20" fmla="*/ 2147483647 w 126"/>
                <a:gd name="T21" fmla="*/ 2147483647 h 105"/>
                <a:gd name="T22" fmla="*/ 2147483647 w 126"/>
                <a:gd name="T23" fmla="*/ 2147483647 h 105"/>
                <a:gd name="T24" fmla="*/ 2147483647 w 126"/>
                <a:gd name="T25" fmla="*/ 2147483647 h 105"/>
                <a:gd name="T26" fmla="*/ 2147483647 w 126"/>
                <a:gd name="T27" fmla="*/ 2147483647 h 105"/>
                <a:gd name="T28" fmla="*/ 2147483647 w 126"/>
                <a:gd name="T29" fmla="*/ 2147483647 h 105"/>
                <a:gd name="T30" fmla="*/ 2147483647 w 126"/>
                <a:gd name="T31" fmla="*/ 2147483647 h 105"/>
                <a:gd name="T32" fmla="*/ 2147483647 w 126"/>
                <a:gd name="T33" fmla="*/ 2147483647 h 105"/>
                <a:gd name="T34" fmla="*/ 2147483647 w 126"/>
                <a:gd name="T35" fmla="*/ 2147483647 h 105"/>
                <a:gd name="T36" fmla="*/ 2147483647 w 126"/>
                <a:gd name="T37" fmla="*/ 2147483647 h 105"/>
                <a:gd name="T38" fmla="*/ 2147483647 w 126"/>
                <a:gd name="T39" fmla="*/ 2147483647 h 105"/>
                <a:gd name="T40" fmla="*/ 2147483647 w 126"/>
                <a:gd name="T41" fmla="*/ 2147483647 h 105"/>
                <a:gd name="T42" fmla="*/ 2147483647 w 126"/>
                <a:gd name="T43" fmla="*/ 2147483647 h 105"/>
                <a:gd name="T44" fmla="*/ 2147483647 w 126"/>
                <a:gd name="T45" fmla="*/ 2147483647 h 105"/>
                <a:gd name="T46" fmla="*/ 2147483647 w 126"/>
                <a:gd name="T47" fmla="*/ 2147483647 h 105"/>
                <a:gd name="T48" fmla="*/ 2147483647 w 126"/>
                <a:gd name="T49" fmla="*/ 2147483647 h 105"/>
                <a:gd name="T50" fmla="*/ 2147483647 w 126"/>
                <a:gd name="T51" fmla="*/ 2147483647 h 105"/>
                <a:gd name="T52" fmla="*/ 2147483647 w 126"/>
                <a:gd name="T53" fmla="*/ 2147483647 h 105"/>
                <a:gd name="T54" fmla="*/ 2147483647 w 126"/>
                <a:gd name="T55" fmla="*/ 2147483647 h 105"/>
                <a:gd name="T56" fmla="*/ 2147483647 w 126"/>
                <a:gd name="T57" fmla="*/ 2147483647 h 105"/>
                <a:gd name="T58" fmla="*/ 2147483647 w 126"/>
                <a:gd name="T59" fmla="*/ 2147483647 h 105"/>
                <a:gd name="T60" fmla="*/ 2147483647 w 126"/>
                <a:gd name="T61" fmla="*/ 2147483647 h 105"/>
                <a:gd name="T62" fmla="*/ 2147483647 w 126"/>
                <a:gd name="T63" fmla="*/ 2147483647 h 105"/>
                <a:gd name="T64" fmla="*/ 2147483647 w 126"/>
                <a:gd name="T65" fmla="*/ 2147483647 h 105"/>
                <a:gd name="T66" fmla="*/ 2147483647 w 126"/>
                <a:gd name="T67" fmla="*/ 2147483647 h 105"/>
                <a:gd name="T68" fmla="*/ 2147483647 w 126"/>
                <a:gd name="T69" fmla="*/ 2147483647 h 105"/>
                <a:gd name="T70" fmla="*/ 2147483647 w 126"/>
                <a:gd name="T71" fmla="*/ 2147483647 h 105"/>
                <a:gd name="T72" fmla="*/ 2147483647 w 126"/>
                <a:gd name="T73" fmla="*/ 2147483647 h 105"/>
                <a:gd name="T74" fmla="*/ 2147483647 w 126"/>
                <a:gd name="T75" fmla="*/ 2147483647 h 105"/>
                <a:gd name="T76" fmla="*/ 0 w 126"/>
                <a:gd name="T77" fmla="*/ 2147483647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26"/>
                <a:gd name="T118" fmla="*/ 0 h 105"/>
                <a:gd name="T119" fmla="*/ 126 w 126"/>
                <a:gd name="T120" fmla="*/ 105 h 10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1" name="Freeform 451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5516872" y="3496152"/>
              <a:ext cx="170679" cy="250531"/>
            </a:xfrm>
            <a:custGeom>
              <a:avLst/>
              <a:gdLst>
                <a:gd name="T0" fmla="*/ 2147483647 w 429"/>
                <a:gd name="T1" fmla="*/ 2147483647 h 524"/>
                <a:gd name="T2" fmla="*/ 2147483647 w 429"/>
                <a:gd name="T3" fmla="*/ 2147483647 h 524"/>
                <a:gd name="T4" fmla="*/ 2147483647 w 429"/>
                <a:gd name="T5" fmla="*/ 2147483647 h 524"/>
                <a:gd name="T6" fmla="*/ 2147483647 w 429"/>
                <a:gd name="T7" fmla="*/ 2147483647 h 524"/>
                <a:gd name="T8" fmla="*/ 2147483647 w 429"/>
                <a:gd name="T9" fmla="*/ 2147483647 h 524"/>
                <a:gd name="T10" fmla="*/ 2147483647 w 429"/>
                <a:gd name="T11" fmla="*/ 2147483647 h 524"/>
                <a:gd name="T12" fmla="*/ 2147483647 w 429"/>
                <a:gd name="T13" fmla="*/ 2147483647 h 524"/>
                <a:gd name="T14" fmla="*/ 2147483647 w 429"/>
                <a:gd name="T15" fmla="*/ 2147483647 h 524"/>
                <a:gd name="T16" fmla="*/ 2147483647 w 429"/>
                <a:gd name="T17" fmla="*/ 2147483647 h 524"/>
                <a:gd name="T18" fmla="*/ 2147483647 w 429"/>
                <a:gd name="T19" fmla="*/ 2147483647 h 524"/>
                <a:gd name="T20" fmla="*/ 2147483647 w 429"/>
                <a:gd name="T21" fmla="*/ 2147483647 h 524"/>
                <a:gd name="T22" fmla="*/ 2147483647 w 429"/>
                <a:gd name="T23" fmla="*/ 2147483647 h 524"/>
                <a:gd name="T24" fmla="*/ 2147483647 w 429"/>
                <a:gd name="T25" fmla="*/ 2147483647 h 524"/>
                <a:gd name="T26" fmla="*/ 2147483647 w 429"/>
                <a:gd name="T27" fmla="*/ 2147483647 h 524"/>
                <a:gd name="T28" fmla="*/ 2147483647 w 429"/>
                <a:gd name="T29" fmla="*/ 2147483647 h 524"/>
                <a:gd name="T30" fmla="*/ 2147483647 w 429"/>
                <a:gd name="T31" fmla="*/ 2147483647 h 524"/>
                <a:gd name="T32" fmla="*/ 2147483647 w 429"/>
                <a:gd name="T33" fmla="*/ 2147483647 h 524"/>
                <a:gd name="T34" fmla="*/ 2147483647 w 429"/>
                <a:gd name="T35" fmla="*/ 2147483647 h 524"/>
                <a:gd name="T36" fmla="*/ 2147483647 w 429"/>
                <a:gd name="T37" fmla="*/ 2147483647 h 524"/>
                <a:gd name="T38" fmla="*/ 2147483647 w 429"/>
                <a:gd name="T39" fmla="*/ 2147483647 h 524"/>
                <a:gd name="T40" fmla="*/ 2147483647 w 429"/>
                <a:gd name="T41" fmla="*/ 2147483647 h 524"/>
                <a:gd name="T42" fmla="*/ 2147483647 w 429"/>
                <a:gd name="T43" fmla="*/ 2147483647 h 524"/>
                <a:gd name="T44" fmla="*/ 2147483647 w 429"/>
                <a:gd name="T45" fmla="*/ 2147483647 h 524"/>
                <a:gd name="T46" fmla="*/ 2147483647 w 429"/>
                <a:gd name="T47" fmla="*/ 2147483647 h 524"/>
                <a:gd name="T48" fmla="*/ 2147483647 w 429"/>
                <a:gd name="T49" fmla="*/ 2147483647 h 524"/>
                <a:gd name="T50" fmla="*/ 2147483647 w 429"/>
                <a:gd name="T51" fmla="*/ 2147483647 h 524"/>
                <a:gd name="T52" fmla="*/ 2147483647 w 429"/>
                <a:gd name="T53" fmla="*/ 2147483647 h 524"/>
                <a:gd name="T54" fmla="*/ 2147483647 w 429"/>
                <a:gd name="T55" fmla="*/ 2147483647 h 524"/>
                <a:gd name="T56" fmla="*/ 2147483647 w 429"/>
                <a:gd name="T57" fmla="*/ 2147483647 h 524"/>
                <a:gd name="T58" fmla="*/ 2147483647 w 429"/>
                <a:gd name="T59" fmla="*/ 2147483647 h 524"/>
                <a:gd name="T60" fmla="*/ 2147483647 w 429"/>
                <a:gd name="T61" fmla="*/ 2147483647 h 524"/>
                <a:gd name="T62" fmla="*/ 2147483647 w 429"/>
                <a:gd name="T63" fmla="*/ 2147483647 h 524"/>
                <a:gd name="T64" fmla="*/ 2147483647 w 429"/>
                <a:gd name="T65" fmla="*/ 2147483647 h 524"/>
                <a:gd name="T66" fmla="*/ 2147483647 w 429"/>
                <a:gd name="T67" fmla="*/ 2147483647 h 524"/>
                <a:gd name="T68" fmla="*/ 2147483647 w 429"/>
                <a:gd name="T69" fmla="*/ 2147483647 h 524"/>
                <a:gd name="T70" fmla="*/ 2147483647 w 429"/>
                <a:gd name="T71" fmla="*/ 2147483647 h 524"/>
                <a:gd name="T72" fmla="*/ 2147483647 w 429"/>
                <a:gd name="T73" fmla="*/ 2147483647 h 524"/>
                <a:gd name="T74" fmla="*/ 2147483647 w 429"/>
                <a:gd name="T75" fmla="*/ 2147483647 h 524"/>
                <a:gd name="T76" fmla="*/ 2147483647 w 429"/>
                <a:gd name="T77" fmla="*/ 2147483647 h 524"/>
                <a:gd name="T78" fmla="*/ 2147483647 w 429"/>
                <a:gd name="T79" fmla="*/ 2147483647 h 524"/>
                <a:gd name="T80" fmla="*/ 2147483647 w 429"/>
                <a:gd name="T81" fmla="*/ 2147483647 h 524"/>
                <a:gd name="T82" fmla="*/ 2147483647 w 429"/>
                <a:gd name="T83" fmla="*/ 2147483647 h 524"/>
                <a:gd name="T84" fmla="*/ 2147483647 w 429"/>
                <a:gd name="T85" fmla="*/ 2147483647 h 524"/>
                <a:gd name="T86" fmla="*/ 2147483647 w 429"/>
                <a:gd name="T87" fmla="*/ 2147483647 h 524"/>
                <a:gd name="T88" fmla="*/ 2147483647 w 429"/>
                <a:gd name="T89" fmla="*/ 2147483647 h 524"/>
                <a:gd name="T90" fmla="*/ 2147483647 w 429"/>
                <a:gd name="T91" fmla="*/ 2147483647 h 524"/>
                <a:gd name="T92" fmla="*/ 2147483647 w 429"/>
                <a:gd name="T93" fmla="*/ 2147483647 h 524"/>
                <a:gd name="T94" fmla="*/ 2147483647 w 429"/>
                <a:gd name="T95" fmla="*/ 2147483647 h 524"/>
                <a:gd name="T96" fmla="*/ 2147483647 w 429"/>
                <a:gd name="T97" fmla="*/ 2147483647 h 524"/>
                <a:gd name="T98" fmla="*/ 2147483647 w 429"/>
                <a:gd name="T99" fmla="*/ 2147483647 h 524"/>
                <a:gd name="T100" fmla="*/ 2147483647 w 429"/>
                <a:gd name="T101" fmla="*/ 2147483647 h 524"/>
                <a:gd name="T102" fmla="*/ 2147483647 w 429"/>
                <a:gd name="T103" fmla="*/ 2147483647 h 524"/>
                <a:gd name="T104" fmla="*/ 2147483647 w 429"/>
                <a:gd name="T105" fmla="*/ 2147483647 h 524"/>
                <a:gd name="T106" fmla="*/ 2147483647 w 429"/>
                <a:gd name="T107" fmla="*/ 2147483647 h 524"/>
                <a:gd name="T108" fmla="*/ 2147483647 w 429"/>
                <a:gd name="T109" fmla="*/ 2147483647 h 524"/>
                <a:gd name="T110" fmla="*/ 2147483647 w 429"/>
                <a:gd name="T111" fmla="*/ 2147483647 h 524"/>
                <a:gd name="T112" fmla="*/ 2147483647 w 429"/>
                <a:gd name="T113" fmla="*/ 2147483647 h 524"/>
                <a:gd name="T114" fmla="*/ 2147483647 w 429"/>
                <a:gd name="T115" fmla="*/ 2147483647 h 524"/>
                <a:gd name="T116" fmla="*/ 2147483647 w 429"/>
                <a:gd name="T117" fmla="*/ 2147483647 h 524"/>
                <a:gd name="T118" fmla="*/ 2147483647 w 429"/>
                <a:gd name="T119" fmla="*/ 2147483647 h 524"/>
                <a:gd name="T120" fmla="*/ 2147483647 w 429"/>
                <a:gd name="T121" fmla="*/ 2147483647 h 524"/>
                <a:gd name="T122" fmla="*/ 2147483647 w 429"/>
                <a:gd name="T123" fmla="*/ 2147483647 h 524"/>
                <a:gd name="T124" fmla="*/ 2147483647 w 429"/>
                <a:gd name="T125" fmla="*/ 2147483647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29"/>
                <a:gd name="T190" fmla="*/ 0 h 524"/>
                <a:gd name="T191" fmla="*/ 429 w 429"/>
                <a:gd name="T192" fmla="*/ 524 h 52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2" name="Freeform 452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5545801" y="2257982"/>
              <a:ext cx="115714" cy="104267"/>
            </a:xfrm>
            <a:custGeom>
              <a:avLst/>
              <a:gdLst>
                <a:gd name="T0" fmla="*/ 2147483647 w 292"/>
                <a:gd name="T1" fmla="*/ 2147483647 h 223"/>
                <a:gd name="T2" fmla="*/ 2147483647 w 292"/>
                <a:gd name="T3" fmla="*/ 2147483647 h 223"/>
                <a:gd name="T4" fmla="*/ 2147483647 w 292"/>
                <a:gd name="T5" fmla="*/ 2147483647 h 223"/>
                <a:gd name="T6" fmla="*/ 2147483647 w 292"/>
                <a:gd name="T7" fmla="*/ 2147483647 h 223"/>
                <a:gd name="T8" fmla="*/ 2147483647 w 292"/>
                <a:gd name="T9" fmla="*/ 2147483647 h 223"/>
                <a:gd name="T10" fmla="*/ 2147483647 w 292"/>
                <a:gd name="T11" fmla="*/ 2147483647 h 223"/>
                <a:gd name="T12" fmla="*/ 2147483647 w 292"/>
                <a:gd name="T13" fmla="*/ 2147483647 h 223"/>
                <a:gd name="T14" fmla="*/ 2147483647 w 292"/>
                <a:gd name="T15" fmla="*/ 2147483647 h 223"/>
                <a:gd name="T16" fmla="*/ 2147483647 w 292"/>
                <a:gd name="T17" fmla="*/ 2147483647 h 223"/>
                <a:gd name="T18" fmla="*/ 2147483647 w 292"/>
                <a:gd name="T19" fmla="*/ 2147483647 h 223"/>
                <a:gd name="T20" fmla="*/ 2147483647 w 292"/>
                <a:gd name="T21" fmla="*/ 2147483647 h 223"/>
                <a:gd name="T22" fmla="*/ 2147483647 w 292"/>
                <a:gd name="T23" fmla="*/ 2147483647 h 223"/>
                <a:gd name="T24" fmla="*/ 2147483647 w 292"/>
                <a:gd name="T25" fmla="*/ 2147483647 h 223"/>
                <a:gd name="T26" fmla="*/ 2147483647 w 292"/>
                <a:gd name="T27" fmla="*/ 2147483647 h 223"/>
                <a:gd name="T28" fmla="*/ 2147483647 w 292"/>
                <a:gd name="T29" fmla="*/ 2147483647 h 223"/>
                <a:gd name="T30" fmla="*/ 2147483647 w 292"/>
                <a:gd name="T31" fmla="*/ 2147483647 h 223"/>
                <a:gd name="T32" fmla="*/ 2147483647 w 292"/>
                <a:gd name="T33" fmla="*/ 2147483647 h 223"/>
                <a:gd name="T34" fmla="*/ 2147483647 w 292"/>
                <a:gd name="T35" fmla="*/ 2147483647 h 223"/>
                <a:gd name="T36" fmla="*/ 2147483647 w 292"/>
                <a:gd name="T37" fmla="*/ 2147483647 h 223"/>
                <a:gd name="T38" fmla="*/ 2147483647 w 292"/>
                <a:gd name="T39" fmla="*/ 2147483647 h 223"/>
                <a:gd name="T40" fmla="*/ 2147483647 w 292"/>
                <a:gd name="T41" fmla="*/ 2147483647 h 223"/>
                <a:gd name="T42" fmla="*/ 2147483647 w 292"/>
                <a:gd name="T43" fmla="*/ 2147483647 h 223"/>
                <a:gd name="T44" fmla="*/ 2147483647 w 292"/>
                <a:gd name="T45" fmla="*/ 2147483647 h 223"/>
                <a:gd name="T46" fmla="*/ 2147483647 w 292"/>
                <a:gd name="T47" fmla="*/ 2147483647 h 223"/>
                <a:gd name="T48" fmla="*/ 2147483647 w 292"/>
                <a:gd name="T49" fmla="*/ 2147483647 h 223"/>
                <a:gd name="T50" fmla="*/ 2147483647 w 292"/>
                <a:gd name="T51" fmla="*/ 2147483647 h 223"/>
                <a:gd name="T52" fmla="*/ 0 w 292"/>
                <a:gd name="T53" fmla="*/ 2147483647 h 223"/>
                <a:gd name="T54" fmla="*/ 2147483647 w 292"/>
                <a:gd name="T55" fmla="*/ 2147483647 h 223"/>
                <a:gd name="T56" fmla="*/ 2147483647 w 292"/>
                <a:gd name="T57" fmla="*/ 2147483647 h 223"/>
                <a:gd name="T58" fmla="*/ 2147483647 w 292"/>
                <a:gd name="T59" fmla="*/ 2147483647 h 223"/>
                <a:gd name="T60" fmla="*/ 2147483647 w 292"/>
                <a:gd name="T61" fmla="*/ 2147483647 h 223"/>
                <a:gd name="T62" fmla="*/ 2147483647 w 292"/>
                <a:gd name="T63" fmla="*/ 2147483647 h 223"/>
                <a:gd name="T64" fmla="*/ 2147483647 w 292"/>
                <a:gd name="T65" fmla="*/ 2147483647 h 223"/>
                <a:gd name="T66" fmla="*/ 2147483647 w 292"/>
                <a:gd name="T67" fmla="*/ 0 h 223"/>
                <a:gd name="T68" fmla="*/ 2147483647 w 292"/>
                <a:gd name="T69" fmla="*/ 2147483647 h 223"/>
                <a:gd name="T70" fmla="*/ 2147483647 w 292"/>
                <a:gd name="T71" fmla="*/ 2147483647 h 223"/>
                <a:gd name="T72" fmla="*/ 2147483647 w 292"/>
                <a:gd name="T73" fmla="*/ 2147483647 h 223"/>
                <a:gd name="T74" fmla="*/ 2147483647 w 292"/>
                <a:gd name="T75" fmla="*/ 2147483647 h 223"/>
                <a:gd name="T76" fmla="*/ 2147483647 w 292"/>
                <a:gd name="T77" fmla="*/ 2147483647 h 223"/>
                <a:gd name="T78" fmla="*/ 2147483647 w 292"/>
                <a:gd name="T79" fmla="*/ 2147483647 h 223"/>
                <a:gd name="T80" fmla="*/ 2147483647 w 292"/>
                <a:gd name="T81" fmla="*/ 2147483647 h 223"/>
                <a:gd name="T82" fmla="*/ 2147483647 w 292"/>
                <a:gd name="T83" fmla="*/ 2147483647 h 223"/>
                <a:gd name="T84" fmla="*/ 2147483647 w 292"/>
                <a:gd name="T85" fmla="*/ 2147483647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92"/>
                <a:gd name="T130" fmla="*/ 0 h 223"/>
                <a:gd name="T131" fmla="*/ 292 w 292"/>
                <a:gd name="T132" fmla="*/ 223 h 22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3" name="Freeform 453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5500961" y="2129095"/>
              <a:ext cx="153321" cy="70960"/>
            </a:xfrm>
            <a:custGeom>
              <a:avLst/>
              <a:gdLst>
                <a:gd name="T0" fmla="*/ 2147483647 w 379"/>
                <a:gd name="T1" fmla="*/ 2147483647 h 147"/>
                <a:gd name="T2" fmla="*/ 2147483647 w 379"/>
                <a:gd name="T3" fmla="*/ 2147483647 h 147"/>
                <a:gd name="T4" fmla="*/ 2147483647 w 379"/>
                <a:gd name="T5" fmla="*/ 2147483647 h 147"/>
                <a:gd name="T6" fmla="*/ 2147483647 w 379"/>
                <a:gd name="T7" fmla="*/ 2147483647 h 147"/>
                <a:gd name="T8" fmla="*/ 2147483647 w 379"/>
                <a:gd name="T9" fmla="*/ 2147483647 h 147"/>
                <a:gd name="T10" fmla="*/ 2147483647 w 379"/>
                <a:gd name="T11" fmla="*/ 2147483647 h 147"/>
                <a:gd name="T12" fmla="*/ 2147483647 w 379"/>
                <a:gd name="T13" fmla="*/ 2147483647 h 147"/>
                <a:gd name="T14" fmla="*/ 2147483647 w 379"/>
                <a:gd name="T15" fmla="*/ 2147483647 h 147"/>
                <a:gd name="T16" fmla="*/ 2147483647 w 379"/>
                <a:gd name="T17" fmla="*/ 2147483647 h 147"/>
                <a:gd name="T18" fmla="*/ 2147483647 w 379"/>
                <a:gd name="T19" fmla="*/ 2147483647 h 147"/>
                <a:gd name="T20" fmla="*/ 2147483647 w 379"/>
                <a:gd name="T21" fmla="*/ 2147483647 h 147"/>
                <a:gd name="T22" fmla="*/ 2147483647 w 379"/>
                <a:gd name="T23" fmla="*/ 2147483647 h 147"/>
                <a:gd name="T24" fmla="*/ 2147483647 w 379"/>
                <a:gd name="T25" fmla="*/ 2147483647 h 147"/>
                <a:gd name="T26" fmla="*/ 2147483647 w 379"/>
                <a:gd name="T27" fmla="*/ 2147483647 h 147"/>
                <a:gd name="T28" fmla="*/ 2147483647 w 379"/>
                <a:gd name="T29" fmla="*/ 2147483647 h 147"/>
                <a:gd name="T30" fmla="*/ 2147483647 w 379"/>
                <a:gd name="T31" fmla="*/ 2147483647 h 147"/>
                <a:gd name="T32" fmla="*/ 2147483647 w 379"/>
                <a:gd name="T33" fmla="*/ 2147483647 h 147"/>
                <a:gd name="T34" fmla="*/ 2147483647 w 379"/>
                <a:gd name="T35" fmla="*/ 2147483647 h 147"/>
                <a:gd name="T36" fmla="*/ 2147483647 w 379"/>
                <a:gd name="T37" fmla="*/ 2147483647 h 147"/>
                <a:gd name="T38" fmla="*/ 2147483647 w 379"/>
                <a:gd name="T39" fmla="*/ 2147483647 h 147"/>
                <a:gd name="T40" fmla="*/ 2147483647 w 379"/>
                <a:gd name="T41" fmla="*/ 2147483647 h 147"/>
                <a:gd name="T42" fmla="*/ 2147483647 w 379"/>
                <a:gd name="T43" fmla="*/ 2147483647 h 147"/>
                <a:gd name="T44" fmla="*/ 2147483647 w 379"/>
                <a:gd name="T45" fmla="*/ 2147483647 h 147"/>
                <a:gd name="T46" fmla="*/ 2147483647 w 379"/>
                <a:gd name="T47" fmla="*/ 2147483647 h 147"/>
                <a:gd name="T48" fmla="*/ 0 w 379"/>
                <a:gd name="T49" fmla="*/ 2147483647 h 147"/>
                <a:gd name="T50" fmla="*/ 2147483647 w 379"/>
                <a:gd name="T51" fmla="*/ 2147483647 h 147"/>
                <a:gd name="T52" fmla="*/ 2147483647 w 379"/>
                <a:gd name="T53" fmla="*/ 2147483647 h 147"/>
                <a:gd name="T54" fmla="*/ 2147483647 w 379"/>
                <a:gd name="T55" fmla="*/ 2147483647 h 147"/>
                <a:gd name="T56" fmla="*/ 2147483647 w 379"/>
                <a:gd name="T57" fmla="*/ 2147483647 h 147"/>
                <a:gd name="T58" fmla="*/ 2147483647 w 379"/>
                <a:gd name="T59" fmla="*/ 2147483647 h 147"/>
                <a:gd name="T60" fmla="*/ 2147483647 w 379"/>
                <a:gd name="T61" fmla="*/ 2147483647 h 147"/>
                <a:gd name="T62" fmla="*/ 2147483647 w 379"/>
                <a:gd name="T63" fmla="*/ 0 h 147"/>
                <a:gd name="T64" fmla="*/ 2147483647 w 379"/>
                <a:gd name="T65" fmla="*/ 2147483647 h 147"/>
                <a:gd name="T66" fmla="*/ 2147483647 w 379"/>
                <a:gd name="T67" fmla="*/ 2147483647 h 147"/>
                <a:gd name="T68" fmla="*/ 2147483647 w 379"/>
                <a:gd name="T69" fmla="*/ 2147483647 h 147"/>
                <a:gd name="T70" fmla="*/ 2147483647 w 379"/>
                <a:gd name="T71" fmla="*/ 2147483647 h 147"/>
                <a:gd name="T72" fmla="*/ 2147483647 w 379"/>
                <a:gd name="T73" fmla="*/ 2147483647 h 147"/>
                <a:gd name="T74" fmla="*/ 2147483647 w 379"/>
                <a:gd name="T75" fmla="*/ 2147483647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79"/>
                <a:gd name="T115" fmla="*/ 0 h 147"/>
                <a:gd name="T116" fmla="*/ 379 w 379"/>
                <a:gd name="T117" fmla="*/ 147 h 14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4" name="Freeform 454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5467694" y="1997314"/>
              <a:ext cx="27482" cy="55030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2147483647 h 67"/>
                <a:gd name="T4" fmla="*/ 0 w 61"/>
                <a:gd name="T5" fmla="*/ 2147483647 h 67"/>
                <a:gd name="T6" fmla="*/ 2147483647 w 61"/>
                <a:gd name="T7" fmla="*/ 2147483647 h 67"/>
                <a:gd name="T8" fmla="*/ 2147483647 w 61"/>
                <a:gd name="T9" fmla="*/ 2147483647 h 67"/>
                <a:gd name="T10" fmla="*/ 2147483647 w 61"/>
                <a:gd name="T11" fmla="*/ 2147483647 h 67"/>
                <a:gd name="T12" fmla="*/ 2147483647 w 61"/>
                <a:gd name="T13" fmla="*/ 2147483647 h 67"/>
                <a:gd name="T14" fmla="*/ 2147483647 w 61"/>
                <a:gd name="T15" fmla="*/ 2147483647 h 67"/>
                <a:gd name="T16" fmla="*/ 2147483647 w 61"/>
                <a:gd name="T17" fmla="*/ 2147483647 h 67"/>
                <a:gd name="T18" fmla="*/ 2147483647 w 61"/>
                <a:gd name="T19" fmla="*/ 2147483647 h 67"/>
                <a:gd name="T20" fmla="*/ 2147483647 w 61"/>
                <a:gd name="T21" fmla="*/ 2147483647 h 67"/>
                <a:gd name="T22" fmla="*/ 2147483647 w 61"/>
                <a:gd name="T23" fmla="*/ 2147483647 h 67"/>
                <a:gd name="T24" fmla="*/ 2147483647 w 61"/>
                <a:gd name="T25" fmla="*/ 2147483647 h 67"/>
                <a:gd name="T26" fmla="*/ 2147483647 w 61"/>
                <a:gd name="T27" fmla="*/ 2147483647 h 67"/>
                <a:gd name="T28" fmla="*/ 2147483647 w 61"/>
                <a:gd name="T29" fmla="*/ 2147483647 h 67"/>
                <a:gd name="T30" fmla="*/ 2147483647 w 61"/>
                <a:gd name="T31" fmla="*/ 2147483647 h 67"/>
                <a:gd name="T32" fmla="*/ 2147483647 w 61"/>
                <a:gd name="T33" fmla="*/ 2147483647 h 67"/>
                <a:gd name="T34" fmla="*/ 2147483647 w 61"/>
                <a:gd name="T35" fmla="*/ 2147483647 h 67"/>
                <a:gd name="T36" fmla="*/ 2147483647 w 61"/>
                <a:gd name="T37" fmla="*/ 0 h 67"/>
                <a:gd name="T38" fmla="*/ 2147483647 w 61"/>
                <a:gd name="T39" fmla="*/ 2147483647 h 67"/>
                <a:gd name="T40" fmla="*/ 2147483647 w 61"/>
                <a:gd name="T41" fmla="*/ 2147483647 h 67"/>
                <a:gd name="T42" fmla="*/ 2147483647 w 61"/>
                <a:gd name="T43" fmla="*/ 2147483647 h 67"/>
                <a:gd name="T44" fmla="*/ 2147483647 w 61"/>
                <a:gd name="T45" fmla="*/ 2147483647 h 67"/>
                <a:gd name="T46" fmla="*/ 2147483647 w 61"/>
                <a:gd name="T47" fmla="*/ 2147483647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1"/>
                <a:gd name="T76" fmla="*/ 0 h 67"/>
                <a:gd name="T77" fmla="*/ 61 w 61"/>
                <a:gd name="T78" fmla="*/ 67 h 6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5" name="Freeform 455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5441658" y="2001658"/>
              <a:ext cx="23143" cy="53582"/>
            </a:xfrm>
            <a:custGeom>
              <a:avLst/>
              <a:gdLst>
                <a:gd name="T0" fmla="*/ 0 w 60"/>
                <a:gd name="T1" fmla="*/ 2147483647 h 55"/>
                <a:gd name="T2" fmla="*/ 0 w 60"/>
                <a:gd name="T3" fmla="*/ 2147483647 h 55"/>
                <a:gd name="T4" fmla="*/ 2147483647 w 60"/>
                <a:gd name="T5" fmla="*/ 2147483647 h 55"/>
                <a:gd name="T6" fmla="*/ 2147483647 w 60"/>
                <a:gd name="T7" fmla="*/ 2147483647 h 55"/>
                <a:gd name="T8" fmla="*/ 2147483647 w 60"/>
                <a:gd name="T9" fmla="*/ 2147483647 h 55"/>
                <a:gd name="T10" fmla="*/ 2147483647 w 60"/>
                <a:gd name="T11" fmla="*/ 2147483647 h 55"/>
                <a:gd name="T12" fmla="*/ 2147483647 w 60"/>
                <a:gd name="T13" fmla="*/ 2147483647 h 55"/>
                <a:gd name="T14" fmla="*/ 2147483647 w 60"/>
                <a:gd name="T15" fmla="*/ 2147483647 h 55"/>
                <a:gd name="T16" fmla="*/ 2147483647 w 60"/>
                <a:gd name="T17" fmla="*/ 2147483647 h 55"/>
                <a:gd name="T18" fmla="*/ 2147483647 w 60"/>
                <a:gd name="T19" fmla="*/ 2147483647 h 55"/>
                <a:gd name="T20" fmla="*/ 2147483647 w 60"/>
                <a:gd name="T21" fmla="*/ 2147483647 h 55"/>
                <a:gd name="T22" fmla="*/ 2147483647 w 60"/>
                <a:gd name="T23" fmla="*/ 2147483647 h 55"/>
                <a:gd name="T24" fmla="*/ 2147483647 w 60"/>
                <a:gd name="T25" fmla="*/ 2147483647 h 55"/>
                <a:gd name="T26" fmla="*/ 2147483647 w 60"/>
                <a:gd name="T27" fmla="*/ 2147483647 h 55"/>
                <a:gd name="T28" fmla="*/ 2147483647 w 60"/>
                <a:gd name="T29" fmla="*/ 2147483647 h 55"/>
                <a:gd name="T30" fmla="*/ 2147483647 w 60"/>
                <a:gd name="T31" fmla="*/ 2147483647 h 55"/>
                <a:gd name="T32" fmla="*/ 2147483647 w 60"/>
                <a:gd name="T33" fmla="*/ 2147483647 h 55"/>
                <a:gd name="T34" fmla="*/ 2147483647 w 60"/>
                <a:gd name="T35" fmla="*/ 0 h 55"/>
                <a:gd name="T36" fmla="*/ 2147483647 w 60"/>
                <a:gd name="T37" fmla="*/ 2147483647 h 55"/>
                <a:gd name="T38" fmla="*/ 2147483647 w 60"/>
                <a:gd name="T39" fmla="*/ 2147483647 h 55"/>
                <a:gd name="T40" fmla="*/ 2147483647 w 60"/>
                <a:gd name="T41" fmla="*/ 2147483647 h 55"/>
                <a:gd name="T42" fmla="*/ 0 w 60"/>
                <a:gd name="T43" fmla="*/ 2147483647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0"/>
                <a:gd name="T67" fmla="*/ 0 h 55"/>
                <a:gd name="T68" fmla="*/ 60 w 60"/>
                <a:gd name="T69" fmla="*/ 55 h 55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6" name="Freeform 456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5414175" y="1952421"/>
              <a:ext cx="47733" cy="70960"/>
            </a:xfrm>
            <a:custGeom>
              <a:avLst/>
              <a:gdLst>
                <a:gd name="T0" fmla="*/ 2147483647 w 120"/>
                <a:gd name="T1" fmla="*/ 2147483647 h 148"/>
                <a:gd name="T2" fmla="*/ 2147483647 w 120"/>
                <a:gd name="T3" fmla="*/ 2147483647 h 148"/>
                <a:gd name="T4" fmla="*/ 2147483647 w 120"/>
                <a:gd name="T5" fmla="*/ 2147483647 h 148"/>
                <a:gd name="T6" fmla="*/ 2147483647 w 120"/>
                <a:gd name="T7" fmla="*/ 2147483647 h 148"/>
                <a:gd name="T8" fmla="*/ 2147483647 w 120"/>
                <a:gd name="T9" fmla="*/ 2147483647 h 148"/>
                <a:gd name="T10" fmla="*/ 2147483647 w 120"/>
                <a:gd name="T11" fmla="*/ 2147483647 h 148"/>
                <a:gd name="T12" fmla="*/ 2147483647 w 120"/>
                <a:gd name="T13" fmla="*/ 2147483647 h 148"/>
                <a:gd name="T14" fmla="*/ 2147483647 w 120"/>
                <a:gd name="T15" fmla="*/ 2147483647 h 148"/>
                <a:gd name="T16" fmla="*/ 2147483647 w 120"/>
                <a:gd name="T17" fmla="*/ 2147483647 h 148"/>
                <a:gd name="T18" fmla="*/ 2147483647 w 120"/>
                <a:gd name="T19" fmla="*/ 2147483647 h 148"/>
                <a:gd name="T20" fmla="*/ 2147483647 w 120"/>
                <a:gd name="T21" fmla="*/ 2147483647 h 148"/>
                <a:gd name="T22" fmla="*/ 2147483647 w 120"/>
                <a:gd name="T23" fmla="*/ 2147483647 h 148"/>
                <a:gd name="T24" fmla="*/ 2147483647 w 120"/>
                <a:gd name="T25" fmla="*/ 2147483647 h 148"/>
                <a:gd name="T26" fmla="*/ 2147483647 w 120"/>
                <a:gd name="T27" fmla="*/ 2147483647 h 148"/>
                <a:gd name="T28" fmla="*/ 2147483647 w 120"/>
                <a:gd name="T29" fmla="*/ 2147483647 h 148"/>
                <a:gd name="T30" fmla="*/ 2147483647 w 120"/>
                <a:gd name="T31" fmla="*/ 2147483647 h 148"/>
                <a:gd name="T32" fmla="*/ 2147483647 w 120"/>
                <a:gd name="T33" fmla="*/ 2147483647 h 148"/>
                <a:gd name="T34" fmla="*/ 2147483647 w 120"/>
                <a:gd name="T35" fmla="*/ 2147483647 h 148"/>
                <a:gd name="T36" fmla="*/ 0 w 120"/>
                <a:gd name="T37" fmla="*/ 2147483647 h 148"/>
                <a:gd name="T38" fmla="*/ 2147483647 w 120"/>
                <a:gd name="T39" fmla="*/ 2147483647 h 148"/>
                <a:gd name="T40" fmla="*/ 2147483647 w 120"/>
                <a:gd name="T41" fmla="*/ 2147483647 h 148"/>
                <a:gd name="T42" fmla="*/ 2147483647 w 120"/>
                <a:gd name="T43" fmla="*/ 2147483647 h 148"/>
                <a:gd name="T44" fmla="*/ 2147483647 w 120"/>
                <a:gd name="T45" fmla="*/ 2147483647 h 148"/>
                <a:gd name="T46" fmla="*/ 2147483647 w 120"/>
                <a:gd name="T47" fmla="*/ 2147483647 h 148"/>
                <a:gd name="T48" fmla="*/ 2147483647 w 120"/>
                <a:gd name="T49" fmla="*/ 2147483647 h 148"/>
                <a:gd name="T50" fmla="*/ 2147483647 w 120"/>
                <a:gd name="T51" fmla="*/ 2147483647 h 148"/>
                <a:gd name="T52" fmla="*/ 2147483647 w 120"/>
                <a:gd name="T53" fmla="*/ 2147483647 h 148"/>
                <a:gd name="T54" fmla="*/ 2147483647 w 120"/>
                <a:gd name="T55" fmla="*/ 2147483647 h 148"/>
                <a:gd name="T56" fmla="*/ 2147483647 w 120"/>
                <a:gd name="T57" fmla="*/ 0 h 148"/>
                <a:gd name="T58" fmla="*/ 2147483647 w 120"/>
                <a:gd name="T59" fmla="*/ 2147483647 h 148"/>
                <a:gd name="T60" fmla="*/ 2147483647 w 120"/>
                <a:gd name="T61" fmla="*/ 2147483647 h 148"/>
                <a:gd name="T62" fmla="*/ 2147483647 w 120"/>
                <a:gd name="T63" fmla="*/ 2147483647 h 148"/>
                <a:gd name="T64" fmla="*/ 2147483647 w 120"/>
                <a:gd name="T65" fmla="*/ 2147483647 h 148"/>
                <a:gd name="T66" fmla="*/ 2147483647 w 120"/>
                <a:gd name="T67" fmla="*/ 2147483647 h 148"/>
                <a:gd name="T68" fmla="*/ 2147483647 w 120"/>
                <a:gd name="T69" fmla="*/ 2147483647 h 148"/>
                <a:gd name="T70" fmla="*/ 2147483647 w 120"/>
                <a:gd name="T71" fmla="*/ 2147483647 h 148"/>
                <a:gd name="T72" fmla="*/ 2147483647 w 120"/>
                <a:gd name="T73" fmla="*/ 2147483647 h 148"/>
                <a:gd name="T74" fmla="*/ 2147483647 w 120"/>
                <a:gd name="T75" fmla="*/ 2147483647 h 148"/>
                <a:gd name="T76" fmla="*/ 2147483647 w 120"/>
                <a:gd name="T77" fmla="*/ 2147483647 h 148"/>
                <a:gd name="T78" fmla="*/ 2147483647 w 120"/>
                <a:gd name="T79" fmla="*/ 2147483647 h 148"/>
                <a:gd name="T80" fmla="*/ 2147483647 w 120"/>
                <a:gd name="T81" fmla="*/ 2147483647 h 148"/>
                <a:gd name="T82" fmla="*/ 2147483647 w 120"/>
                <a:gd name="T83" fmla="*/ 2147483647 h 148"/>
                <a:gd name="T84" fmla="*/ 2147483647 w 120"/>
                <a:gd name="T85" fmla="*/ 2147483647 h 148"/>
                <a:gd name="T86" fmla="*/ 2147483647 w 120"/>
                <a:gd name="T87" fmla="*/ 2147483647 h 148"/>
                <a:gd name="T88" fmla="*/ 2147483647 w 120"/>
                <a:gd name="T89" fmla="*/ 2147483647 h 148"/>
                <a:gd name="T90" fmla="*/ 2147483647 w 120"/>
                <a:gd name="T91" fmla="*/ 2147483647 h 148"/>
                <a:gd name="T92" fmla="*/ 2147483647 w 120"/>
                <a:gd name="T93" fmla="*/ 2147483647 h 148"/>
                <a:gd name="T94" fmla="*/ 2147483647 w 120"/>
                <a:gd name="T95" fmla="*/ 2147483647 h 148"/>
                <a:gd name="T96" fmla="*/ 2147483647 w 120"/>
                <a:gd name="T97" fmla="*/ 2147483647 h 148"/>
                <a:gd name="T98" fmla="*/ 2147483647 w 120"/>
                <a:gd name="T99" fmla="*/ 2147483647 h 148"/>
                <a:gd name="T100" fmla="*/ 2147483647 w 120"/>
                <a:gd name="T101" fmla="*/ 2147483647 h 148"/>
                <a:gd name="T102" fmla="*/ 2147483647 w 120"/>
                <a:gd name="T103" fmla="*/ 2147483647 h 148"/>
                <a:gd name="T104" fmla="*/ 2147483647 w 120"/>
                <a:gd name="T105" fmla="*/ 2147483647 h 148"/>
                <a:gd name="T106" fmla="*/ 2147483647 w 120"/>
                <a:gd name="T107" fmla="*/ 2147483647 h 148"/>
                <a:gd name="T108" fmla="*/ 2147483647 w 120"/>
                <a:gd name="T109" fmla="*/ 2147483647 h 148"/>
                <a:gd name="T110" fmla="*/ 2147483647 w 120"/>
                <a:gd name="T111" fmla="*/ 2147483647 h 148"/>
                <a:gd name="T112" fmla="*/ 2147483647 w 120"/>
                <a:gd name="T113" fmla="*/ 2147483647 h 148"/>
                <a:gd name="T114" fmla="*/ 2147483647 w 120"/>
                <a:gd name="T115" fmla="*/ 2147483647 h 148"/>
                <a:gd name="T116" fmla="*/ 2147483647 w 120"/>
                <a:gd name="T117" fmla="*/ 2147483647 h 148"/>
                <a:gd name="T118" fmla="*/ 2147483647 w 120"/>
                <a:gd name="T119" fmla="*/ 2147483647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20"/>
                <a:gd name="T181" fmla="*/ 0 h 148"/>
                <a:gd name="T182" fmla="*/ 120 w 120"/>
                <a:gd name="T183" fmla="*/ 148 h 14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7" name="Freeform 457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5807604" y="2686635"/>
              <a:ext cx="248786" cy="280942"/>
            </a:xfrm>
            <a:custGeom>
              <a:avLst/>
              <a:gdLst>
                <a:gd name="T0" fmla="*/ 2147483647 w 631"/>
                <a:gd name="T1" fmla="*/ 2147483647 h 592"/>
                <a:gd name="T2" fmla="*/ 2147483647 w 631"/>
                <a:gd name="T3" fmla="*/ 2147483647 h 592"/>
                <a:gd name="T4" fmla="*/ 2147483647 w 631"/>
                <a:gd name="T5" fmla="*/ 2147483647 h 592"/>
                <a:gd name="T6" fmla="*/ 2147483647 w 631"/>
                <a:gd name="T7" fmla="*/ 2147483647 h 592"/>
                <a:gd name="T8" fmla="*/ 2147483647 w 631"/>
                <a:gd name="T9" fmla="*/ 2147483647 h 592"/>
                <a:gd name="T10" fmla="*/ 2147483647 w 631"/>
                <a:gd name="T11" fmla="*/ 2147483647 h 592"/>
                <a:gd name="T12" fmla="*/ 2147483647 w 631"/>
                <a:gd name="T13" fmla="*/ 2147483647 h 592"/>
                <a:gd name="T14" fmla="*/ 2147483647 w 631"/>
                <a:gd name="T15" fmla="*/ 2147483647 h 592"/>
                <a:gd name="T16" fmla="*/ 2147483647 w 631"/>
                <a:gd name="T17" fmla="*/ 2147483647 h 592"/>
                <a:gd name="T18" fmla="*/ 2147483647 w 631"/>
                <a:gd name="T19" fmla="*/ 2147483647 h 592"/>
                <a:gd name="T20" fmla="*/ 2147483647 w 631"/>
                <a:gd name="T21" fmla="*/ 2147483647 h 592"/>
                <a:gd name="T22" fmla="*/ 2147483647 w 631"/>
                <a:gd name="T23" fmla="*/ 2147483647 h 592"/>
                <a:gd name="T24" fmla="*/ 2147483647 w 631"/>
                <a:gd name="T25" fmla="*/ 2147483647 h 592"/>
                <a:gd name="T26" fmla="*/ 2147483647 w 631"/>
                <a:gd name="T27" fmla="*/ 2147483647 h 592"/>
                <a:gd name="T28" fmla="*/ 2147483647 w 631"/>
                <a:gd name="T29" fmla="*/ 2147483647 h 592"/>
                <a:gd name="T30" fmla="*/ 2147483647 w 631"/>
                <a:gd name="T31" fmla="*/ 2147483647 h 592"/>
                <a:gd name="T32" fmla="*/ 2147483647 w 631"/>
                <a:gd name="T33" fmla="*/ 2147483647 h 592"/>
                <a:gd name="T34" fmla="*/ 2147483647 w 631"/>
                <a:gd name="T35" fmla="*/ 2147483647 h 592"/>
                <a:gd name="T36" fmla="*/ 2147483647 w 631"/>
                <a:gd name="T37" fmla="*/ 2147483647 h 592"/>
                <a:gd name="T38" fmla="*/ 2147483647 w 631"/>
                <a:gd name="T39" fmla="*/ 2147483647 h 592"/>
                <a:gd name="T40" fmla="*/ 2147483647 w 631"/>
                <a:gd name="T41" fmla="*/ 2147483647 h 592"/>
                <a:gd name="T42" fmla="*/ 2147483647 w 631"/>
                <a:gd name="T43" fmla="*/ 2147483647 h 592"/>
                <a:gd name="T44" fmla="*/ 2147483647 w 631"/>
                <a:gd name="T45" fmla="*/ 2147483647 h 592"/>
                <a:gd name="T46" fmla="*/ 2147483647 w 631"/>
                <a:gd name="T47" fmla="*/ 2147483647 h 592"/>
                <a:gd name="T48" fmla="*/ 2147483647 w 631"/>
                <a:gd name="T49" fmla="*/ 2147483647 h 592"/>
                <a:gd name="T50" fmla="*/ 2147483647 w 631"/>
                <a:gd name="T51" fmla="*/ 2147483647 h 592"/>
                <a:gd name="T52" fmla="*/ 2147483647 w 631"/>
                <a:gd name="T53" fmla="*/ 2147483647 h 592"/>
                <a:gd name="T54" fmla="*/ 2147483647 w 631"/>
                <a:gd name="T55" fmla="*/ 2147483647 h 592"/>
                <a:gd name="T56" fmla="*/ 2147483647 w 631"/>
                <a:gd name="T57" fmla="*/ 2147483647 h 592"/>
                <a:gd name="T58" fmla="*/ 2147483647 w 631"/>
                <a:gd name="T59" fmla="*/ 2147483647 h 592"/>
                <a:gd name="T60" fmla="*/ 2147483647 w 631"/>
                <a:gd name="T61" fmla="*/ 2147483647 h 592"/>
                <a:gd name="T62" fmla="*/ 2147483647 w 631"/>
                <a:gd name="T63" fmla="*/ 2147483647 h 592"/>
                <a:gd name="T64" fmla="*/ 2147483647 w 631"/>
                <a:gd name="T65" fmla="*/ 2147483647 h 592"/>
                <a:gd name="T66" fmla="*/ 2147483647 w 631"/>
                <a:gd name="T67" fmla="*/ 2147483647 h 592"/>
                <a:gd name="T68" fmla="*/ 2147483647 w 631"/>
                <a:gd name="T69" fmla="*/ 2147483647 h 592"/>
                <a:gd name="T70" fmla="*/ 2147483647 w 631"/>
                <a:gd name="T71" fmla="*/ 2147483647 h 592"/>
                <a:gd name="T72" fmla="*/ 2147483647 w 631"/>
                <a:gd name="T73" fmla="*/ 2147483647 h 592"/>
                <a:gd name="T74" fmla="*/ 2147483647 w 631"/>
                <a:gd name="T75" fmla="*/ 2147483647 h 592"/>
                <a:gd name="T76" fmla="*/ 2147483647 w 631"/>
                <a:gd name="T77" fmla="*/ 2147483647 h 592"/>
                <a:gd name="T78" fmla="*/ 2147483647 w 631"/>
                <a:gd name="T79" fmla="*/ 2147483647 h 592"/>
                <a:gd name="T80" fmla="*/ 2147483647 w 631"/>
                <a:gd name="T81" fmla="*/ 2147483647 h 592"/>
                <a:gd name="T82" fmla="*/ 2147483647 w 631"/>
                <a:gd name="T83" fmla="*/ 2147483647 h 592"/>
                <a:gd name="T84" fmla="*/ 2147483647 w 631"/>
                <a:gd name="T85" fmla="*/ 2147483647 h 592"/>
                <a:gd name="T86" fmla="*/ 2147483647 w 631"/>
                <a:gd name="T87" fmla="*/ 2147483647 h 592"/>
                <a:gd name="T88" fmla="*/ 2147483647 w 631"/>
                <a:gd name="T89" fmla="*/ 2147483647 h 592"/>
                <a:gd name="T90" fmla="*/ 2147483647 w 631"/>
                <a:gd name="T91" fmla="*/ 2147483647 h 592"/>
                <a:gd name="T92" fmla="*/ 0 w 631"/>
                <a:gd name="T93" fmla="*/ 2147483647 h 592"/>
                <a:gd name="T94" fmla="*/ 2147483647 w 631"/>
                <a:gd name="T95" fmla="*/ 2147483647 h 592"/>
                <a:gd name="T96" fmla="*/ 2147483647 w 631"/>
                <a:gd name="T97" fmla="*/ 2147483647 h 592"/>
                <a:gd name="T98" fmla="*/ 2147483647 w 631"/>
                <a:gd name="T99" fmla="*/ 2147483647 h 592"/>
                <a:gd name="T100" fmla="*/ 2147483647 w 631"/>
                <a:gd name="T101" fmla="*/ 2147483647 h 592"/>
                <a:gd name="T102" fmla="*/ 2147483647 w 631"/>
                <a:gd name="T103" fmla="*/ 2147483647 h 592"/>
                <a:gd name="T104" fmla="*/ 2147483647 w 631"/>
                <a:gd name="T105" fmla="*/ 2147483647 h 592"/>
                <a:gd name="T106" fmla="*/ 2147483647 w 631"/>
                <a:gd name="T107" fmla="*/ 2147483647 h 592"/>
                <a:gd name="T108" fmla="*/ 2147483647 w 631"/>
                <a:gd name="T109" fmla="*/ 2147483647 h 592"/>
                <a:gd name="T110" fmla="*/ 2147483647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631"/>
                <a:gd name="T169" fmla="*/ 0 h 592"/>
                <a:gd name="T170" fmla="*/ 631 w 631"/>
                <a:gd name="T171" fmla="*/ 592 h 59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92D05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8" name="Freeform 458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5438765" y="2353560"/>
              <a:ext cx="15910" cy="52134"/>
            </a:xfrm>
            <a:custGeom>
              <a:avLst/>
              <a:gdLst>
                <a:gd name="T0" fmla="*/ 2147483647 w 40"/>
                <a:gd name="T1" fmla="*/ 2147483647 h 93"/>
                <a:gd name="T2" fmla="*/ 2147483647 w 40"/>
                <a:gd name="T3" fmla="*/ 2147483647 h 93"/>
                <a:gd name="T4" fmla="*/ 2147483647 w 40"/>
                <a:gd name="T5" fmla="*/ 2147483647 h 93"/>
                <a:gd name="T6" fmla="*/ 2147483647 w 40"/>
                <a:gd name="T7" fmla="*/ 2147483647 h 93"/>
                <a:gd name="T8" fmla="*/ 2147483647 w 40"/>
                <a:gd name="T9" fmla="*/ 2147483647 h 93"/>
                <a:gd name="T10" fmla="*/ 2147483647 w 40"/>
                <a:gd name="T11" fmla="*/ 2147483647 h 93"/>
                <a:gd name="T12" fmla="*/ 2147483647 w 40"/>
                <a:gd name="T13" fmla="*/ 0 h 93"/>
                <a:gd name="T14" fmla="*/ 2147483647 w 40"/>
                <a:gd name="T15" fmla="*/ 2147483647 h 93"/>
                <a:gd name="T16" fmla="*/ 2147483647 w 40"/>
                <a:gd name="T17" fmla="*/ 2147483647 h 93"/>
                <a:gd name="T18" fmla="*/ 2147483647 w 40"/>
                <a:gd name="T19" fmla="*/ 2147483647 h 93"/>
                <a:gd name="T20" fmla="*/ 2147483647 w 40"/>
                <a:gd name="T21" fmla="*/ 2147483647 h 93"/>
                <a:gd name="T22" fmla="*/ 2147483647 w 40"/>
                <a:gd name="T23" fmla="*/ 2147483647 h 93"/>
                <a:gd name="T24" fmla="*/ 2147483647 w 40"/>
                <a:gd name="T25" fmla="*/ 2147483647 h 93"/>
                <a:gd name="T26" fmla="*/ 2147483647 w 40"/>
                <a:gd name="T27" fmla="*/ 2147483647 h 93"/>
                <a:gd name="T28" fmla="*/ 2147483647 w 40"/>
                <a:gd name="T29" fmla="*/ 2147483647 h 93"/>
                <a:gd name="T30" fmla="*/ 2147483647 w 40"/>
                <a:gd name="T31" fmla="*/ 2147483647 h 93"/>
                <a:gd name="T32" fmla="*/ 2147483647 w 40"/>
                <a:gd name="T33" fmla="*/ 2147483647 h 93"/>
                <a:gd name="T34" fmla="*/ 2147483647 w 40"/>
                <a:gd name="T35" fmla="*/ 2147483647 h 93"/>
                <a:gd name="T36" fmla="*/ 2147483647 w 40"/>
                <a:gd name="T37" fmla="*/ 2147483647 h 93"/>
                <a:gd name="T38" fmla="*/ 2147483647 w 40"/>
                <a:gd name="T39" fmla="*/ 2147483647 h 93"/>
                <a:gd name="T40" fmla="*/ 2147483647 w 40"/>
                <a:gd name="T41" fmla="*/ 2147483647 h 93"/>
                <a:gd name="T42" fmla="*/ 2147483647 w 40"/>
                <a:gd name="T43" fmla="*/ 2147483647 h 93"/>
                <a:gd name="T44" fmla="*/ 0 w 40"/>
                <a:gd name="T45" fmla="*/ 2147483647 h 93"/>
                <a:gd name="T46" fmla="*/ 2147483647 w 40"/>
                <a:gd name="T47" fmla="*/ 2147483647 h 93"/>
                <a:gd name="T48" fmla="*/ 2147483647 w 40"/>
                <a:gd name="T49" fmla="*/ 2147483647 h 93"/>
                <a:gd name="T50" fmla="*/ 2147483647 w 40"/>
                <a:gd name="T51" fmla="*/ 2147483647 h 93"/>
                <a:gd name="T52" fmla="*/ 2147483647 w 40"/>
                <a:gd name="T53" fmla="*/ 2147483647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0"/>
                <a:gd name="T82" fmla="*/ 0 h 93"/>
                <a:gd name="T83" fmla="*/ 40 w 40"/>
                <a:gd name="T84" fmla="*/ 93 h 93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9" name="Freeform 459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5162813" y="2126199"/>
              <a:ext cx="269036" cy="249082"/>
            </a:xfrm>
            <a:custGeom>
              <a:avLst/>
              <a:gdLst>
                <a:gd name="T0" fmla="*/ 2147483647 w 664"/>
                <a:gd name="T1" fmla="*/ 2147483647 h 518"/>
                <a:gd name="T2" fmla="*/ 2147483647 w 664"/>
                <a:gd name="T3" fmla="*/ 2147483647 h 518"/>
                <a:gd name="T4" fmla="*/ 2147483647 w 664"/>
                <a:gd name="T5" fmla="*/ 2147483647 h 518"/>
                <a:gd name="T6" fmla="*/ 2147483647 w 664"/>
                <a:gd name="T7" fmla="*/ 2147483647 h 518"/>
                <a:gd name="T8" fmla="*/ 2147483647 w 664"/>
                <a:gd name="T9" fmla="*/ 2147483647 h 518"/>
                <a:gd name="T10" fmla="*/ 2147483647 w 664"/>
                <a:gd name="T11" fmla="*/ 2147483647 h 518"/>
                <a:gd name="T12" fmla="*/ 2147483647 w 664"/>
                <a:gd name="T13" fmla="*/ 2147483647 h 518"/>
                <a:gd name="T14" fmla="*/ 2147483647 w 664"/>
                <a:gd name="T15" fmla="*/ 2147483647 h 518"/>
                <a:gd name="T16" fmla="*/ 2147483647 w 664"/>
                <a:gd name="T17" fmla="*/ 2147483647 h 518"/>
                <a:gd name="T18" fmla="*/ 2147483647 w 664"/>
                <a:gd name="T19" fmla="*/ 2147483647 h 518"/>
                <a:gd name="T20" fmla="*/ 2147483647 w 664"/>
                <a:gd name="T21" fmla="*/ 2147483647 h 518"/>
                <a:gd name="T22" fmla="*/ 2147483647 w 664"/>
                <a:gd name="T23" fmla="*/ 2147483647 h 518"/>
                <a:gd name="T24" fmla="*/ 2147483647 w 664"/>
                <a:gd name="T25" fmla="*/ 2147483647 h 518"/>
                <a:gd name="T26" fmla="*/ 2147483647 w 664"/>
                <a:gd name="T27" fmla="*/ 2147483647 h 518"/>
                <a:gd name="T28" fmla="*/ 2147483647 w 664"/>
                <a:gd name="T29" fmla="*/ 2147483647 h 518"/>
                <a:gd name="T30" fmla="*/ 2147483647 w 664"/>
                <a:gd name="T31" fmla="*/ 2147483647 h 518"/>
                <a:gd name="T32" fmla="*/ 2147483647 w 664"/>
                <a:gd name="T33" fmla="*/ 2147483647 h 518"/>
                <a:gd name="T34" fmla="*/ 2147483647 w 664"/>
                <a:gd name="T35" fmla="*/ 2147483647 h 518"/>
                <a:gd name="T36" fmla="*/ 2147483647 w 664"/>
                <a:gd name="T37" fmla="*/ 2147483647 h 518"/>
                <a:gd name="T38" fmla="*/ 2147483647 w 664"/>
                <a:gd name="T39" fmla="*/ 2147483647 h 518"/>
                <a:gd name="T40" fmla="*/ 2147483647 w 664"/>
                <a:gd name="T41" fmla="*/ 2147483647 h 518"/>
                <a:gd name="T42" fmla="*/ 2147483647 w 664"/>
                <a:gd name="T43" fmla="*/ 2147483647 h 518"/>
                <a:gd name="T44" fmla="*/ 2147483647 w 664"/>
                <a:gd name="T45" fmla="*/ 2147483647 h 518"/>
                <a:gd name="T46" fmla="*/ 2147483647 w 664"/>
                <a:gd name="T47" fmla="*/ 2147483647 h 518"/>
                <a:gd name="T48" fmla="*/ 2147483647 w 664"/>
                <a:gd name="T49" fmla="*/ 2147483647 h 518"/>
                <a:gd name="T50" fmla="*/ 2147483647 w 664"/>
                <a:gd name="T51" fmla="*/ 2147483647 h 518"/>
                <a:gd name="T52" fmla="*/ 2147483647 w 664"/>
                <a:gd name="T53" fmla="*/ 2147483647 h 518"/>
                <a:gd name="T54" fmla="*/ 2147483647 w 664"/>
                <a:gd name="T55" fmla="*/ 2147483647 h 518"/>
                <a:gd name="T56" fmla="*/ 2147483647 w 664"/>
                <a:gd name="T57" fmla="*/ 2147483647 h 518"/>
                <a:gd name="T58" fmla="*/ 2147483647 w 664"/>
                <a:gd name="T59" fmla="*/ 2147483647 h 518"/>
                <a:gd name="T60" fmla="*/ 2147483647 w 664"/>
                <a:gd name="T61" fmla="*/ 2147483647 h 518"/>
                <a:gd name="T62" fmla="*/ 2147483647 w 664"/>
                <a:gd name="T63" fmla="*/ 2147483647 h 518"/>
                <a:gd name="T64" fmla="*/ 2147483647 w 664"/>
                <a:gd name="T65" fmla="*/ 2147483647 h 518"/>
                <a:gd name="T66" fmla="*/ 2147483647 w 664"/>
                <a:gd name="T67" fmla="*/ 2147483647 h 518"/>
                <a:gd name="T68" fmla="*/ 2147483647 w 664"/>
                <a:gd name="T69" fmla="*/ 2147483647 h 518"/>
                <a:gd name="T70" fmla="*/ 2147483647 w 664"/>
                <a:gd name="T71" fmla="*/ 2147483647 h 518"/>
                <a:gd name="T72" fmla="*/ 2147483647 w 664"/>
                <a:gd name="T73" fmla="*/ 2147483647 h 518"/>
                <a:gd name="T74" fmla="*/ 2147483647 w 664"/>
                <a:gd name="T75" fmla="*/ 2147483647 h 518"/>
                <a:gd name="T76" fmla="*/ 2147483647 w 664"/>
                <a:gd name="T77" fmla="*/ 2147483647 h 518"/>
                <a:gd name="T78" fmla="*/ 2147483647 w 664"/>
                <a:gd name="T79" fmla="*/ 2147483647 h 518"/>
                <a:gd name="T80" fmla="*/ 2147483647 w 664"/>
                <a:gd name="T81" fmla="*/ 2147483647 h 518"/>
                <a:gd name="T82" fmla="*/ 2147483647 w 664"/>
                <a:gd name="T83" fmla="*/ 2147483647 h 518"/>
                <a:gd name="T84" fmla="*/ 2147483647 w 664"/>
                <a:gd name="T85" fmla="*/ 2147483647 h 518"/>
                <a:gd name="T86" fmla="*/ 2147483647 w 664"/>
                <a:gd name="T87" fmla="*/ 2147483647 h 518"/>
                <a:gd name="T88" fmla="*/ 2147483647 w 664"/>
                <a:gd name="T89" fmla="*/ 2147483647 h 518"/>
                <a:gd name="T90" fmla="*/ 2147483647 w 664"/>
                <a:gd name="T91" fmla="*/ 2147483647 h 518"/>
                <a:gd name="T92" fmla="*/ 2147483647 w 664"/>
                <a:gd name="T93" fmla="*/ 2147483647 h 518"/>
                <a:gd name="T94" fmla="*/ 2147483647 w 664"/>
                <a:gd name="T95" fmla="*/ 2147483647 h 518"/>
                <a:gd name="T96" fmla="*/ 2147483647 w 664"/>
                <a:gd name="T97" fmla="*/ 2147483647 h 518"/>
                <a:gd name="T98" fmla="*/ 2147483647 w 664"/>
                <a:gd name="T99" fmla="*/ 2147483647 h 518"/>
                <a:gd name="T100" fmla="*/ 2147483647 w 664"/>
                <a:gd name="T101" fmla="*/ 2147483647 h 518"/>
                <a:gd name="T102" fmla="*/ 2147483647 w 664"/>
                <a:gd name="T103" fmla="*/ 2147483647 h 518"/>
                <a:gd name="T104" fmla="*/ 2147483647 w 664"/>
                <a:gd name="T105" fmla="*/ 2147483647 h 518"/>
                <a:gd name="T106" fmla="*/ 2147483647 w 664"/>
                <a:gd name="T107" fmla="*/ 2147483647 h 518"/>
                <a:gd name="T108" fmla="*/ 2147483647 w 664"/>
                <a:gd name="T109" fmla="*/ 2147483647 h 518"/>
                <a:gd name="T110" fmla="*/ 2147483647 w 664"/>
                <a:gd name="T111" fmla="*/ 2147483647 h 518"/>
                <a:gd name="T112" fmla="*/ 2147483647 w 664"/>
                <a:gd name="T113" fmla="*/ 2147483647 h 518"/>
                <a:gd name="T114" fmla="*/ 2147483647 w 664"/>
                <a:gd name="T115" fmla="*/ 2147483647 h 518"/>
                <a:gd name="T116" fmla="*/ 2147483647 w 664"/>
                <a:gd name="T117" fmla="*/ 2147483647 h 518"/>
                <a:gd name="T118" fmla="*/ 2147483647 w 664"/>
                <a:gd name="T119" fmla="*/ 2147483647 h 518"/>
                <a:gd name="T120" fmla="*/ 2147483647 w 664"/>
                <a:gd name="T121" fmla="*/ 2147483647 h 518"/>
                <a:gd name="T122" fmla="*/ 2147483647 w 664"/>
                <a:gd name="T123" fmla="*/ 2147483647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64"/>
                <a:gd name="T187" fmla="*/ 0 h 518"/>
                <a:gd name="T188" fmla="*/ 664 w 664"/>
                <a:gd name="T189" fmla="*/ 518 h 51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0" name="Freeform 460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6095444" y="2340526"/>
              <a:ext cx="137410" cy="75304"/>
            </a:xfrm>
            <a:custGeom>
              <a:avLst/>
              <a:gdLst>
                <a:gd name="T0" fmla="*/ 2147483647 w 352"/>
                <a:gd name="T1" fmla="*/ 2147483647 h 153"/>
                <a:gd name="T2" fmla="*/ 2147483647 w 352"/>
                <a:gd name="T3" fmla="*/ 2147483647 h 153"/>
                <a:gd name="T4" fmla="*/ 2147483647 w 352"/>
                <a:gd name="T5" fmla="*/ 2147483647 h 153"/>
                <a:gd name="T6" fmla="*/ 2147483647 w 352"/>
                <a:gd name="T7" fmla="*/ 2147483647 h 153"/>
                <a:gd name="T8" fmla="*/ 2147483647 w 352"/>
                <a:gd name="T9" fmla="*/ 2147483647 h 153"/>
                <a:gd name="T10" fmla="*/ 2147483647 w 352"/>
                <a:gd name="T11" fmla="*/ 2147483647 h 153"/>
                <a:gd name="T12" fmla="*/ 2147483647 w 352"/>
                <a:gd name="T13" fmla="*/ 2147483647 h 153"/>
                <a:gd name="T14" fmla="*/ 2147483647 w 352"/>
                <a:gd name="T15" fmla="*/ 2147483647 h 153"/>
                <a:gd name="T16" fmla="*/ 2147483647 w 352"/>
                <a:gd name="T17" fmla="*/ 2147483647 h 153"/>
                <a:gd name="T18" fmla="*/ 2147483647 w 352"/>
                <a:gd name="T19" fmla="*/ 2147483647 h 153"/>
                <a:gd name="T20" fmla="*/ 2147483647 w 352"/>
                <a:gd name="T21" fmla="*/ 2147483647 h 153"/>
                <a:gd name="T22" fmla="*/ 2147483647 w 352"/>
                <a:gd name="T23" fmla="*/ 2147483647 h 153"/>
                <a:gd name="T24" fmla="*/ 2147483647 w 352"/>
                <a:gd name="T25" fmla="*/ 2147483647 h 153"/>
                <a:gd name="T26" fmla="*/ 2147483647 w 352"/>
                <a:gd name="T27" fmla="*/ 2147483647 h 153"/>
                <a:gd name="T28" fmla="*/ 2147483647 w 352"/>
                <a:gd name="T29" fmla="*/ 2147483647 h 153"/>
                <a:gd name="T30" fmla="*/ 2147483647 w 352"/>
                <a:gd name="T31" fmla="*/ 2147483647 h 153"/>
                <a:gd name="T32" fmla="*/ 2147483647 w 352"/>
                <a:gd name="T33" fmla="*/ 2147483647 h 153"/>
                <a:gd name="T34" fmla="*/ 2147483647 w 352"/>
                <a:gd name="T35" fmla="*/ 2147483647 h 153"/>
                <a:gd name="T36" fmla="*/ 2147483647 w 352"/>
                <a:gd name="T37" fmla="*/ 2147483647 h 153"/>
                <a:gd name="T38" fmla="*/ 2147483647 w 352"/>
                <a:gd name="T39" fmla="*/ 2147483647 h 153"/>
                <a:gd name="T40" fmla="*/ 2147483647 w 352"/>
                <a:gd name="T41" fmla="*/ 2147483647 h 153"/>
                <a:gd name="T42" fmla="*/ 2147483647 w 352"/>
                <a:gd name="T43" fmla="*/ 2147483647 h 153"/>
                <a:gd name="T44" fmla="*/ 2147483647 w 352"/>
                <a:gd name="T45" fmla="*/ 2147483647 h 153"/>
                <a:gd name="T46" fmla="*/ 2147483647 w 352"/>
                <a:gd name="T47" fmla="*/ 2147483647 h 153"/>
                <a:gd name="T48" fmla="*/ 2147483647 w 352"/>
                <a:gd name="T49" fmla="*/ 2147483647 h 153"/>
                <a:gd name="T50" fmla="*/ 2147483647 w 352"/>
                <a:gd name="T51" fmla="*/ 2147483647 h 153"/>
                <a:gd name="T52" fmla="*/ 2147483647 w 352"/>
                <a:gd name="T53" fmla="*/ 2147483647 h 153"/>
                <a:gd name="T54" fmla="*/ 0 w 352"/>
                <a:gd name="T55" fmla="*/ 0 h 153"/>
                <a:gd name="T56" fmla="*/ 2147483647 w 352"/>
                <a:gd name="T57" fmla="*/ 0 h 153"/>
                <a:gd name="T58" fmla="*/ 2147483647 w 352"/>
                <a:gd name="T59" fmla="*/ 2147483647 h 153"/>
                <a:gd name="T60" fmla="*/ 2147483647 w 352"/>
                <a:gd name="T61" fmla="*/ 2147483647 h 153"/>
                <a:gd name="T62" fmla="*/ 2147483647 w 352"/>
                <a:gd name="T63" fmla="*/ 2147483647 h 153"/>
                <a:gd name="T64" fmla="*/ 2147483647 w 352"/>
                <a:gd name="T65" fmla="*/ 2147483647 h 153"/>
                <a:gd name="T66" fmla="*/ 2147483647 w 352"/>
                <a:gd name="T67" fmla="*/ 2147483647 h 153"/>
                <a:gd name="T68" fmla="*/ 2147483647 w 352"/>
                <a:gd name="T69" fmla="*/ 2147483647 h 153"/>
                <a:gd name="T70" fmla="*/ 2147483647 w 352"/>
                <a:gd name="T71" fmla="*/ 2147483647 h 153"/>
                <a:gd name="T72" fmla="*/ 2147483647 w 352"/>
                <a:gd name="T73" fmla="*/ 2147483647 h 153"/>
                <a:gd name="T74" fmla="*/ 2147483647 w 352"/>
                <a:gd name="T75" fmla="*/ 2147483647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52"/>
                <a:gd name="T115" fmla="*/ 0 h 153"/>
                <a:gd name="T116" fmla="*/ 352 w 352"/>
                <a:gd name="T117" fmla="*/ 153 h 153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1" name="Freeform 461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5684658" y="2395556"/>
              <a:ext cx="134517" cy="157849"/>
            </a:xfrm>
            <a:custGeom>
              <a:avLst/>
              <a:gdLst>
                <a:gd name="T0" fmla="*/ 2147483647 w 331"/>
                <a:gd name="T1" fmla="*/ 2147483647 h 327"/>
                <a:gd name="T2" fmla="*/ 2147483647 w 331"/>
                <a:gd name="T3" fmla="*/ 2147483647 h 327"/>
                <a:gd name="T4" fmla="*/ 2147483647 w 331"/>
                <a:gd name="T5" fmla="*/ 2147483647 h 327"/>
                <a:gd name="T6" fmla="*/ 2147483647 w 331"/>
                <a:gd name="T7" fmla="*/ 2147483647 h 327"/>
                <a:gd name="T8" fmla="*/ 2147483647 w 331"/>
                <a:gd name="T9" fmla="*/ 2147483647 h 327"/>
                <a:gd name="T10" fmla="*/ 2147483647 w 331"/>
                <a:gd name="T11" fmla="*/ 2147483647 h 327"/>
                <a:gd name="T12" fmla="*/ 2147483647 w 331"/>
                <a:gd name="T13" fmla="*/ 2147483647 h 327"/>
                <a:gd name="T14" fmla="*/ 2147483647 w 331"/>
                <a:gd name="T15" fmla="*/ 2147483647 h 327"/>
                <a:gd name="T16" fmla="*/ 2147483647 w 331"/>
                <a:gd name="T17" fmla="*/ 2147483647 h 327"/>
                <a:gd name="T18" fmla="*/ 2147483647 w 331"/>
                <a:gd name="T19" fmla="*/ 2147483647 h 327"/>
                <a:gd name="T20" fmla="*/ 2147483647 w 331"/>
                <a:gd name="T21" fmla="*/ 2147483647 h 327"/>
                <a:gd name="T22" fmla="*/ 2147483647 w 331"/>
                <a:gd name="T23" fmla="*/ 2147483647 h 327"/>
                <a:gd name="T24" fmla="*/ 2147483647 w 331"/>
                <a:gd name="T25" fmla="*/ 2147483647 h 327"/>
                <a:gd name="T26" fmla="*/ 2147483647 w 331"/>
                <a:gd name="T27" fmla="*/ 2147483647 h 327"/>
                <a:gd name="T28" fmla="*/ 2147483647 w 331"/>
                <a:gd name="T29" fmla="*/ 2147483647 h 327"/>
                <a:gd name="T30" fmla="*/ 2147483647 w 331"/>
                <a:gd name="T31" fmla="*/ 2147483647 h 327"/>
                <a:gd name="T32" fmla="*/ 2147483647 w 331"/>
                <a:gd name="T33" fmla="*/ 2147483647 h 327"/>
                <a:gd name="T34" fmla="*/ 2147483647 w 331"/>
                <a:gd name="T35" fmla="*/ 2147483647 h 327"/>
                <a:gd name="T36" fmla="*/ 2147483647 w 331"/>
                <a:gd name="T37" fmla="*/ 2147483647 h 327"/>
                <a:gd name="T38" fmla="*/ 2147483647 w 331"/>
                <a:gd name="T39" fmla="*/ 2147483647 h 327"/>
                <a:gd name="T40" fmla="*/ 2147483647 w 331"/>
                <a:gd name="T41" fmla="*/ 2147483647 h 327"/>
                <a:gd name="T42" fmla="*/ 2147483647 w 331"/>
                <a:gd name="T43" fmla="*/ 2147483647 h 327"/>
                <a:gd name="T44" fmla="*/ 2147483647 w 331"/>
                <a:gd name="T45" fmla="*/ 2147483647 h 327"/>
                <a:gd name="T46" fmla="*/ 2147483647 w 331"/>
                <a:gd name="T47" fmla="*/ 2147483647 h 327"/>
                <a:gd name="T48" fmla="*/ 2147483647 w 331"/>
                <a:gd name="T49" fmla="*/ 2147483647 h 327"/>
                <a:gd name="T50" fmla="*/ 2147483647 w 331"/>
                <a:gd name="T51" fmla="*/ 2147483647 h 327"/>
                <a:gd name="T52" fmla="*/ 2147483647 w 331"/>
                <a:gd name="T53" fmla="*/ 2147483647 h 327"/>
                <a:gd name="T54" fmla="*/ 2147483647 w 331"/>
                <a:gd name="T55" fmla="*/ 2147483647 h 327"/>
                <a:gd name="T56" fmla="*/ 2147483647 w 331"/>
                <a:gd name="T57" fmla="*/ 2147483647 h 327"/>
                <a:gd name="T58" fmla="*/ 2147483647 w 331"/>
                <a:gd name="T59" fmla="*/ 2147483647 h 327"/>
                <a:gd name="T60" fmla="*/ 2147483647 w 331"/>
                <a:gd name="T61" fmla="*/ 2147483647 h 327"/>
                <a:gd name="T62" fmla="*/ 2147483647 w 331"/>
                <a:gd name="T63" fmla="*/ 2147483647 h 327"/>
                <a:gd name="T64" fmla="*/ 2147483647 w 331"/>
                <a:gd name="T65" fmla="*/ 2147483647 h 327"/>
                <a:gd name="T66" fmla="*/ 2147483647 w 331"/>
                <a:gd name="T67" fmla="*/ 2147483647 h 327"/>
                <a:gd name="T68" fmla="*/ 2147483647 w 331"/>
                <a:gd name="T69" fmla="*/ 2147483647 h 327"/>
                <a:gd name="T70" fmla="*/ 0 w 331"/>
                <a:gd name="T71" fmla="*/ 2147483647 h 327"/>
                <a:gd name="T72" fmla="*/ 2147483647 w 331"/>
                <a:gd name="T73" fmla="*/ 2147483647 h 327"/>
                <a:gd name="T74" fmla="*/ 2147483647 w 331"/>
                <a:gd name="T75" fmla="*/ 2147483647 h 327"/>
                <a:gd name="T76" fmla="*/ 2147483647 w 331"/>
                <a:gd name="T77" fmla="*/ 2147483647 h 327"/>
                <a:gd name="T78" fmla="*/ 2147483647 w 331"/>
                <a:gd name="T79" fmla="*/ 2147483647 h 327"/>
                <a:gd name="T80" fmla="*/ 2147483647 w 331"/>
                <a:gd name="T81" fmla="*/ 2147483647 h 327"/>
                <a:gd name="T82" fmla="*/ 2147483647 w 331"/>
                <a:gd name="T83" fmla="*/ 2147483647 h 327"/>
                <a:gd name="T84" fmla="*/ 2147483647 w 331"/>
                <a:gd name="T85" fmla="*/ 2147483647 h 327"/>
                <a:gd name="T86" fmla="*/ 2147483647 w 331"/>
                <a:gd name="T87" fmla="*/ 2147483647 h 327"/>
                <a:gd name="T88" fmla="*/ 2147483647 w 331"/>
                <a:gd name="T89" fmla="*/ 2147483647 h 327"/>
                <a:gd name="T90" fmla="*/ 2147483647 w 331"/>
                <a:gd name="T91" fmla="*/ 2147483647 h 327"/>
                <a:gd name="T92" fmla="*/ 2147483647 w 331"/>
                <a:gd name="T93" fmla="*/ 2147483647 h 327"/>
                <a:gd name="T94" fmla="*/ 2147483647 w 331"/>
                <a:gd name="T95" fmla="*/ 2147483647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31"/>
                <a:gd name="T145" fmla="*/ 0 h 327"/>
                <a:gd name="T146" fmla="*/ 331 w 331"/>
                <a:gd name="T147" fmla="*/ 327 h 327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2" name="Freeform 462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5761318" y="2570783"/>
              <a:ext cx="63643" cy="52134"/>
            </a:xfrm>
            <a:custGeom>
              <a:avLst/>
              <a:gdLst>
                <a:gd name="T0" fmla="*/ 0 w 153"/>
                <a:gd name="T1" fmla="*/ 0 h 49"/>
                <a:gd name="T2" fmla="*/ 2147483647 w 153"/>
                <a:gd name="T3" fmla="*/ 2147483647 h 49"/>
                <a:gd name="T4" fmla="*/ 2147483647 w 153"/>
                <a:gd name="T5" fmla="*/ 2147483647 h 49"/>
                <a:gd name="T6" fmla="*/ 2147483647 w 153"/>
                <a:gd name="T7" fmla="*/ 2147483647 h 49"/>
                <a:gd name="T8" fmla="*/ 2147483647 w 153"/>
                <a:gd name="T9" fmla="*/ 2147483647 h 49"/>
                <a:gd name="T10" fmla="*/ 2147483647 w 153"/>
                <a:gd name="T11" fmla="*/ 2147483647 h 49"/>
                <a:gd name="T12" fmla="*/ 2147483647 w 153"/>
                <a:gd name="T13" fmla="*/ 2147483647 h 49"/>
                <a:gd name="T14" fmla="*/ 2147483647 w 153"/>
                <a:gd name="T15" fmla="*/ 2147483647 h 49"/>
                <a:gd name="T16" fmla="*/ 2147483647 w 153"/>
                <a:gd name="T17" fmla="*/ 0 h 49"/>
                <a:gd name="T18" fmla="*/ 2147483647 w 153"/>
                <a:gd name="T19" fmla="*/ 2147483647 h 49"/>
                <a:gd name="T20" fmla="*/ 2147483647 w 153"/>
                <a:gd name="T21" fmla="*/ 2147483647 h 49"/>
                <a:gd name="T22" fmla="*/ 2147483647 w 153"/>
                <a:gd name="T23" fmla="*/ 2147483647 h 49"/>
                <a:gd name="T24" fmla="*/ 2147483647 w 153"/>
                <a:gd name="T25" fmla="*/ 2147483647 h 49"/>
                <a:gd name="T26" fmla="*/ 2147483647 w 153"/>
                <a:gd name="T27" fmla="*/ 2147483647 h 49"/>
                <a:gd name="T28" fmla="*/ 2147483647 w 153"/>
                <a:gd name="T29" fmla="*/ 2147483647 h 49"/>
                <a:gd name="T30" fmla="*/ 2147483647 w 153"/>
                <a:gd name="T31" fmla="*/ 2147483647 h 49"/>
                <a:gd name="T32" fmla="*/ 2147483647 w 153"/>
                <a:gd name="T33" fmla="*/ 2147483647 h 49"/>
                <a:gd name="T34" fmla="*/ 2147483647 w 153"/>
                <a:gd name="T35" fmla="*/ 2147483647 h 49"/>
                <a:gd name="T36" fmla="*/ 2147483647 w 153"/>
                <a:gd name="T37" fmla="*/ 2147483647 h 49"/>
                <a:gd name="T38" fmla="*/ 2147483647 w 153"/>
                <a:gd name="T39" fmla="*/ 2147483647 h 49"/>
                <a:gd name="T40" fmla="*/ 2147483647 w 153"/>
                <a:gd name="T41" fmla="*/ 2147483647 h 49"/>
                <a:gd name="T42" fmla="*/ 2147483647 w 153"/>
                <a:gd name="T43" fmla="*/ 2147483647 h 49"/>
                <a:gd name="T44" fmla="*/ 2147483647 w 153"/>
                <a:gd name="T45" fmla="*/ 2147483647 h 49"/>
                <a:gd name="T46" fmla="*/ 2147483647 w 153"/>
                <a:gd name="T47" fmla="*/ 2147483647 h 49"/>
                <a:gd name="T48" fmla="*/ 0 w 153"/>
                <a:gd name="T49" fmla="*/ 2147483647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53"/>
                <a:gd name="T79" fmla="*/ 0 h 49"/>
                <a:gd name="T80" fmla="*/ 153 w 153"/>
                <a:gd name="T81" fmla="*/ 49 h 4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3" name="Freeform 463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4922390" y="3238381"/>
              <a:ext cx="170679" cy="144815"/>
            </a:xfrm>
            <a:custGeom>
              <a:avLst/>
              <a:gdLst>
                <a:gd name="T0" fmla="*/ 2147483647 w 426"/>
                <a:gd name="T1" fmla="*/ 2147483647 h 299"/>
                <a:gd name="T2" fmla="*/ 2147483647 w 426"/>
                <a:gd name="T3" fmla="*/ 2147483647 h 299"/>
                <a:gd name="T4" fmla="*/ 2147483647 w 426"/>
                <a:gd name="T5" fmla="*/ 2147483647 h 299"/>
                <a:gd name="T6" fmla="*/ 2147483647 w 426"/>
                <a:gd name="T7" fmla="*/ 2147483647 h 299"/>
                <a:gd name="T8" fmla="*/ 2147483647 w 426"/>
                <a:gd name="T9" fmla="*/ 2147483647 h 299"/>
                <a:gd name="T10" fmla="*/ 2147483647 w 426"/>
                <a:gd name="T11" fmla="*/ 2147483647 h 299"/>
                <a:gd name="T12" fmla="*/ 2147483647 w 426"/>
                <a:gd name="T13" fmla="*/ 2147483647 h 299"/>
                <a:gd name="T14" fmla="*/ 2147483647 w 426"/>
                <a:gd name="T15" fmla="*/ 2147483647 h 299"/>
                <a:gd name="T16" fmla="*/ 2147483647 w 426"/>
                <a:gd name="T17" fmla="*/ 2147483647 h 299"/>
                <a:gd name="T18" fmla="*/ 2147483647 w 426"/>
                <a:gd name="T19" fmla="*/ 2147483647 h 299"/>
                <a:gd name="T20" fmla="*/ 2147483647 w 426"/>
                <a:gd name="T21" fmla="*/ 2147483647 h 299"/>
                <a:gd name="T22" fmla="*/ 2147483647 w 426"/>
                <a:gd name="T23" fmla="*/ 2147483647 h 299"/>
                <a:gd name="T24" fmla="*/ 2147483647 w 426"/>
                <a:gd name="T25" fmla="*/ 2147483647 h 299"/>
                <a:gd name="T26" fmla="*/ 2147483647 w 426"/>
                <a:gd name="T27" fmla="*/ 2147483647 h 299"/>
                <a:gd name="T28" fmla="*/ 2147483647 w 426"/>
                <a:gd name="T29" fmla="*/ 2147483647 h 299"/>
                <a:gd name="T30" fmla="*/ 2147483647 w 426"/>
                <a:gd name="T31" fmla="*/ 2147483647 h 299"/>
                <a:gd name="T32" fmla="*/ 2147483647 w 426"/>
                <a:gd name="T33" fmla="*/ 2147483647 h 299"/>
                <a:gd name="T34" fmla="*/ 2147483647 w 426"/>
                <a:gd name="T35" fmla="*/ 2147483647 h 299"/>
                <a:gd name="T36" fmla="*/ 2147483647 w 426"/>
                <a:gd name="T37" fmla="*/ 2147483647 h 299"/>
                <a:gd name="T38" fmla="*/ 2147483647 w 426"/>
                <a:gd name="T39" fmla="*/ 2147483647 h 299"/>
                <a:gd name="T40" fmla="*/ 2147483647 w 426"/>
                <a:gd name="T41" fmla="*/ 2147483647 h 299"/>
                <a:gd name="T42" fmla="*/ 2147483647 w 426"/>
                <a:gd name="T43" fmla="*/ 2147483647 h 299"/>
                <a:gd name="T44" fmla="*/ 2147483647 w 426"/>
                <a:gd name="T45" fmla="*/ 2147483647 h 299"/>
                <a:gd name="T46" fmla="*/ 2147483647 w 426"/>
                <a:gd name="T47" fmla="*/ 2147483647 h 299"/>
                <a:gd name="T48" fmla="*/ 2147483647 w 426"/>
                <a:gd name="T49" fmla="*/ 2147483647 h 299"/>
                <a:gd name="T50" fmla="*/ 2147483647 w 426"/>
                <a:gd name="T51" fmla="*/ 2147483647 h 299"/>
                <a:gd name="T52" fmla="*/ 2147483647 w 426"/>
                <a:gd name="T53" fmla="*/ 2147483647 h 299"/>
                <a:gd name="T54" fmla="*/ 2147483647 w 426"/>
                <a:gd name="T55" fmla="*/ 2147483647 h 299"/>
                <a:gd name="T56" fmla="*/ 2147483647 w 426"/>
                <a:gd name="T57" fmla="*/ 2147483647 h 299"/>
                <a:gd name="T58" fmla="*/ 2147483647 w 426"/>
                <a:gd name="T59" fmla="*/ 2147483647 h 299"/>
                <a:gd name="T60" fmla="*/ 2147483647 w 426"/>
                <a:gd name="T61" fmla="*/ 2147483647 h 299"/>
                <a:gd name="T62" fmla="*/ 2147483647 w 426"/>
                <a:gd name="T63" fmla="*/ 2147483647 h 299"/>
                <a:gd name="T64" fmla="*/ 2147483647 w 426"/>
                <a:gd name="T65" fmla="*/ 2147483647 h 299"/>
                <a:gd name="T66" fmla="*/ 2147483647 w 426"/>
                <a:gd name="T67" fmla="*/ 2147483647 h 299"/>
                <a:gd name="T68" fmla="*/ 2147483647 w 426"/>
                <a:gd name="T69" fmla="*/ 2147483647 h 299"/>
                <a:gd name="T70" fmla="*/ 2147483647 w 426"/>
                <a:gd name="T71" fmla="*/ 2147483647 h 299"/>
                <a:gd name="T72" fmla="*/ 2147483647 w 426"/>
                <a:gd name="T73" fmla="*/ 2147483647 h 299"/>
                <a:gd name="T74" fmla="*/ 2147483647 w 426"/>
                <a:gd name="T75" fmla="*/ 2147483647 h 299"/>
                <a:gd name="T76" fmla="*/ 2147483647 w 426"/>
                <a:gd name="T77" fmla="*/ 2147483647 h 299"/>
                <a:gd name="T78" fmla="*/ 2147483647 w 426"/>
                <a:gd name="T79" fmla="*/ 2147483647 h 299"/>
                <a:gd name="T80" fmla="*/ 2147483647 w 426"/>
                <a:gd name="T81" fmla="*/ 2147483647 h 299"/>
                <a:gd name="T82" fmla="*/ 2147483647 w 426"/>
                <a:gd name="T83" fmla="*/ 2147483647 h 299"/>
                <a:gd name="T84" fmla="*/ 2147483647 w 426"/>
                <a:gd name="T85" fmla="*/ 2147483647 h 299"/>
                <a:gd name="T86" fmla="*/ 2147483647 w 426"/>
                <a:gd name="T87" fmla="*/ 2147483647 h 299"/>
                <a:gd name="T88" fmla="*/ 2147483647 w 426"/>
                <a:gd name="T89" fmla="*/ 2147483647 h 299"/>
                <a:gd name="T90" fmla="*/ 2147483647 w 426"/>
                <a:gd name="T91" fmla="*/ 2147483647 h 299"/>
                <a:gd name="T92" fmla="*/ 2147483647 w 426"/>
                <a:gd name="T93" fmla="*/ 2147483647 h 299"/>
                <a:gd name="T94" fmla="*/ 2147483647 w 426"/>
                <a:gd name="T95" fmla="*/ 2147483647 h 299"/>
                <a:gd name="T96" fmla="*/ 2147483647 w 426"/>
                <a:gd name="T97" fmla="*/ 2147483647 h 299"/>
                <a:gd name="T98" fmla="*/ 2147483647 w 426"/>
                <a:gd name="T99" fmla="*/ 2147483647 h 299"/>
                <a:gd name="T100" fmla="*/ 2147483647 w 426"/>
                <a:gd name="T101" fmla="*/ 2147483647 h 299"/>
                <a:gd name="T102" fmla="*/ 2147483647 w 426"/>
                <a:gd name="T103" fmla="*/ 2147483647 h 299"/>
                <a:gd name="T104" fmla="*/ 2147483647 w 426"/>
                <a:gd name="T105" fmla="*/ 2147483647 h 299"/>
                <a:gd name="T106" fmla="*/ 2147483647 w 426"/>
                <a:gd name="T107" fmla="*/ 2147483647 h 299"/>
                <a:gd name="T108" fmla="*/ 2147483647 w 426"/>
                <a:gd name="T109" fmla="*/ 2147483647 h 299"/>
                <a:gd name="T110" fmla="*/ 2147483647 w 426"/>
                <a:gd name="T111" fmla="*/ 2147483647 h 299"/>
                <a:gd name="T112" fmla="*/ 2147483647 w 426"/>
                <a:gd name="T113" fmla="*/ 2147483647 h 299"/>
                <a:gd name="T114" fmla="*/ 2147483647 w 426"/>
                <a:gd name="T115" fmla="*/ 2147483647 h 299"/>
                <a:gd name="T116" fmla="*/ 2147483647 w 426"/>
                <a:gd name="T117" fmla="*/ 2147483647 h 299"/>
                <a:gd name="T118" fmla="*/ 2147483647 w 426"/>
                <a:gd name="T119" fmla="*/ 2147483647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26"/>
                <a:gd name="T181" fmla="*/ 0 h 299"/>
                <a:gd name="T182" fmla="*/ 426 w 426"/>
                <a:gd name="T183" fmla="*/ 299 h 29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5" name="Freeform 465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5074265" y="3291963"/>
              <a:ext cx="144643" cy="188260"/>
            </a:xfrm>
            <a:custGeom>
              <a:avLst/>
              <a:gdLst>
                <a:gd name="T0" fmla="*/ 2147483647 w 359"/>
                <a:gd name="T1" fmla="*/ 2147483647 h 394"/>
                <a:gd name="T2" fmla="*/ 2147483647 w 359"/>
                <a:gd name="T3" fmla="*/ 2147483647 h 394"/>
                <a:gd name="T4" fmla="*/ 2147483647 w 359"/>
                <a:gd name="T5" fmla="*/ 2147483647 h 394"/>
                <a:gd name="T6" fmla="*/ 2147483647 w 359"/>
                <a:gd name="T7" fmla="*/ 2147483647 h 394"/>
                <a:gd name="T8" fmla="*/ 2147483647 w 359"/>
                <a:gd name="T9" fmla="*/ 2147483647 h 394"/>
                <a:gd name="T10" fmla="*/ 2147483647 w 359"/>
                <a:gd name="T11" fmla="*/ 2147483647 h 394"/>
                <a:gd name="T12" fmla="*/ 2147483647 w 359"/>
                <a:gd name="T13" fmla="*/ 2147483647 h 394"/>
                <a:gd name="T14" fmla="*/ 0 w 359"/>
                <a:gd name="T15" fmla="*/ 2147483647 h 394"/>
                <a:gd name="T16" fmla="*/ 2147483647 w 359"/>
                <a:gd name="T17" fmla="*/ 2147483647 h 394"/>
                <a:gd name="T18" fmla="*/ 2147483647 w 359"/>
                <a:gd name="T19" fmla="*/ 2147483647 h 394"/>
                <a:gd name="T20" fmla="*/ 2147483647 w 359"/>
                <a:gd name="T21" fmla="*/ 2147483647 h 394"/>
                <a:gd name="T22" fmla="*/ 2147483647 w 359"/>
                <a:gd name="T23" fmla="*/ 2147483647 h 394"/>
                <a:gd name="T24" fmla="*/ 2147483647 w 359"/>
                <a:gd name="T25" fmla="*/ 2147483647 h 394"/>
                <a:gd name="T26" fmla="*/ 2147483647 w 359"/>
                <a:gd name="T27" fmla="*/ 2147483647 h 394"/>
                <a:gd name="T28" fmla="*/ 2147483647 w 359"/>
                <a:gd name="T29" fmla="*/ 2147483647 h 394"/>
                <a:gd name="T30" fmla="*/ 2147483647 w 359"/>
                <a:gd name="T31" fmla="*/ 2147483647 h 394"/>
                <a:gd name="T32" fmla="*/ 2147483647 w 359"/>
                <a:gd name="T33" fmla="*/ 2147483647 h 394"/>
                <a:gd name="T34" fmla="*/ 2147483647 w 359"/>
                <a:gd name="T35" fmla="*/ 2147483647 h 394"/>
                <a:gd name="T36" fmla="*/ 2147483647 w 359"/>
                <a:gd name="T37" fmla="*/ 0 h 394"/>
                <a:gd name="T38" fmla="*/ 2147483647 w 359"/>
                <a:gd name="T39" fmla="*/ 2147483647 h 394"/>
                <a:gd name="T40" fmla="*/ 2147483647 w 359"/>
                <a:gd name="T41" fmla="*/ 2147483647 h 394"/>
                <a:gd name="T42" fmla="*/ 2147483647 w 359"/>
                <a:gd name="T43" fmla="*/ 2147483647 h 394"/>
                <a:gd name="T44" fmla="*/ 2147483647 w 359"/>
                <a:gd name="T45" fmla="*/ 2147483647 h 394"/>
                <a:gd name="T46" fmla="*/ 2147483647 w 359"/>
                <a:gd name="T47" fmla="*/ 2147483647 h 394"/>
                <a:gd name="T48" fmla="*/ 2147483647 w 359"/>
                <a:gd name="T49" fmla="*/ 2147483647 h 394"/>
                <a:gd name="T50" fmla="*/ 2147483647 w 359"/>
                <a:gd name="T51" fmla="*/ 2147483647 h 394"/>
                <a:gd name="T52" fmla="*/ 2147483647 w 359"/>
                <a:gd name="T53" fmla="*/ 2147483647 h 394"/>
                <a:gd name="T54" fmla="*/ 2147483647 w 359"/>
                <a:gd name="T55" fmla="*/ 2147483647 h 394"/>
                <a:gd name="T56" fmla="*/ 2147483647 w 359"/>
                <a:gd name="T57" fmla="*/ 2147483647 h 394"/>
                <a:gd name="T58" fmla="*/ 2147483647 w 359"/>
                <a:gd name="T59" fmla="*/ 2147483647 h 394"/>
                <a:gd name="T60" fmla="*/ 2147483647 w 359"/>
                <a:gd name="T61" fmla="*/ 2147483647 h 394"/>
                <a:gd name="T62" fmla="*/ 2147483647 w 359"/>
                <a:gd name="T63" fmla="*/ 2147483647 h 394"/>
                <a:gd name="T64" fmla="*/ 2147483647 w 359"/>
                <a:gd name="T65" fmla="*/ 2147483647 h 394"/>
                <a:gd name="T66" fmla="*/ 2147483647 w 359"/>
                <a:gd name="T67" fmla="*/ 2147483647 h 394"/>
                <a:gd name="T68" fmla="*/ 2147483647 w 359"/>
                <a:gd name="T69" fmla="*/ 2147483647 h 394"/>
                <a:gd name="T70" fmla="*/ 2147483647 w 359"/>
                <a:gd name="T71" fmla="*/ 2147483647 h 394"/>
                <a:gd name="T72" fmla="*/ 2147483647 w 359"/>
                <a:gd name="T73" fmla="*/ 2147483647 h 394"/>
                <a:gd name="T74" fmla="*/ 2147483647 w 359"/>
                <a:gd name="T75" fmla="*/ 2147483647 h 394"/>
                <a:gd name="T76" fmla="*/ 2147483647 w 359"/>
                <a:gd name="T77" fmla="*/ 2147483647 h 394"/>
                <a:gd name="T78" fmla="*/ 2147483647 w 359"/>
                <a:gd name="T79" fmla="*/ 2147483647 h 394"/>
                <a:gd name="T80" fmla="*/ 2147483647 w 359"/>
                <a:gd name="T81" fmla="*/ 2147483647 h 394"/>
                <a:gd name="T82" fmla="*/ 2147483647 w 359"/>
                <a:gd name="T83" fmla="*/ 2147483647 h 394"/>
                <a:gd name="T84" fmla="*/ 2147483647 w 359"/>
                <a:gd name="T85" fmla="*/ 2147483647 h 394"/>
                <a:gd name="T86" fmla="*/ 2147483647 w 359"/>
                <a:gd name="T87" fmla="*/ 2147483647 h 394"/>
                <a:gd name="T88" fmla="*/ 2147483647 w 359"/>
                <a:gd name="T89" fmla="*/ 2147483647 h 394"/>
                <a:gd name="T90" fmla="*/ 2147483647 w 359"/>
                <a:gd name="T91" fmla="*/ 2147483647 h 394"/>
                <a:gd name="T92" fmla="*/ 2147483647 w 359"/>
                <a:gd name="T93" fmla="*/ 2147483647 h 394"/>
                <a:gd name="T94" fmla="*/ 2147483647 w 359"/>
                <a:gd name="T95" fmla="*/ 2147483647 h 394"/>
                <a:gd name="T96" fmla="*/ 2147483647 w 359"/>
                <a:gd name="T97" fmla="*/ 2147483647 h 394"/>
                <a:gd name="T98" fmla="*/ 2147483647 w 359"/>
                <a:gd name="T99" fmla="*/ 2147483647 h 394"/>
                <a:gd name="T100" fmla="*/ 2147483647 w 359"/>
                <a:gd name="T101" fmla="*/ 2147483647 h 394"/>
                <a:gd name="T102" fmla="*/ 2147483647 w 359"/>
                <a:gd name="T103" fmla="*/ 2147483647 h 394"/>
                <a:gd name="T104" fmla="*/ 2147483647 w 359"/>
                <a:gd name="T105" fmla="*/ 2147483647 h 394"/>
                <a:gd name="T106" fmla="*/ 2147483647 w 359"/>
                <a:gd name="T107" fmla="*/ 2147483647 h 394"/>
                <a:gd name="T108" fmla="*/ 2147483647 w 359"/>
                <a:gd name="T109" fmla="*/ 2147483647 h 394"/>
                <a:gd name="T110" fmla="*/ 2147483647 w 359"/>
                <a:gd name="T111" fmla="*/ 2147483647 h 394"/>
                <a:gd name="T112" fmla="*/ 2147483647 w 359"/>
                <a:gd name="T113" fmla="*/ 2147483647 h 394"/>
                <a:gd name="T114" fmla="*/ 2147483647 w 359"/>
                <a:gd name="T115" fmla="*/ 2147483647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59"/>
                <a:gd name="T175" fmla="*/ 0 h 394"/>
                <a:gd name="T176" fmla="*/ 359 w 359"/>
                <a:gd name="T177" fmla="*/ 394 h 39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7" name="Freeform 467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6031801" y="2635949"/>
              <a:ext cx="92571" cy="118749"/>
            </a:xfrm>
            <a:custGeom>
              <a:avLst/>
              <a:gdLst>
                <a:gd name="T0" fmla="*/ 2147483647 w 226"/>
                <a:gd name="T1" fmla="*/ 2147483647 h 246"/>
                <a:gd name="T2" fmla="*/ 2147483647 w 226"/>
                <a:gd name="T3" fmla="*/ 2147483647 h 246"/>
                <a:gd name="T4" fmla="*/ 2147483647 w 226"/>
                <a:gd name="T5" fmla="*/ 2147483647 h 246"/>
                <a:gd name="T6" fmla="*/ 2147483647 w 226"/>
                <a:gd name="T7" fmla="*/ 2147483647 h 246"/>
                <a:gd name="T8" fmla="*/ 2147483647 w 226"/>
                <a:gd name="T9" fmla="*/ 2147483647 h 246"/>
                <a:gd name="T10" fmla="*/ 2147483647 w 226"/>
                <a:gd name="T11" fmla="*/ 2147483647 h 246"/>
                <a:gd name="T12" fmla="*/ 2147483647 w 226"/>
                <a:gd name="T13" fmla="*/ 2147483647 h 246"/>
                <a:gd name="T14" fmla="*/ 2147483647 w 226"/>
                <a:gd name="T15" fmla="*/ 2147483647 h 246"/>
                <a:gd name="T16" fmla="*/ 2147483647 w 226"/>
                <a:gd name="T17" fmla="*/ 2147483647 h 246"/>
                <a:gd name="T18" fmla="*/ 2147483647 w 226"/>
                <a:gd name="T19" fmla="*/ 2147483647 h 246"/>
                <a:gd name="T20" fmla="*/ 2147483647 w 226"/>
                <a:gd name="T21" fmla="*/ 2147483647 h 246"/>
                <a:gd name="T22" fmla="*/ 2147483647 w 226"/>
                <a:gd name="T23" fmla="*/ 2147483647 h 246"/>
                <a:gd name="T24" fmla="*/ 2147483647 w 226"/>
                <a:gd name="T25" fmla="*/ 2147483647 h 246"/>
                <a:gd name="T26" fmla="*/ 2147483647 w 226"/>
                <a:gd name="T27" fmla="*/ 2147483647 h 246"/>
                <a:gd name="T28" fmla="*/ 2147483647 w 226"/>
                <a:gd name="T29" fmla="*/ 2147483647 h 246"/>
                <a:gd name="T30" fmla="*/ 2147483647 w 226"/>
                <a:gd name="T31" fmla="*/ 2147483647 h 246"/>
                <a:gd name="T32" fmla="*/ 2147483647 w 226"/>
                <a:gd name="T33" fmla="*/ 2147483647 h 246"/>
                <a:gd name="T34" fmla="*/ 2147483647 w 226"/>
                <a:gd name="T35" fmla="*/ 2147483647 h 246"/>
                <a:gd name="T36" fmla="*/ 2147483647 w 226"/>
                <a:gd name="T37" fmla="*/ 2147483647 h 246"/>
                <a:gd name="T38" fmla="*/ 2147483647 w 226"/>
                <a:gd name="T39" fmla="*/ 2147483647 h 246"/>
                <a:gd name="T40" fmla="*/ 2147483647 w 226"/>
                <a:gd name="T41" fmla="*/ 2147483647 h 246"/>
                <a:gd name="T42" fmla="*/ 2147483647 w 226"/>
                <a:gd name="T43" fmla="*/ 2147483647 h 246"/>
                <a:gd name="T44" fmla="*/ 2147483647 w 226"/>
                <a:gd name="T45" fmla="*/ 2147483647 h 246"/>
                <a:gd name="T46" fmla="*/ 2147483647 w 226"/>
                <a:gd name="T47" fmla="*/ 2147483647 h 246"/>
                <a:gd name="T48" fmla="*/ 2147483647 w 226"/>
                <a:gd name="T49" fmla="*/ 2147483647 h 246"/>
                <a:gd name="T50" fmla="*/ 2147483647 w 226"/>
                <a:gd name="T51" fmla="*/ 2147483647 h 246"/>
                <a:gd name="T52" fmla="*/ 2147483647 w 226"/>
                <a:gd name="T53" fmla="*/ 2147483647 h 246"/>
                <a:gd name="T54" fmla="*/ 2147483647 w 226"/>
                <a:gd name="T55" fmla="*/ 2147483647 h 246"/>
                <a:gd name="T56" fmla="*/ 2147483647 w 226"/>
                <a:gd name="T57" fmla="*/ 2147483647 h 246"/>
                <a:gd name="T58" fmla="*/ 2147483647 w 226"/>
                <a:gd name="T59" fmla="*/ 2147483647 h 246"/>
                <a:gd name="T60" fmla="*/ 2147483647 w 226"/>
                <a:gd name="T61" fmla="*/ 2147483647 h 246"/>
                <a:gd name="T62" fmla="*/ 2147483647 w 226"/>
                <a:gd name="T63" fmla="*/ 2147483647 h 246"/>
                <a:gd name="T64" fmla="*/ 2147483647 w 226"/>
                <a:gd name="T65" fmla="*/ 2147483647 h 246"/>
                <a:gd name="T66" fmla="*/ 2147483647 w 226"/>
                <a:gd name="T67" fmla="*/ 2147483647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26"/>
                <a:gd name="T103" fmla="*/ 0 h 246"/>
                <a:gd name="T104" fmla="*/ 226 w 226"/>
                <a:gd name="T105" fmla="*/ 246 h 24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92D05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8" name="Freeform 468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6303729" y="2730080"/>
              <a:ext cx="20250" cy="50685"/>
            </a:xfrm>
            <a:custGeom>
              <a:avLst/>
              <a:gdLst>
                <a:gd name="T0" fmla="*/ 2147483647 w 60"/>
                <a:gd name="T1" fmla="*/ 0 h 81"/>
                <a:gd name="T2" fmla="*/ 2147483647 w 60"/>
                <a:gd name="T3" fmla="*/ 2147483647 h 81"/>
                <a:gd name="T4" fmla="*/ 2147483647 w 60"/>
                <a:gd name="T5" fmla="*/ 2147483647 h 81"/>
                <a:gd name="T6" fmla="*/ 2147483647 w 60"/>
                <a:gd name="T7" fmla="*/ 2147483647 h 81"/>
                <a:gd name="T8" fmla="*/ 2147483647 w 60"/>
                <a:gd name="T9" fmla="*/ 2147483647 h 81"/>
                <a:gd name="T10" fmla="*/ 2147483647 w 60"/>
                <a:gd name="T11" fmla="*/ 2147483647 h 81"/>
                <a:gd name="T12" fmla="*/ 2147483647 w 60"/>
                <a:gd name="T13" fmla="*/ 0 h 81"/>
                <a:gd name="T14" fmla="*/ 2147483647 w 60"/>
                <a:gd name="T15" fmla="*/ 2147483647 h 81"/>
                <a:gd name="T16" fmla="*/ 2147483647 w 60"/>
                <a:gd name="T17" fmla="*/ 2147483647 h 81"/>
                <a:gd name="T18" fmla="*/ 2147483647 w 60"/>
                <a:gd name="T19" fmla="*/ 2147483647 h 81"/>
                <a:gd name="T20" fmla="*/ 2147483647 w 60"/>
                <a:gd name="T21" fmla="*/ 2147483647 h 81"/>
                <a:gd name="T22" fmla="*/ 2147483647 w 60"/>
                <a:gd name="T23" fmla="*/ 2147483647 h 81"/>
                <a:gd name="T24" fmla="*/ 2147483647 w 60"/>
                <a:gd name="T25" fmla="*/ 2147483647 h 81"/>
                <a:gd name="T26" fmla="*/ 2147483647 w 60"/>
                <a:gd name="T27" fmla="*/ 2147483647 h 81"/>
                <a:gd name="T28" fmla="*/ 2147483647 w 60"/>
                <a:gd name="T29" fmla="*/ 2147483647 h 81"/>
                <a:gd name="T30" fmla="*/ 2147483647 w 60"/>
                <a:gd name="T31" fmla="*/ 2147483647 h 81"/>
                <a:gd name="T32" fmla="*/ 2147483647 w 60"/>
                <a:gd name="T33" fmla="*/ 2147483647 h 81"/>
                <a:gd name="T34" fmla="*/ 2147483647 w 60"/>
                <a:gd name="T35" fmla="*/ 2147483647 h 81"/>
                <a:gd name="T36" fmla="*/ 2147483647 w 60"/>
                <a:gd name="T37" fmla="*/ 2147483647 h 81"/>
                <a:gd name="T38" fmla="*/ 0 w 60"/>
                <a:gd name="T39" fmla="*/ 2147483647 h 81"/>
                <a:gd name="T40" fmla="*/ 2147483647 w 60"/>
                <a:gd name="T41" fmla="*/ 2147483647 h 81"/>
                <a:gd name="T42" fmla="*/ 2147483647 w 60"/>
                <a:gd name="T43" fmla="*/ 2147483647 h 81"/>
                <a:gd name="T44" fmla="*/ 2147483647 w 60"/>
                <a:gd name="T45" fmla="*/ 0 h 81"/>
                <a:gd name="T46" fmla="*/ 2147483647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60"/>
                <a:gd name="T73" fmla="*/ 0 h 81"/>
                <a:gd name="T74" fmla="*/ 60 w 60"/>
                <a:gd name="T75" fmla="*/ 81 h 8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9" name="Freeform 469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5654282" y="1940836"/>
              <a:ext cx="147536" cy="60822"/>
            </a:xfrm>
            <a:custGeom>
              <a:avLst/>
              <a:gdLst>
                <a:gd name="T0" fmla="*/ 2147483647 w 370"/>
                <a:gd name="T1" fmla="*/ 2147483647 h 129"/>
                <a:gd name="T2" fmla="*/ 2147483647 w 370"/>
                <a:gd name="T3" fmla="*/ 2147483647 h 129"/>
                <a:gd name="T4" fmla="*/ 2147483647 w 370"/>
                <a:gd name="T5" fmla="*/ 2147483647 h 129"/>
                <a:gd name="T6" fmla="*/ 2147483647 w 370"/>
                <a:gd name="T7" fmla="*/ 2147483647 h 129"/>
                <a:gd name="T8" fmla="*/ 2147483647 w 370"/>
                <a:gd name="T9" fmla="*/ 2147483647 h 129"/>
                <a:gd name="T10" fmla="*/ 2147483647 w 370"/>
                <a:gd name="T11" fmla="*/ 2147483647 h 129"/>
                <a:gd name="T12" fmla="*/ 2147483647 w 370"/>
                <a:gd name="T13" fmla="*/ 2147483647 h 129"/>
                <a:gd name="T14" fmla="*/ 2147483647 w 370"/>
                <a:gd name="T15" fmla="*/ 2147483647 h 129"/>
                <a:gd name="T16" fmla="*/ 2147483647 w 370"/>
                <a:gd name="T17" fmla="*/ 2147483647 h 129"/>
                <a:gd name="T18" fmla="*/ 2147483647 w 370"/>
                <a:gd name="T19" fmla="*/ 2147483647 h 129"/>
                <a:gd name="T20" fmla="*/ 2147483647 w 370"/>
                <a:gd name="T21" fmla="*/ 2147483647 h 129"/>
                <a:gd name="T22" fmla="*/ 2147483647 w 370"/>
                <a:gd name="T23" fmla="*/ 2147483647 h 129"/>
                <a:gd name="T24" fmla="*/ 2147483647 w 370"/>
                <a:gd name="T25" fmla="*/ 2147483647 h 129"/>
                <a:gd name="T26" fmla="*/ 2147483647 w 370"/>
                <a:gd name="T27" fmla="*/ 0 h 129"/>
                <a:gd name="T28" fmla="*/ 2147483647 w 370"/>
                <a:gd name="T29" fmla="*/ 0 h 129"/>
                <a:gd name="T30" fmla="*/ 2147483647 w 370"/>
                <a:gd name="T31" fmla="*/ 2147483647 h 129"/>
                <a:gd name="T32" fmla="*/ 2147483647 w 370"/>
                <a:gd name="T33" fmla="*/ 2147483647 h 129"/>
                <a:gd name="T34" fmla="*/ 2147483647 w 370"/>
                <a:gd name="T35" fmla="*/ 2147483647 h 129"/>
                <a:gd name="T36" fmla="*/ 2147483647 w 370"/>
                <a:gd name="T37" fmla="*/ 2147483647 h 129"/>
                <a:gd name="T38" fmla="*/ 2147483647 w 370"/>
                <a:gd name="T39" fmla="*/ 2147483647 h 129"/>
                <a:gd name="T40" fmla="*/ 2147483647 w 370"/>
                <a:gd name="T41" fmla="*/ 2147483647 h 129"/>
                <a:gd name="T42" fmla="*/ 2147483647 w 370"/>
                <a:gd name="T43" fmla="*/ 2147483647 h 129"/>
                <a:gd name="T44" fmla="*/ 2147483647 w 370"/>
                <a:gd name="T45" fmla="*/ 2147483647 h 129"/>
                <a:gd name="T46" fmla="*/ 2147483647 w 370"/>
                <a:gd name="T47" fmla="*/ 2147483647 h 129"/>
                <a:gd name="T48" fmla="*/ 2147483647 w 370"/>
                <a:gd name="T49" fmla="*/ 2147483647 h 129"/>
                <a:gd name="T50" fmla="*/ 2147483647 w 370"/>
                <a:gd name="T51" fmla="*/ 2147483647 h 129"/>
                <a:gd name="T52" fmla="*/ 2147483647 w 370"/>
                <a:gd name="T53" fmla="*/ 2147483647 h 129"/>
                <a:gd name="T54" fmla="*/ 2147483647 w 370"/>
                <a:gd name="T55" fmla="*/ 2147483647 h 129"/>
                <a:gd name="T56" fmla="*/ 2147483647 w 370"/>
                <a:gd name="T57" fmla="*/ 2147483647 h 129"/>
                <a:gd name="T58" fmla="*/ 2147483647 w 370"/>
                <a:gd name="T59" fmla="*/ 2147483647 h 129"/>
                <a:gd name="T60" fmla="*/ 2147483647 w 370"/>
                <a:gd name="T61" fmla="*/ 2147483647 h 129"/>
                <a:gd name="T62" fmla="*/ 2147483647 w 370"/>
                <a:gd name="T63" fmla="*/ 2147483647 h 129"/>
                <a:gd name="T64" fmla="*/ 2147483647 w 370"/>
                <a:gd name="T65" fmla="*/ 2147483647 h 129"/>
                <a:gd name="T66" fmla="*/ 2147483647 w 370"/>
                <a:gd name="T67" fmla="*/ 2147483647 h 129"/>
                <a:gd name="T68" fmla="*/ 2147483647 w 370"/>
                <a:gd name="T69" fmla="*/ 2147483647 h 129"/>
                <a:gd name="T70" fmla="*/ 2147483647 w 370"/>
                <a:gd name="T71" fmla="*/ 2147483647 h 129"/>
                <a:gd name="T72" fmla="*/ 2147483647 w 370"/>
                <a:gd name="T73" fmla="*/ 2147483647 h 129"/>
                <a:gd name="T74" fmla="*/ 2147483647 w 370"/>
                <a:gd name="T75" fmla="*/ 2147483647 h 129"/>
                <a:gd name="T76" fmla="*/ 0 w 370"/>
                <a:gd name="T77" fmla="*/ 2147483647 h 129"/>
                <a:gd name="T78" fmla="*/ 0 w 370"/>
                <a:gd name="T79" fmla="*/ 2147483647 h 129"/>
                <a:gd name="T80" fmla="*/ 2147483647 w 370"/>
                <a:gd name="T81" fmla="*/ 2147483647 h 129"/>
                <a:gd name="T82" fmla="*/ 2147483647 w 370"/>
                <a:gd name="T83" fmla="*/ 2147483647 h 129"/>
                <a:gd name="T84" fmla="*/ 2147483647 w 370"/>
                <a:gd name="T85" fmla="*/ 2147483647 h 129"/>
                <a:gd name="T86" fmla="*/ 2147483647 w 370"/>
                <a:gd name="T87" fmla="*/ 2147483647 h 129"/>
                <a:gd name="T88" fmla="*/ 2147483647 w 370"/>
                <a:gd name="T89" fmla="*/ 2147483647 h 129"/>
                <a:gd name="T90" fmla="*/ 2147483647 w 370"/>
                <a:gd name="T91" fmla="*/ 2147483647 h 129"/>
                <a:gd name="T92" fmla="*/ 2147483647 w 370"/>
                <a:gd name="T93" fmla="*/ 2147483647 h 129"/>
                <a:gd name="T94" fmla="*/ 2147483647 w 370"/>
                <a:gd name="T95" fmla="*/ 2147483647 h 129"/>
                <a:gd name="T96" fmla="*/ 2147483647 w 370"/>
                <a:gd name="T97" fmla="*/ 2147483647 h 129"/>
                <a:gd name="T98" fmla="*/ 2147483647 w 370"/>
                <a:gd name="T99" fmla="*/ 2147483647 h 129"/>
                <a:gd name="T100" fmla="*/ 2147483647 w 370"/>
                <a:gd name="T101" fmla="*/ 2147483647 h 129"/>
                <a:gd name="T102" fmla="*/ 2147483647 w 370"/>
                <a:gd name="T103" fmla="*/ 2147483647 h 129"/>
                <a:gd name="T104" fmla="*/ 2147483647 w 370"/>
                <a:gd name="T105" fmla="*/ 2147483647 h 129"/>
                <a:gd name="T106" fmla="*/ 2147483647 w 370"/>
                <a:gd name="T107" fmla="*/ 2147483647 h 129"/>
                <a:gd name="T108" fmla="*/ 2147483647 w 370"/>
                <a:gd name="T109" fmla="*/ 2147483647 h 129"/>
                <a:gd name="T110" fmla="*/ 2147483647 w 370"/>
                <a:gd name="T111" fmla="*/ 2147483647 h 129"/>
                <a:gd name="T112" fmla="*/ 2147483647 w 370"/>
                <a:gd name="T113" fmla="*/ 2147483647 h 129"/>
                <a:gd name="T114" fmla="*/ 2147483647 w 370"/>
                <a:gd name="T115" fmla="*/ 2147483647 h 129"/>
                <a:gd name="T116" fmla="*/ 2147483647 w 370"/>
                <a:gd name="T117" fmla="*/ 2147483647 h 129"/>
                <a:gd name="T118" fmla="*/ 2147483647 w 370"/>
                <a:gd name="T119" fmla="*/ 2147483647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70"/>
                <a:gd name="T181" fmla="*/ 0 h 129"/>
                <a:gd name="T182" fmla="*/ 370 w 370"/>
                <a:gd name="T183" fmla="*/ 129 h 12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0" name="Freeform 470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6028908" y="2598297"/>
              <a:ext cx="27482" cy="52134"/>
            </a:xfrm>
            <a:custGeom>
              <a:avLst/>
              <a:gdLst>
                <a:gd name="T0" fmla="*/ 2147483647 w 80"/>
                <a:gd name="T1" fmla="*/ 2147483647 h 94"/>
                <a:gd name="T2" fmla="*/ 2147483647 w 80"/>
                <a:gd name="T3" fmla="*/ 0 h 94"/>
                <a:gd name="T4" fmla="*/ 2147483647 w 80"/>
                <a:gd name="T5" fmla="*/ 0 h 94"/>
                <a:gd name="T6" fmla="*/ 2147483647 w 80"/>
                <a:gd name="T7" fmla="*/ 2147483647 h 94"/>
                <a:gd name="T8" fmla="*/ 2147483647 w 80"/>
                <a:gd name="T9" fmla="*/ 2147483647 h 94"/>
                <a:gd name="T10" fmla="*/ 2147483647 w 80"/>
                <a:gd name="T11" fmla="*/ 2147483647 h 94"/>
                <a:gd name="T12" fmla="*/ 2147483647 w 80"/>
                <a:gd name="T13" fmla="*/ 2147483647 h 94"/>
                <a:gd name="T14" fmla="*/ 2147483647 w 80"/>
                <a:gd name="T15" fmla="*/ 2147483647 h 94"/>
                <a:gd name="T16" fmla="*/ 2147483647 w 80"/>
                <a:gd name="T17" fmla="*/ 2147483647 h 94"/>
                <a:gd name="T18" fmla="*/ 2147483647 w 80"/>
                <a:gd name="T19" fmla="*/ 2147483647 h 94"/>
                <a:gd name="T20" fmla="*/ 2147483647 w 80"/>
                <a:gd name="T21" fmla="*/ 2147483647 h 94"/>
                <a:gd name="T22" fmla="*/ 2147483647 w 80"/>
                <a:gd name="T23" fmla="*/ 2147483647 h 94"/>
                <a:gd name="T24" fmla="*/ 2147483647 w 80"/>
                <a:gd name="T25" fmla="*/ 2147483647 h 94"/>
                <a:gd name="T26" fmla="*/ 2147483647 w 80"/>
                <a:gd name="T27" fmla="*/ 2147483647 h 94"/>
                <a:gd name="T28" fmla="*/ 2147483647 w 80"/>
                <a:gd name="T29" fmla="*/ 2147483647 h 94"/>
                <a:gd name="T30" fmla="*/ 2147483647 w 80"/>
                <a:gd name="T31" fmla="*/ 2147483647 h 94"/>
                <a:gd name="T32" fmla="*/ 2147483647 w 80"/>
                <a:gd name="T33" fmla="*/ 2147483647 h 94"/>
                <a:gd name="T34" fmla="*/ 2147483647 w 80"/>
                <a:gd name="T35" fmla="*/ 2147483647 h 94"/>
                <a:gd name="T36" fmla="*/ 2147483647 w 80"/>
                <a:gd name="T37" fmla="*/ 2147483647 h 94"/>
                <a:gd name="T38" fmla="*/ 2147483647 w 80"/>
                <a:gd name="T39" fmla="*/ 2147483647 h 94"/>
                <a:gd name="T40" fmla="*/ 2147483647 w 80"/>
                <a:gd name="T41" fmla="*/ 2147483647 h 94"/>
                <a:gd name="T42" fmla="*/ 2147483647 w 80"/>
                <a:gd name="T43" fmla="*/ 2147483647 h 94"/>
                <a:gd name="T44" fmla="*/ 2147483647 w 80"/>
                <a:gd name="T45" fmla="*/ 2147483647 h 94"/>
                <a:gd name="T46" fmla="*/ 2147483647 w 80"/>
                <a:gd name="T47" fmla="*/ 2147483647 h 94"/>
                <a:gd name="T48" fmla="*/ 2147483647 w 80"/>
                <a:gd name="T49" fmla="*/ 2147483647 h 94"/>
                <a:gd name="T50" fmla="*/ 0 w 80"/>
                <a:gd name="T51" fmla="*/ 2147483647 h 94"/>
                <a:gd name="T52" fmla="*/ 2147483647 w 80"/>
                <a:gd name="T53" fmla="*/ 2147483647 h 94"/>
                <a:gd name="T54" fmla="*/ 2147483647 w 80"/>
                <a:gd name="T55" fmla="*/ 2147483647 h 94"/>
                <a:gd name="T56" fmla="*/ 2147483647 w 80"/>
                <a:gd name="T57" fmla="*/ 2147483647 h 94"/>
                <a:gd name="T58" fmla="*/ 2147483647 w 80"/>
                <a:gd name="T59" fmla="*/ 2147483647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80"/>
                <a:gd name="T91" fmla="*/ 0 h 94"/>
                <a:gd name="T92" fmla="*/ 80 w 80"/>
                <a:gd name="T93" fmla="*/ 94 h 9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2" name="Freeform 472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5652836" y="1984280"/>
              <a:ext cx="120053" cy="76753"/>
            </a:xfrm>
            <a:custGeom>
              <a:avLst/>
              <a:gdLst>
                <a:gd name="T0" fmla="*/ 2147483647 w 312"/>
                <a:gd name="T1" fmla="*/ 2147483647 h 155"/>
                <a:gd name="T2" fmla="*/ 2147483647 w 312"/>
                <a:gd name="T3" fmla="*/ 2147483647 h 155"/>
                <a:gd name="T4" fmla="*/ 2147483647 w 312"/>
                <a:gd name="T5" fmla="*/ 2147483647 h 155"/>
                <a:gd name="T6" fmla="*/ 2147483647 w 312"/>
                <a:gd name="T7" fmla="*/ 2147483647 h 155"/>
                <a:gd name="T8" fmla="*/ 2147483647 w 312"/>
                <a:gd name="T9" fmla="*/ 2147483647 h 155"/>
                <a:gd name="T10" fmla="*/ 2147483647 w 312"/>
                <a:gd name="T11" fmla="*/ 2147483647 h 155"/>
                <a:gd name="T12" fmla="*/ 2147483647 w 312"/>
                <a:gd name="T13" fmla="*/ 2147483647 h 155"/>
                <a:gd name="T14" fmla="*/ 2147483647 w 312"/>
                <a:gd name="T15" fmla="*/ 2147483647 h 155"/>
                <a:gd name="T16" fmla="*/ 2147483647 w 312"/>
                <a:gd name="T17" fmla="*/ 2147483647 h 155"/>
                <a:gd name="T18" fmla="*/ 2147483647 w 312"/>
                <a:gd name="T19" fmla="*/ 2147483647 h 155"/>
                <a:gd name="T20" fmla="*/ 2147483647 w 312"/>
                <a:gd name="T21" fmla="*/ 2147483647 h 155"/>
                <a:gd name="T22" fmla="*/ 2147483647 w 312"/>
                <a:gd name="T23" fmla="*/ 2147483647 h 155"/>
                <a:gd name="T24" fmla="*/ 2147483647 w 312"/>
                <a:gd name="T25" fmla="*/ 2147483647 h 155"/>
                <a:gd name="T26" fmla="*/ 2147483647 w 312"/>
                <a:gd name="T27" fmla="*/ 2147483647 h 155"/>
                <a:gd name="T28" fmla="*/ 2147483647 w 312"/>
                <a:gd name="T29" fmla="*/ 2147483647 h 155"/>
                <a:gd name="T30" fmla="*/ 2147483647 w 312"/>
                <a:gd name="T31" fmla="*/ 2147483647 h 155"/>
                <a:gd name="T32" fmla="*/ 2147483647 w 312"/>
                <a:gd name="T33" fmla="*/ 2147483647 h 155"/>
                <a:gd name="T34" fmla="*/ 2147483647 w 312"/>
                <a:gd name="T35" fmla="*/ 2147483647 h 155"/>
                <a:gd name="T36" fmla="*/ 2147483647 w 312"/>
                <a:gd name="T37" fmla="*/ 2147483647 h 155"/>
                <a:gd name="T38" fmla="*/ 2147483647 w 312"/>
                <a:gd name="T39" fmla="*/ 2147483647 h 155"/>
                <a:gd name="T40" fmla="*/ 2147483647 w 312"/>
                <a:gd name="T41" fmla="*/ 2147483647 h 155"/>
                <a:gd name="T42" fmla="*/ 2147483647 w 312"/>
                <a:gd name="T43" fmla="*/ 2147483647 h 155"/>
                <a:gd name="T44" fmla="*/ 2147483647 w 312"/>
                <a:gd name="T45" fmla="*/ 2147483647 h 155"/>
                <a:gd name="T46" fmla="*/ 2147483647 w 312"/>
                <a:gd name="T47" fmla="*/ 2147483647 h 155"/>
                <a:gd name="T48" fmla="*/ 2147483647 w 312"/>
                <a:gd name="T49" fmla="*/ 2147483647 h 155"/>
                <a:gd name="T50" fmla="*/ 2147483647 w 312"/>
                <a:gd name="T51" fmla="*/ 2147483647 h 155"/>
                <a:gd name="T52" fmla="*/ 2147483647 w 312"/>
                <a:gd name="T53" fmla="*/ 2147483647 h 155"/>
                <a:gd name="T54" fmla="*/ 2147483647 w 312"/>
                <a:gd name="T55" fmla="*/ 2147483647 h 155"/>
                <a:gd name="T56" fmla="*/ 2147483647 w 312"/>
                <a:gd name="T57" fmla="*/ 2147483647 h 155"/>
                <a:gd name="T58" fmla="*/ 2147483647 w 312"/>
                <a:gd name="T59" fmla="*/ 2147483647 h 155"/>
                <a:gd name="T60" fmla="*/ 2147483647 w 312"/>
                <a:gd name="T61" fmla="*/ 2147483647 h 155"/>
                <a:gd name="T62" fmla="*/ 2147483647 w 312"/>
                <a:gd name="T63" fmla="*/ 2147483647 h 155"/>
                <a:gd name="T64" fmla="*/ 2147483647 w 312"/>
                <a:gd name="T65" fmla="*/ 2147483647 h 155"/>
                <a:gd name="T66" fmla="*/ 2147483647 w 312"/>
                <a:gd name="T67" fmla="*/ 2147483647 h 155"/>
                <a:gd name="T68" fmla="*/ 2147483647 w 312"/>
                <a:gd name="T69" fmla="*/ 2147483647 h 155"/>
                <a:gd name="T70" fmla="*/ 2147483647 w 312"/>
                <a:gd name="T71" fmla="*/ 0 h 155"/>
                <a:gd name="T72" fmla="*/ 2147483647 w 312"/>
                <a:gd name="T73" fmla="*/ 2147483647 h 155"/>
                <a:gd name="T74" fmla="*/ 2147483647 w 312"/>
                <a:gd name="T75" fmla="*/ 2147483647 h 155"/>
                <a:gd name="T76" fmla="*/ 2147483647 w 312"/>
                <a:gd name="T77" fmla="*/ 2147483647 h 155"/>
                <a:gd name="T78" fmla="*/ 2147483647 w 312"/>
                <a:gd name="T79" fmla="*/ 2147483647 h 155"/>
                <a:gd name="T80" fmla="*/ 2147483647 w 312"/>
                <a:gd name="T81" fmla="*/ 2147483647 h 155"/>
                <a:gd name="T82" fmla="*/ 2147483647 w 312"/>
                <a:gd name="T83" fmla="*/ 2147483647 h 155"/>
                <a:gd name="T84" fmla="*/ 2147483647 w 312"/>
                <a:gd name="T85" fmla="*/ 2147483647 h 155"/>
                <a:gd name="T86" fmla="*/ 2147483647 w 312"/>
                <a:gd name="T87" fmla="*/ 2147483647 h 155"/>
                <a:gd name="T88" fmla="*/ 2147483647 w 312"/>
                <a:gd name="T89" fmla="*/ 2147483647 h 155"/>
                <a:gd name="T90" fmla="*/ 2147483647 w 312"/>
                <a:gd name="T91" fmla="*/ 2147483647 h 155"/>
                <a:gd name="T92" fmla="*/ 2147483647 w 312"/>
                <a:gd name="T93" fmla="*/ 2147483647 h 155"/>
                <a:gd name="T94" fmla="*/ 2147483647 w 312"/>
                <a:gd name="T95" fmla="*/ 2147483647 h 155"/>
                <a:gd name="T96" fmla="*/ 2147483647 w 312"/>
                <a:gd name="T97" fmla="*/ 2147483647 h 155"/>
                <a:gd name="T98" fmla="*/ 2147483647 w 312"/>
                <a:gd name="T99" fmla="*/ 2147483647 h 155"/>
                <a:gd name="T100" fmla="*/ 2147483647 w 312"/>
                <a:gd name="T101" fmla="*/ 2147483647 h 155"/>
                <a:gd name="T102" fmla="*/ 2147483647 w 312"/>
                <a:gd name="T103" fmla="*/ 2147483647 h 155"/>
                <a:gd name="T104" fmla="*/ 2147483647 w 312"/>
                <a:gd name="T105" fmla="*/ 2147483647 h 155"/>
                <a:gd name="T106" fmla="*/ 2147483647 w 312"/>
                <a:gd name="T107" fmla="*/ 2147483647 h 155"/>
                <a:gd name="T108" fmla="*/ 2147483647 w 312"/>
                <a:gd name="T109" fmla="*/ 2147483647 h 155"/>
                <a:gd name="T110" fmla="*/ 2147483647 w 312"/>
                <a:gd name="T111" fmla="*/ 2147483647 h 155"/>
                <a:gd name="T112" fmla="*/ 2147483647 w 312"/>
                <a:gd name="T113" fmla="*/ 2147483647 h 155"/>
                <a:gd name="T114" fmla="*/ 0 w 312"/>
                <a:gd name="T115" fmla="*/ 2147483647 h 155"/>
                <a:gd name="T116" fmla="*/ 2147483647 w 312"/>
                <a:gd name="T117" fmla="*/ 2147483647 h 155"/>
                <a:gd name="T118" fmla="*/ 2147483647 w 312"/>
                <a:gd name="T119" fmla="*/ 2147483647 h 155"/>
                <a:gd name="T120" fmla="*/ 2147483647 w 312"/>
                <a:gd name="T121" fmla="*/ 2147483647 h 155"/>
                <a:gd name="T122" fmla="*/ 2147483647 w 312"/>
                <a:gd name="T123" fmla="*/ 2147483647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12"/>
                <a:gd name="T187" fmla="*/ 0 h 155"/>
                <a:gd name="T188" fmla="*/ 312 w 312"/>
                <a:gd name="T189" fmla="*/ 155 h 15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3" name="Freeform 473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5385247" y="2153715"/>
              <a:ext cx="17357" cy="55030"/>
            </a:xfrm>
            <a:custGeom>
              <a:avLst/>
              <a:gdLst>
                <a:gd name="T0" fmla="*/ 0 w 46"/>
                <a:gd name="T1" fmla="*/ 2147483647 h 50"/>
                <a:gd name="T2" fmla="*/ 2147483647 w 46"/>
                <a:gd name="T3" fmla="*/ 2147483647 h 50"/>
                <a:gd name="T4" fmla="*/ 2147483647 w 46"/>
                <a:gd name="T5" fmla="*/ 2147483647 h 50"/>
                <a:gd name="T6" fmla="*/ 2147483647 w 46"/>
                <a:gd name="T7" fmla="*/ 2147483647 h 50"/>
                <a:gd name="T8" fmla="*/ 2147483647 w 46"/>
                <a:gd name="T9" fmla="*/ 2147483647 h 50"/>
                <a:gd name="T10" fmla="*/ 2147483647 w 46"/>
                <a:gd name="T11" fmla="*/ 2147483647 h 50"/>
                <a:gd name="T12" fmla="*/ 2147483647 w 46"/>
                <a:gd name="T13" fmla="*/ 2147483647 h 50"/>
                <a:gd name="T14" fmla="*/ 2147483647 w 46"/>
                <a:gd name="T15" fmla="*/ 0 h 50"/>
                <a:gd name="T16" fmla="*/ 2147483647 w 46"/>
                <a:gd name="T17" fmla="*/ 2147483647 h 50"/>
                <a:gd name="T18" fmla="*/ 2147483647 w 46"/>
                <a:gd name="T19" fmla="*/ 2147483647 h 50"/>
                <a:gd name="T20" fmla="*/ 2147483647 w 46"/>
                <a:gd name="T21" fmla="*/ 2147483647 h 50"/>
                <a:gd name="T22" fmla="*/ 2147483647 w 46"/>
                <a:gd name="T23" fmla="*/ 2147483647 h 50"/>
                <a:gd name="T24" fmla="*/ 2147483647 w 46"/>
                <a:gd name="T25" fmla="*/ 2147483647 h 50"/>
                <a:gd name="T26" fmla="*/ 2147483647 w 46"/>
                <a:gd name="T27" fmla="*/ 2147483647 h 50"/>
                <a:gd name="T28" fmla="*/ 0 w 46"/>
                <a:gd name="T29" fmla="*/ 2147483647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6"/>
                <a:gd name="T46" fmla="*/ 0 h 50"/>
                <a:gd name="T47" fmla="*/ 46 w 46"/>
                <a:gd name="T48" fmla="*/ 50 h 5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4" name="Freeform 474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6020229" y="3872672"/>
              <a:ext cx="63643" cy="220119"/>
            </a:xfrm>
            <a:custGeom>
              <a:avLst/>
              <a:gdLst>
                <a:gd name="T0" fmla="*/ 2147483647 w 166"/>
                <a:gd name="T1" fmla="*/ 2147483647 h 456"/>
                <a:gd name="T2" fmla="*/ 2147483647 w 166"/>
                <a:gd name="T3" fmla="*/ 2147483647 h 456"/>
                <a:gd name="T4" fmla="*/ 2147483647 w 166"/>
                <a:gd name="T5" fmla="*/ 2147483647 h 456"/>
                <a:gd name="T6" fmla="*/ 2147483647 w 166"/>
                <a:gd name="T7" fmla="*/ 2147483647 h 456"/>
                <a:gd name="T8" fmla="*/ 2147483647 w 166"/>
                <a:gd name="T9" fmla="*/ 2147483647 h 456"/>
                <a:gd name="T10" fmla="*/ 2147483647 w 166"/>
                <a:gd name="T11" fmla="*/ 2147483647 h 456"/>
                <a:gd name="T12" fmla="*/ 2147483647 w 166"/>
                <a:gd name="T13" fmla="*/ 2147483647 h 456"/>
                <a:gd name="T14" fmla="*/ 2147483647 w 166"/>
                <a:gd name="T15" fmla="*/ 2147483647 h 456"/>
                <a:gd name="T16" fmla="*/ 2147483647 w 166"/>
                <a:gd name="T17" fmla="*/ 2147483647 h 456"/>
                <a:gd name="T18" fmla="*/ 2147483647 w 166"/>
                <a:gd name="T19" fmla="*/ 2147483647 h 456"/>
                <a:gd name="T20" fmla="*/ 2147483647 w 166"/>
                <a:gd name="T21" fmla="*/ 2147483647 h 456"/>
                <a:gd name="T22" fmla="*/ 2147483647 w 166"/>
                <a:gd name="T23" fmla="*/ 2147483647 h 456"/>
                <a:gd name="T24" fmla="*/ 2147483647 w 166"/>
                <a:gd name="T25" fmla="*/ 2147483647 h 456"/>
                <a:gd name="T26" fmla="*/ 2147483647 w 166"/>
                <a:gd name="T27" fmla="*/ 2147483647 h 456"/>
                <a:gd name="T28" fmla="*/ 2147483647 w 166"/>
                <a:gd name="T29" fmla="*/ 2147483647 h 456"/>
                <a:gd name="T30" fmla="*/ 2147483647 w 166"/>
                <a:gd name="T31" fmla="*/ 2147483647 h 456"/>
                <a:gd name="T32" fmla="*/ 2147483647 w 166"/>
                <a:gd name="T33" fmla="*/ 2147483647 h 456"/>
                <a:gd name="T34" fmla="*/ 2147483647 w 166"/>
                <a:gd name="T35" fmla="*/ 2147483647 h 456"/>
                <a:gd name="T36" fmla="*/ 2147483647 w 166"/>
                <a:gd name="T37" fmla="*/ 2147483647 h 456"/>
                <a:gd name="T38" fmla="*/ 2147483647 w 166"/>
                <a:gd name="T39" fmla="*/ 2147483647 h 456"/>
                <a:gd name="T40" fmla="*/ 2147483647 w 166"/>
                <a:gd name="T41" fmla="*/ 2147483647 h 456"/>
                <a:gd name="T42" fmla="*/ 2147483647 w 166"/>
                <a:gd name="T43" fmla="*/ 2147483647 h 456"/>
                <a:gd name="T44" fmla="*/ 2147483647 w 166"/>
                <a:gd name="T45" fmla="*/ 2147483647 h 456"/>
                <a:gd name="T46" fmla="*/ 2147483647 w 166"/>
                <a:gd name="T47" fmla="*/ 2147483647 h 456"/>
                <a:gd name="T48" fmla="*/ 2147483647 w 166"/>
                <a:gd name="T49" fmla="*/ 2147483647 h 456"/>
                <a:gd name="T50" fmla="*/ 2147483647 w 166"/>
                <a:gd name="T51" fmla="*/ 2147483647 h 456"/>
                <a:gd name="T52" fmla="*/ 2147483647 w 166"/>
                <a:gd name="T53" fmla="*/ 2147483647 h 456"/>
                <a:gd name="T54" fmla="*/ 2147483647 w 166"/>
                <a:gd name="T55" fmla="*/ 2147483647 h 456"/>
                <a:gd name="T56" fmla="*/ 2147483647 w 166"/>
                <a:gd name="T57" fmla="*/ 2147483647 h 456"/>
                <a:gd name="T58" fmla="*/ 2147483647 w 166"/>
                <a:gd name="T59" fmla="*/ 2147483647 h 456"/>
                <a:gd name="T60" fmla="*/ 2147483647 w 166"/>
                <a:gd name="T61" fmla="*/ 2147483647 h 456"/>
                <a:gd name="T62" fmla="*/ 2147483647 w 166"/>
                <a:gd name="T63" fmla="*/ 2147483647 h 456"/>
                <a:gd name="T64" fmla="*/ 2147483647 w 166"/>
                <a:gd name="T65" fmla="*/ 2147483647 h 456"/>
                <a:gd name="T66" fmla="*/ 2147483647 w 166"/>
                <a:gd name="T67" fmla="*/ 2147483647 h 456"/>
                <a:gd name="T68" fmla="*/ 2147483647 w 166"/>
                <a:gd name="T69" fmla="*/ 2147483647 h 456"/>
                <a:gd name="T70" fmla="*/ 2147483647 w 166"/>
                <a:gd name="T71" fmla="*/ 2147483647 h 456"/>
                <a:gd name="T72" fmla="*/ 2147483647 w 166"/>
                <a:gd name="T73" fmla="*/ 2147483647 h 456"/>
                <a:gd name="T74" fmla="*/ 2147483647 w 166"/>
                <a:gd name="T75" fmla="*/ 2147483647 h 456"/>
                <a:gd name="T76" fmla="*/ 2147483647 w 166"/>
                <a:gd name="T77" fmla="*/ 2147483647 h 456"/>
                <a:gd name="T78" fmla="*/ 2147483647 w 166"/>
                <a:gd name="T79" fmla="*/ 2147483647 h 456"/>
                <a:gd name="T80" fmla="*/ 2147483647 w 166"/>
                <a:gd name="T81" fmla="*/ 2147483647 h 456"/>
                <a:gd name="T82" fmla="*/ 2147483647 w 166"/>
                <a:gd name="T83" fmla="*/ 2147483647 h 456"/>
                <a:gd name="T84" fmla="*/ 2147483647 w 166"/>
                <a:gd name="T85" fmla="*/ 2147483647 h 456"/>
                <a:gd name="T86" fmla="*/ 2147483647 w 166"/>
                <a:gd name="T87" fmla="*/ 2147483647 h 456"/>
                <a:gd name="T88" fmla="*/ 2147483647 w 166"/>
                <a:gd name="T89" fmla="*/ 2147483647 h 456"/>
                <a:gd name="T90" fmla="*/ 2147483647 w 166"/>
                <a:gd name="T91" fmla="*/ 2147483647 h 456"/>
                <a:gd name="T92" fmla="*/ 2147483647 w 166"/>
                <a:gd name="T93" fmla="*/ 2147483647 h 456"/>
                <a:gd name="T94" fmla="*/ 2147483647 w 166"/>
                <a:gd name="T95" fmla="*/ 2147483647 h 456"/>
                <a:gd name="T96" fmla="*/ 2147483647 w 166"/>
                <a:gd name="T97" fmla="*/ 2147483647 h 456"/>
                <a:gd name="T98" fmla="*/ 2147483647 w 166"/>
                <a:gd name="T99" fmla="*/ 2147483647 h 456"/>
                <a:gd name="T100" fmla="*/ 2147483647 w 166"/>
                <a:gd name="T101" fmla="*/ 2147483647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66"/>
                <a:gd name="T154" fmla="*/ 0 h 456"/>
                <a:gd name="T155" fmla="*/ 166 w 166"/>
                <a:gd name="T156" fmla="*/ 456 h 4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92D05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5" name="Freeform 475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5557372" y="2569334"/>
              <a:ext cx="13017" cy="52134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0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7"/>
                <a:gd name="T22" fmla="*/ 0 h 19"/>
                <a:gd name="T23" fmla="*/ 27 w 27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6" name="Freeform 476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5848104" y="4047899"/>
              <a:ext cx="172125" cy="198397"/>
            </a:xfrm>
            <a:custGeom>
              <a:avLst/>
              <a:gdLst>
                <a:gd name="T0" fmla="*/ 2147483647 w 438"/>
                <a:gd name="T1" fmla="*/ 2147483647 h 406"/>
                <a:gd name="T2" fmla="*/ 2147483647 w 438"/>
                <a:gd name="T3" fmla="*/ 2147483647 h 406"/>
                <a:gd name="T4" fmla="*/ 2147483647 w 438"/>
                <a:gd name="T5" fmla="*/ 2147483647 h 406"/>
                <a:gd name="T6" fmla="*/ 2147483647 w 438"/>
                <a:gd name="T7" fmla="*/ 2147483647 h 406"/>
                <a:gd name="T8" fmla="*/ 2147483647 w 438"/>
                <a:gd name="T9" fmla="*/ 2147483647 h 406"/>
                <a:gd name="T10" fmla="*/ 2147483647 w 438"/>
                <a:gd name="T11" fmla="*/ 2147483647 h 406"/>
                <a:gd name="T12" fmla="*/ 2147483647 w 438"/>
                <a:gd name="T13" fmla="*/ 2147483647 h 406"/>
                <a:gd name="T14" fmla="*/ 2147483647 w 438"/>
                <a:gd name="T15" fmla="*/ 2147483647 h 406"/>
                <a:gd name="T16" fmla="*/ 2147483647 w 438"/>
                <a:gd name="T17" fmla="*/ 2147483647 h 406"/>
                <a:gd name="T18" fmla="*/ 2147483647 w 438"/>
                <a:gd name="T19" fmla="*/ 2147483647 h 406"/>
                <a:gd name="T20" fmla="*/ 2147483647 w 438"/>
                <a:gd name="T21" fmla="*/ 2147483647 h 406"/>
                <a:gd name="T22" fmla="*/ 2147483647 w 438"/>
                <a:gd name="T23" fmla="*/ 2147483647 h 406"/>
                <a:gd name="T24" fmla="*/ 2147483647 w 438"/>
                <a:gd name="T25" fmla="*/ 2147483647 h 406"/>
                <a:gd name="T26" fmla="*/ 2147483647 w 438"/>
                <a:gd name="T27" fmla="*/ 2147483647 h 406"/>
                <a:gd name="T28" fmla="*/ 2147483647 w 438"/>
                <a:gd name="T29" fmla="*/ 2147483647 h 406"/>
                <a:gd name="T30" fmla="*/ 2147483647 w 438"/>
                <a:gd name="T31" fmla="*/ 2147483647 h 406"/>
                <a:gd name="T32" fmla="*/ 2147483647 w 438"/>
                <a:gd name="T33" fmla="*/ 2147483647 h 406"/>
                <a:gd name="T34" fmla="*/ 2147483647 w 438"/>
                <a:gd name="T35" fmla="*/ 2147483647 h 406"/>
                <a:gd name="T36" fmla="*/ 2147483647 w 438"/>
                <a:gd name="T37" fmla="*/ 2147483647 h 406"/>
                <a:gd name="T38" fmla="*/ 2147483647 w 438"/>
                <a:gd name="T39" fmla="*/ 2147483647 h 406"/>
                <a:gd name="T40" fmla="*/ 2147483647 w 438"/>
                <a:gd name="T41" fmla="*/ 2147483647 h 406"/>
                <a:gd name="T42" fmla="*/ 2147483647 w 438"/>
                <a:gd name="T43" fmla="*/ 2147483647 h 406"/>
                <a:gd name="T44" fmla="*/ 2147483647 w 438"/>
                <a:gd name="T45" fmla="*/ 2147483647 h 406"/>
                <a:gd name="T46" fmla="*/ 2147483647 w 438"/>
                <a:gd name="T47" fmla="*/ 2147483647 h 406"/>
                <a:gd name="T48" fmla="*/ 2147483647 w 438"/>
                <a:gd name="T49" fmla="*/ 2147483647 h 406"/>
                <a:gd name="T50" fmla="*/ 2147483647 w 438"/>
                <a:gd name="T51" fmla="*/ 2147483647 h 406"/>
                <a:gd name="T52" fmla="*/ 2147483647 w 438"/>
                <a:gd name="T53" fmla="*/ 2147483647 h 406"/>
                <a:gd name="T54" fmla="*/ 2147483647 w 438"/>
                <a:gd name="T55" fmla="*/ 2147483647 h 406"/>
                <a:gd name="T56" fmla="*/ 2147483647 w 438"/>
                <a:gd name="T57" fmla="*/ 2147483647 h 406"/>
                <a:gd name="T58" fmla="*/ 2147483647 w 438"/>
                <a:gd name="T59" fmla="*/ 2147483647 h 406"/>
                <a:gd name="T60" fmla="*/ 2147483647 w 438"/>
                <a:gd name="T61" fmla="*/ 2147483647 h 406"/>
                <a:gd name="T62" fmla="*/ 2147483647 w 438"/>
                <a:gd name="T63" fmla="*/ 2147483647 h 406"/>
                <a:gd name="T64" fmla="*/ 0 w 438"/>
                <a:gd name="T65" fmla="*/ 2147483647 h 406"/>
                <a:gd name="T66" fmla="*/ 2147483647 w 438"/>
                <a:gd name="T67" fmla="*/ 2147483647 h 406"/>
                <a:gd name="T68" fmla="*/ 2147483647 w 438"/>
                <a:gd name="T69" fmla="*/ 2147483647 h 406"/>
                <a:gd name="T70" fmla="*/ 2147483647 w 438"/>
                <a:gd name="T71" fmla="*/ 2147483647 h 406"/>
                <a:gd name="T72" fmla="*/ 2147483647 w 438"/>
                <a:gd name="T73" fmla="*/ 2147483647 h 406"/>
                <a:gd name="T74" fmla="*/ 2147483647 w 438"/>
                <a:gd name="T75" fmla="*/ 2147483647 h 406"/>
                <a:gd name="T76" fmla="*/ 2147483647 w 438"/>
                <a:gd name="T77" fmla="*/ 2147483647 h 406"/>
                <a:gd name="T78" fmla="*/ 2147483647 w 438"/>
                <a:gd name="T79" fmla="*/ 2147483647 h 406"/>
                <a:gd name="T80" fmla="*/ 2147483647 w 438"/>
                <a:gd name="T81" fmla="*/ 2147483647 h 406"/>
                <a:gd name="T82" fmla="*/ 2147483647 w 438"/>
                <a:gd name="T83" fmla="*/ 2147483647 h 406"/>
                <a:gd name="T84" fmla="*/ 2147483647 w 438"/>
                <a:gd name="T85" fmla="*/ 2147483647 h 406"/>
                <a:gd name="T86" fmla="*/ 2147483647 w 438"/>
                <a:gd name="T87" fmla="*/ 2147483647 h 406"/>
                <a:gd name="T88" fmla="*/ 2147483647 w 438"/>
                <a:gd name="T89" fmla="*/ 2147483647 h 406"/>
                <a:gd name="T90" fmla="*/ 2147483647 w 438"/>
                <a:gd name="T91" fmla="*/ 2147483647 h 406"/>
                <a:gd name="T92" fmla="*/ 2147483647 w 438"/>
                <a:gd name="T93" fmla="*/ 2147483647 h 406"/>
                <a:gd name="T94" fmla="*/ 2147483647 w 438"/>
                <a:gd name="T95" fmla="*/ 2147483647 h 406"/>
                <a:gd name="T96" fmla="*/ 2147483647 w 438"/>
                <a:gd name="T97" fmla="*/ 2147483647 h 406"/>
                <a:gd name="T98" fmla="*/ 2147483647 w 438"/>
                <a:gd name="T99" fmla="*/ 2147483647 h 406"/>
                <a:gd name="T100" fmla="*/ 2147483647 w 438"/>
                <a:gd name="T101" fmla="*/ 2147483647 h 406"/>
                <a:gd name="T102" fmla="*/ 2147483647 w 438"/>
                <a:gd name="T103" fmla="*/ 2147483647 h 406"/>
                <a:gd name="T104" fmla="*/ 2147483647 w 438"/>
                <a:gd name="T105" fmla="*/ 2147483647 h 406"/>
                <a:gd name="T106" fmla="*/ 2147483647 w 438"/>
                <a:gd name="T107" fmla="*/ 2147483647 h 406"/>
                <a:gd name="T108" fmla="*/ 2147483647 w 438"/>
                <a:gd name="T109" fmla="*/ 2147483647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38"/>
                <a:gd name="T166" fmla="*/ 0 h 406"/>
                <a:gd name="T167" fmla="*/ 438 w 438"/>
                <a:gd name="T168" fmla="*/ 406 h 40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92D05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7" name="Freeform 477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5768551" y="3843709"/>
              <a:ext cx="267589" cy="273701"/>
            </a:xfrm>
            <a:custGeom>
              <a:avLst/>
              <a:gdLst>
                <a:gd name="T0" fmla="*/ 2147483647 w 678"/>
                <a:gd name="T1" fmla="*/ 2147483647 h 574"/>
                <a:gd name="T2" fmla="*/ 2147483647 w 678"/>
                <a:gd name="T3" fmla="*/ 2147483647 h 574"/>
                <a:gd name="T4" fmla="*/ 2147483647 w 678"/>
                <a:gd name="T5" fmla="*/ 2147483647 h 574"/>
                <a:gd name="T6" fmla="*/ 2147483647 w 678"/>
                <a:gd name="T7" fmla="*/ 2147483647 h 574"/>
                <a:gd name="T8" fmla="*/ 2147483647 w 678"/>
                <a:gd name="T9" fmla="*/ 2147483647 h 574"/>
                <a:gd name="T10" fmla="*/ 2147483647 w 678"/>
                <a:gd name="T11" fmla="*/ 2147483647 h 574"/>
                <a:gd name="T12" fmla="*/ 2147483647 w 678"/>
                <a:gd name="T13" fmla="*/ 2147483647 h 574"/>
                <a:gd name="T14" fmla="*/ 2147483647 w 678"/>
                <a:gd name="T15" fmla="*/ 2147483647 h 574"/>
                <a:gd name="T16" fmla="*/ 2147483647 w 678"/>
                <a:gd name="T17" fmla="*/ 2147483647 h 574"/>
                <a:gd name="T18" fmla="*/ 2147483647 w 678"/>
                <a:gd name="T19" fmla="*/ 2147483647 h 574"/>
                <a:gd name="T20" fmla="*/ 2147483647 w 678"/>
                <a:gd name="T21" fmla="*/ 2147483647 h 574"/>
                <a:gd name="T22" fmla="*/ 2147483647 w 678"/>
                <a:gd name="T23" fmla="*/ 2147483647 h 574"/>
                <a:gd name="T24" fmla="*/ 2147483647 w 678"/>
                <a:gd name="T25" fmla="*/ 2147483647 h 574"/>
                <a:gd name="T26" fmla="*/ 2147483647 w 678"/>
                <a:gd name="T27" fmla="*/ 2147483647 h 574"/>
                <a:gd name="T28" fmla="*/ 2147483647 w 678"/>
                <a:gd name="T29" fmla="*/ 2147483647 h 574"/>
                <a:gd name="T30" fmla="*/ 2147483647 w 678"/>
                <a:gd name="T31" fmla="*/ 2147483647 h 574"/>
                <a:gd name="T32" fmla="*/ 2147483647 w 678"/>
                <a:gd name="T33" fmla="*/ 2147483647 h 574"/>
                <a:gd name="T34" fmla="*/ 2147483647 w 678"/>
                <a:gd name="T35" fmla="*/ 2147483647 h 574"/>
                <a:gd name="T36" fmla="*/ 2147483647 w 678"/>
                <a:gd name="T37" fmla="*/ 2147483647 h 574"/>
                <a:gd name="T38" fmla="*/ 2147483647 w 678"/>
                <a:gd name="T39" fmla="*/ 2147483647 h 574"/>
                <a:gd name="T40" fmla="*/ 2147483647 w 678"/>
                <a:gd name="T41" fmla="*/ 2147483647 h 574"/>
                <a:gd name="T42" fmla="*/ 2147483647 w 678"/>
                <a:gd name="T43" fmla="*/ 2147483647 h 574"/>
                <a:gd name="T44" fmla="*/ 2147483647 w 678"/>
                <a:gd name="T45" fmla="*/ 2147483647 h 574"/>
                <a:gd name="T46" fmla="*/ 2147483647 w 678"/>
                <a:gd name="T47" fmla="*/ 2147483647 h 574"/>
                <a:gd name="T48" fmla="*/ 2147483647 w 678"/>
                <a:gd name="T49" fmla="*/ 2147483647 h 574"/>
                <a:gd name="T50" fmla="*/ 2147483647 w 678"/>
                <a:gd name="T51" fmla="*/ 2147483647 h 574"/>
                <a:gd name="T52" fmla="*/ 2147483647 w 678"/>
                <a:gd name="T53" fmla="*/ 2147483647 h 574"/>
                <a:gd name="T54" fmla="*/ 2147483647 w 678"/>
                <a:gd name="T55" fmla="*/ 2147483647 h 574"/>
                <a:gd name="T56" fmla="*/ 2147483647 w 678"/>
                <a:gd name="T57" fmla="*/ 2147483647 h 574"/>
                <a:gd name="T58" fmla="*/ 2147483647 w 678"/>
                <a:gd name="T59" fmla="*/ 2147483647 h 574"/>
                <a:gd name="T60" fmla="*/ 2147483647 w 678"/>
                <a:gd name="T61" fmla="*/ 2147483647 h 574"/>
                <a:gd name="T62" fmla="*/ 2147483647 w 678"/>
                <a:gd name="T63" fmla="*/ 2147483647 h 574"/>
                <a:gd name="T64" fmla="*/ 0 w 678"/>
                <a:gd name="T65" fmla="*/ 2147483647 h 574"/>
                <a:gd name="T66" fmla="*/ 2147483647 w 678"/>
                <a:gd name="T67" fmla="*/ 2147483647 h 574"/>
                <a:gd name="T68" fmla="*/ 2147483647 w 678"/>
                <a:gd name="T69" fmla="*/ 2147483647 h 574"/>
                <a:gd name="T70" fmla="*/ 2147483647 w 678"/>
                <a:gd name="T71" fmla="*/ 2147483647 h 574"/>
                <a:gd name="T72" fmla="*/ 2147483647 w 678"/>
                <a:gd name="T73" fmla="*/ 2147483647 h 574"/>
                <a:gd name="T74" fmla="*/ 2147483647 w 678"/>
                <a:gd name="T75" fmla="*/ 2147483647 h 574"/>
                <a:gd name="T76" fmla="*/ 2147483647 w 678"/>
                <a:gd name="T77" fmla="*/ 2147483647 h 574"/>
                <a:gd name="T78" fmla="*/ 2147483647 w 678"/>
                <a:gd name="T79" fmla="*/ 2147483647 h 574"/>
                <a:gd name="T80" fmla="*/ 2147483647 w 678"/>
                <a:gd name="T81" fmla="*/ 2147483647 h 574"/>
                <a:gd name="T82" fmla="*/ 2147483647 w 678"/>
                <a:gd name="T83" fmla="*/ 2147483647 h 574"/>
                <a:gd name="T84" fmla="*/ 2147483647 w 678"/>
                <a:gd name="T85" fmla="*/ 2147483647 h 574"/>
                <a:gd name="T86" fmla="*/ 2147483647 w 678"/>
                <a:gd name="T87" fmla="*/ 2147483647 h 574"/>
                <a:gd name="T88" fmla="*/ 2147483647 w 678"/>
                <a:gd name="T89" fmla="*/ 2147483647 h 574"/>
                <a:gd name="T90" fmla="*/ 2147483647 w 678"/>
                <a:gd name="T91" fmla="*/ 2147483647 h 574"/>
                <a:gd name="T92" fmla="*/ 2147483647 w 678"/>
                <a:gd name="T93" fmla="*/ 2147483647 h 574"/>
                <a:gd name="T94" fmla="*/ 2147483647 w 678"/>
                <a:gd name="T95" fmla="*/ 2147483647 h 574"/>
                <a:gd name="T96" fmla="*/ 2147483647 w 678"/>
                <a:gd name="T97" fmla="*/ 2147483647 h 574"/>
                <a:gd name="T98" fmla="*/ 2147483647 w 678"/>
                <a:gd name="T99" fmla="*/ 2147483647 h 574"/>
                <a:gd name="T100" fmla="*/ 2147483647 w 678"/>
                <a:gd name="T101" fmla="*/ 2147483647 h 574"/>
                <a:gd name="T102" fmla="*/ 2147483647 w 678"/>
                <a:gd name="T103" fmla="*/ 2147483647 h 574"/>
                <a:gd name="T104" fmla="*/ 2147483647 w 678"/>
                <a:gd name="T105" fmla="*/ 2147483647 h 574"/>
                <a:gd name="T106" fmla="*/ 2147483647 w 678"/>
                <a:gd name="T107" fmla="*/ 2147483647 h 574"/>
                <a:gd name="T108" fmla="*/ 2147483647 w 678"/>
                <a:gd name="T109" fmla="*/ 2147483647 h 574"/>
                <a:gd name="T110" fmla="*/ 2147483647 w 678"/>
                <a:gd name="T111" fmla="*/ 2147483647 h 574"/>
                <a:gd name="T112" fmla="*/ 2147483647 w 678"/>
                <a:gd name="T113" fmla="*/ 2147483647 h 574"/>
                <a:gd name="T114" fmla="*/ 2147483647 w 678"/>
                <a:gd name="T115" fmla="*/ 2147483647 h 574"/>
                <a:gd name="T116" fmla="*/ 2147483647 w 678"/>
                <a:gd name="T117" fmla="*/ 2147483647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78"/>
                <a:gd name="T178" fmla="*/ 0 h 574"/>
                <a:gd name="T179" fmla="*/ 678 w 678"/>
                <a:gd name="T180" fmla="*/ 574 h 57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000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8" name="Freeform 478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5528444" y="4092792"/>
              <a:ext cx="319660" cy="347557"/>
            </a:xfrm>
            <a:custGeom>
              <a:avLst/>
              <a:gdLst>
                <a:gd name="T0" fmla="*/ 2147483647 w 810"/>
                <a:gd name="T1" fmla="*/ 2147483647 h 727"/>
                <a:gd name="T2" fmla="*/ 2147483647 w 810"/>
                <a:gd name="T3" fmla="*/ 2147483647 h 727"/>
                <a:gd name="T4" fmla="*/ 2147483647 w 810"/>
                <a:gd name="T5" fmla="*/ 2147483647 h 727"/>
                <a:gd name="T6" fmla="*/ 2147483647 w 810"/>
                <a:gd name="T7" fmla="*/ 2147483647 h 727"/>
                <a:gd name="T8" fmla="*/ 2147483647 w 810"/>
                <a:gd name="T9" fmla="*/ 2147483647 h 727"/>
                <a:gd name="T10" fmla="*/ 2147483647 w 810"/>
                <a:gd name="T11" fmla="*/ 2147483647 h 727"/>
                <a:gd name="T12" fmla="*/ 2147483647 w 810"/>
                <a:gd name="T13" fmla="*/ 2147483647 h 727"/>
                <a:gd name="T14" fmla="*/ 2147483647 w 810"/>
                <a:gd name="T15" fmla="*/ 2147483647 h 727"/>
                <a:gd name="T16" fmla="*/ 2147483647 w 810"/>
                <a:gd name="T17" fmla="*/ 0 h 727"/>
                <a:gd name="T18" fmla="*/ 2147483647 w 810"/>
                <a:gd name="T19" fmla="*/ 2147483647 h 727"/>
                <a:gd name="T20" fmla="*/ 2147483647 w 810"/>
                <a:gd name="T21" fmla="*/ 2147483647 h 727"/>
                <a:gd name="T22" fmla="*/ 0 w 810"/>
                <a:gd name="T23" fmla="*/ 2147483647 h 727"/>
                <a:gd name="T24" fmla="*/ 2147483647 w 810"/>
                <a:gd name="T25" fmla="*/ 2147483647 h 727"/>
                <a:gd name="T26" fmla="*/ 2147483647 w 810"/>
                <a:gd name="T27" fmla="*/ 2147483647 h 727"/>
                <a:gd name="T28" fmla="*/ 2147483647 w 810"/>
                <a:gd name="T29" fmla="*/ 2147483647 h 727"/>
                <a:gd name="T30" fmla="*/ 2147483647 w 810"/>
                <a:gd name="T31" fmla="*/ 2147483647 h 727"/>
                <a:gd name="T32" fmla="*/ 2147483647 w 810"/>
                <a:gd name="T33" fmla="*/ 2147483647 h 727"/>
                <a:gd name="T34" fmla="*/ 2147483647 w 810"/>
                <a:gd name="T35" fmla="*/ 2147483647 h 727"/>
                <a:gd name="T36" fmla="*/ 2147483647 w 810"/>
                <a:gd name="T37" fmla="*/ 2147483647 h 727"/>
                <a:gd name="T38" fmla="*/ 2147483647 w 810"/>
                <a:gd name="T39" fmla="*/ 2147483647 h 727"/>
                <a:gd name="T40" fmla="*/ 2147483647 w 810"/>
                <a:gd name="T41" fmla="*/ 2147483647 h 727"/>
                <a:gd name="T42" fmla="*/ 2147483647 w 810"/>
                <a:gd name="T43" fmla="*/ 2147483647 h 727"/>
                <a:gd name="T44" fmla="*/ 2147483647 w 810"/>
                <a:gd name="T45" fmla="*/ 2147483647 h 727"/>
                <a:gd name="T46" fmla="*/ 2147483647 w 810"/>
                <a:gd name="T47" fmla="*/ 2147483647 h 727"/>
                <a:gd name="T48" fmla="*/ 2147483647 w 810"/>
                <a:gd name="T49" fmla="*/ 2147483647 h 727"/>
                <a:gd name="T50" fmla="*/ 2147483647 w 810"/>
                <a:gd name="T51" fmla="*/ 2147483647 h 727"/>
                <a:gd name="T52" fmla="*/ 2147483647 w 810"/>
                <a:gd name="T53" fmla="*/ 2147483647 h 727"/>
                <a:gd name="T54" fmla="*/ 2147483647 w 810"/>
                <a:gd name="T55" fmla="*/ 2147483647 h 727"/>
                <a:gd name="T56" fmla="*/ 2147483647 w 810"/>
                <a:gd name="T57" fmla="*/ 2147483647 h 727"/>
                <a:gd name="T58" fmla="*/ 2147483647 w 810"/>
                <a:gd name="T59" fmla="*/ 2147483647 h 727"/>
                <a:gd name="T60" fmla="*/ 2147483647 w 810"/>
                <a:gd name="T61" fmla="*/ 2147483647 h 727"/>
                <a:gd name="T62" fmla="*/ 2147483647 w 810"/>
                <a:gd name="T63" fmla="*/ 2147483647 h 727"/>
                <a:gd name="T64" fmla="*/ 2147483647 w 810"/>
                <a:gd name="T65" fmla="*/ 2147483647 h 727"/>
                <a:gd name="T66" fmla="*/ 2147483647 w 810"/>
                <a:gd name="T67" fmla="*/ 2147483647 h 727"/>
                <a:gd name="T68" fmla="*/ 2147483647 w 810"/>
                <a:gd name="T69" fmla="*/ 2147483647 h 727"/>
                <a:gd name="T70" fmla="*/ 2147483647 w 810"/>
                <a:gd name="T71" fmla="*/ 2147483647 h 727"/>
                <a:gd name="T72" fmla="*/ 2147483647 w 810"/>
                <a:gd name="T73" fmla="*/ 2147483647 h 727"/>
                <a:gd name="T74" fmla="*/ 2147483647 w 810"/>
                <a:gd name="T75" fmla="*/ 2147483647 h 727"/>
                <a:gd name="T76" fmla="*/ 2147483647 w 810"/>
                <a:gd name="T77" fmla="*/ 2147483647 h 727"/>
                <a:gd name="T78" fmla="*/ 2147483647 w 810"/>
                <a:gd name="T79" fmla="*/ 2147483647 h 727"/>
                <a:gd name="T80" fmla="*/ 2147483647 w 810"/>
                <a:gd name="T81" fmla="*/ 2147483647 h 727"/>
                <a:gd name="T82" fmla="*/ 2147483647 w 810"/>
                <a:gd name="T83" fmla="*/ 2147483647 h 727"/>
                <a:gd name="T84" fmla="*/ 2147483647 w 810"/>
                <a:gd name="T85" fmla="*/ 2147483647 h 727"/>
                <a:gd name="T86" fmla="*/ 2147483647 w 810"/>
                <a:gd name="T87" fmla="*/ 2147483647 h 727"/>
                <a:gd name="T88" fmla="*/ 2147483647 w 810"/>
                <a:gd name="T89" fmla="*/ 2147483647 h 727"/>
                <a:gd name="T90" fmla="*/ 2147483647 w 810"/>
                <a:gd name="T91" fmla="*/ 2147483647 h 727"/>
                <a:gd name="T92" fmla="*/ 2147483647 w 810"/>
                <a:gd name="T93" fmla="*/ 2147483647 h 727"/>
                <a:gd name="T94" fmla="*/ 2147483647 w 810"/>
                <a:gd name="T95" fmla="*/ 2147483647 h 727"/>
                <a:gd name="T96" fmla="*/ 2147483647 w 810"/>
                <a:gd name="T97" fmla="*/ 2147483647 h 727"/>
                <a:gd name="T98" fmla="*/ 2147483647 w 810"/>
                <a:gd name="T99" fmla="*/ 2147483647 h 727"/>
                <a:gd name="T100" fmla="*/ 2147483647 w 810"/>
                <a:gd name="T101" fmla="*/ 2147483647 h 727"/>
                <a:gd name="T102" fmla="*/ 2147483647 w 810"/>
                <a:gd name="T103" fmla="*/ 2147483647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810"/>
                <a:gd name="T157" fmla="*/ 0 h 727"/>
                <a:gd name="T158" fmla="*/ 810 w 810"/>
                <a:gd name="T159" fmla="*/ 727 h 72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0" name="Freeform 480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5940675" y="3629383"/>
              <a:ext cx="245893" cy="305561"/>
            </a:xfrm>
            <a:custGeom>
              <a:avLst/>
              <a:gdLst>
                <a:gd name="T0" fmla="*/ 2147483647 w 624"/>
                <a:gd name="T1" fmla="*/ 2147483647 h 640"/>
                <a:gd name="T2" fmla="*/ 2147483647 w 624"/>
                <a:gd name="T3" fmla="*/ 2147483647 h 640"/>
                <a:gd name="T4" fmla="*/ 2147483647 w 624"/>
                <a:gd name="T5" fmla="*/ 2147483647 h 640"/>
                <a:gd name="T6" fmla="*/ 2147483647 w 624"/>
                <a:gd name="T7" fmla="*/ 2147483647 h 640"/>
                <a:gd name="T8" fmla="*/ 2147483647 w 624"/>
                <a:gd name="T9" fmla="*/ 2147483647 h 640"/>
                <a:gd name="T10" fmla="*/ 2147483647 w 624"/>
                <a:gd name="T11" fmla="*/ 2147483647 h 640"/>
                <a:gd name="T12" fmla="*/ 2147483647 w 624"/>
                <a:gd name="T13" fmla="*/ 2147483647 h 640"/>
                <a:gd name="T14" fmla="*/ 2147483647 w 624"/>
                <a:gd name="T15" fmla="*/ 2147483647 h 640"/>
                <a:gd name="T16" fmla="*/ 2147483647 w 624"/>
                <a:gd name="T17" fmla="*/ 2147483647 h 640"/>
                <a:gd name="T18" fmla="*/ 2147483647 w 624"/>
                <a:gd name="T19" fmla="*/ 2147483647 h 640"/>
                <a:gd name="T20" fmla="*/ 2147483647 w 624"/>
                <a:gd name="T21" fmla="*/ 2147483647 h 640"/>
                <a:gd name="T22" fmla="*/ 2147483647 w 624"/>
                <a:gd name="T23" fmla="*/ 2147483647 h 640"/>
                <a:gd name="T24" fmla="*/ 2147483647 w 624"/>
                <a:gd name="T25" fmla="*/ 2147483647 h 640"/>
                <a:gd name="T26" fmla="*/ 2147483647 w 624"/>
                <a:gd name="T27" fmla="*/ 2147483647 h 640"/>
                <a:gd name="T28" fmla="*/ 2147483647 w 624"/>
                <a:gd name="T29" fmla="*/ 2147483647 h 640"/>
                <a:gd name="T30" fmla="*/ 2147483647 w 624"/>
                <a:gd name="T31" fmla="*/ 2147483647 h 640"/>
                <a:gd name="T32" fmla="*/ 2147483647 w 624"/>
                <a:gd name="T33" fmla="*/ 2147483647 h 640"/>
                <a:gd name="T34" fmla="*/ 2147483647 w 624"/>
                <a:gd name="T35" fmla="*/ 2147483647 h 640"/>
                <a:gd name="T36" fmla="*/ 2147483647 w 624"/>
                <a:gd name="T37" fmla="*/ 2147483647 h 640"/>
                <a:gd name="T38" fmla="*/ 2147483647 w 624"/>
                <a:gd name="T39" fmla="*/ 2147483647 h 640"/>
                <a:gd name="T40" fmla="*/ 2147483647 w 624"/>
                <a:gd name="T41" fmla="*/ 2147483647 h 640"/>
                <a:gd name="T42" fmla="*/ 2147483647 w 624"/>
                <a:gd name="T43" fmla="*/ 2147483647 h 640"/>
                <a:gd name="T44" fmla="*/ 2147483647 w 624"/>
                <a:gd name="T45" fmla="*/ 2147483647 h 640"/>
                <a:gd name="T46" fmla="*/ 2147483647 w 624"/>
                <a:gd name="T47" fmla="*/ 2147483647 h 640"/>
                <a:gd name="T48" fmla="*/ 2147483647 w 624"/>
                <a:gd name="T49" fmla="*/ 2147483647 h 640"/>
                <a:gd name="T50" fmla="*/ 2147483647 w 624"/>
                <a:gd name="T51" fmla="*/ 2147483647 h 640"/>
                <a:gd name="T52" fmla="*/ 2147483647 w 624"/>
                <a:gd name="T53" fmla="*/ 2147483647 h 640"/>
                <a:gd name="T54" fmla="*/ 2147483647 w 624"/>
                <a:gd name="T55" fmla="*/ 2147483647 h 640"/>
                <a:gd name="T56" fmla="*/ 2147483647 w 624"/>
                <a:gd name="T57" fmla="*/ 2147483647 h 640"/>
                <a:gd name="T58" fmla="*/ 2147483647 w 624"/>
                <a:gd name="T59" fmla="*/ 2147483647 h 640"/>
                <a:gd name="T60" fmla="*/ 2147483647 w 624"/>
                <a:gd name="T61" fmla="*/ 2147483647 h 640"/>
                <a:gd name="T62" fmla="*/ 2147483647 w 624"/>
                <a:gd name="T63" fmla="*/ 2147483647 h 640"/>
                <a:gd name="T64" fmla="*/ 2147483647 w 624"/>
                <a:gd name="T65" fmla="*/ 2147483647 h 640"/>
                <a:gd name="T66" fmla="*/ 2147483647 w 624"/>
                <a:gd name="T67" fmla="*/ 2147483647 h 640"/>
                <a:gd name="T68" fmla="*/ 2147483647 w 624"/>
                <a:gd name="T69" fmla="*/ 2147483647 h 640"/>
                <a:gd name="T70" fmla="*/ 2147483647 w 624"/>
                <a:gd name="T71" fmla="*/ 2147483647 h 640"/>
                <a:gd name="T72" fmla="*/ 2147483647 w 624"/>
                <a:gd name="T73" fmla="*/ 2147483647 h 640"/>
                <a:gd name="T74" fmla="*/ 2147483647 w 624"/>
                <a:gd name="T75" fmla="*/ 2147483647 h 640"/>
                <a:gd name="T76" fmla="*/ 2147483647 w 624"/>
                <a:gd name="T77" fmla="*/ 2147483647 h 640"/>
                <a:gd name="T78" fmla="*/ 2147483647 w 624"/>
                <a:gd name="T79" fmla="*/ 2147483647 h 640"/>
                <a:gd name="T80" fmla="*/ 2147483647 w 624"/>
                <a:gd name="T81" fmla="*/ 2147483647 h 640"/>
                <a:gd name="T82" fmla="*/ 2147483647 w 624"/>
                <a:gd name="T83" fmla="*/ 2147483647 h 640"/>
                <a:gd name="T84" fmla="*/ 2147483647 w 624"/>
                <a:gd name="T85" fmla="*/ 2147483647 h 640"/>
                <a:gd name="T86" fmla="*/ 2147483647 w 624"/>
                <a:gd name="T87" fmla="*/ 2147483647 h 640"/>
                <a:gd name="T88" fmla="*/ 2147483647 w 624"/>
                <a:gd name="T89" fmla="*/ 2147483647 h 640"/>
                <a:gd name="T90" fmla="*/ 0 w 624"/>
                <a:gd name="T91" fmla="*/ 2147483647 h 640"/>
                <a:gd name="T92" fmla="*/ 0 w 624"/>
                <a:gd name="T93" fmla="*/ 2147483647 h 640"/>
                <a:gd name="T94" fmla="*/ 2147483647 w 624"/>
                <a:gd name="T95" fmla="*/ 2147483647 h 640"/>
                <a:gd name="T96" fmla="*/ 2147483647 w 624"/>
                <a:gd name="T97" fmla="*/ 2147483647 h 640"/>
                <a:gd name="T98" fmla="*/ 2147483647 w 624"/>
                <a:gd name="T99" fmla="*/ 2147483647 h 640"/>
                <a:gd name="T100" fmla="*/ 2147483647 w 624"/>
                <a:gd name="T101" fmla="*/ 2147483647 h 640"/>
                <a:gd name="T102" fmla="*/ 2147483647 w 624"/>
                <a:gd name="T103" fmla="*/ 2147483647 h 640"/>
                <a:gd name="T104" fmla="*/ 2147483647 w 624"/>
                <a:gd name="T105" fmla="*/ 214748364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624"/>
                <a:gd name="T160" fmla="*/ 0 h 640"/>
                <a:gd name="T161" fmla="*/ 624 w 624"/>
                <a:gd name="T162" fmla="*/ 640 h 6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7030A0"/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1" name="Freeform 481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8276658" y="2273911"/>
              <a:ext cx="17357" cy="52134"/>
            </a:xfrm>
            <a:custGeom>
              <a:avLst/>
              <a:gdLst>
                <a:gd name="T0" fmla="*/ 2147483647 w 52"/>
                <a:gd name="T1" fmla="*/ 2147483647 h 50"/>
                <a:gd name="T2" fmla="*/ 0 w 52"/>
                <a:gd name="T3" fmla="*/ 2147483647 h 50"/>
                <a:gd name="T4" fmla="*/ 2147483647 w 52"/>
                <a:gd name="T5" fmla="*/ 2147483647 h 50"/>
                <a:gd name="T6" fmla="*/ 2147483647 w 52"/>
                <a:gd name="T7" fmla="*/ 2147483647 h 50"/>
                <a:gd name="T8" fmla="*/ 2147483647 w 52"/>
                <a:gd name="T9" fmla="*/ 2147483647 h 50"/>
                <a:gd name="T10" fmla="*/ 2147483647 w 52"/>
                <a:gd name="T11" fmla="*/ 2147483647 h 50"/>
                <a:gd name="T12" fmla="*/ 2147483647 w 52"/>
                <a:gd name="T13" fmla="*/ 2147483647 h 50"/>
                <a:gd name="T14" fmla="*/ 2147483647 w 52"/>
                <a:gd name="T15" fmla="*/ 2147483647 h 50"/>
                <a:gd name="T16" fmla="*/ 2147483647 w 52"/>
                <a:gd name="T17" fmla="*/ 2147483647 h 50"/>
                <a:gd name="T18" fmla="*/ 2147483647 w 52"/>
                <a:gd name="T19" fmla="*/ 0 h 50"/>
                <a:gd name="T20" fmla="*/ 2147483647 w 52"/>
                <a:gd name="T21" fmla="*/ 2147483647 h 50"/>
                <a:gd name="T22" fmla="*/ 2147483647 w 52"/>
                <a:gd name="T23" fmla="*/ 2147483647 h 50"/>
                <a:gd name="T24" fmla="*/ 2147483647 w 52"/>
                <a:gd name="T25" fmla="*/ 2147483647 h 50"/>
                <a:gd name="T26" fmla="*/ 2147483647 w 52"/>
                <a:gd name="T27" fmla="*/ 2147483647 h 50"/>
                <a:gd name="T28" fmla="*/ 2147483647 w 52"/>
                <a:gd name="T29" fmla="*/ 2147483647 h 50"/>
                <a:gd name="T30" fmla="*/ 2147483647 w 52"/>
                <a:gd name="T31" fmla="*/ 2147483647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2"/>
                <a:gd name="T49" fmla="*/ 0 h 50"/>
                <a:gd name="T50" fmla="*/ 52 w 52"/>
                <a:gd name="T51" fmla="*/ 50 h 5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2" name="Freeform 482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8147925" y="2275359"/>
              <a:ext cx="128733" cy="114404"/>
            </a:xfrm>
            <a:custGeom>
              <a:avLst/>
              <a:gdLst>
                <a:gd name="T0" fmla="*/ 2147483647 w 320"/>
                <a:gd name="T1" fmla="*/ 2147483647 h 234"/>
                <a:gd name="T2" fmla="*/ 2147483647 w 320"/>
                <a:gd name="T3" fmla="*/ 2147483647 h 234"/>
                <a:gd name="T4" fmla="*/ 2147483647 w 320"/>
                <a:gd name="T5" fmla="*/ 2147483647 h 234"/>
                <a:gd name="T6" fmla="*/ 2147483647 w 320"/>
                <a:gd name="T7" fmla="*/ 2147483647 h 234"/>
                <a:gd name="T8" fmla="*/ 2147483647 w 320"/>
                <a:gd name="T9" fmla="*/ 2147483647 h 234"/>
                <a:gd name="T10" fmla="*/ 2147483647 w 320"/>
                <a:gd name="T11" fmla="*/ 2147483647 h 234"/>
                <a:gd name="T12" fmla="*/ 2147483647 w 320"/>
                <a:gd name="T13" fmla="*/ 2147483647 h 234"/>
                <a:gd name="T14" fmla="*/ 2147483647 w 320"/>
                <a:gd name="T15" fmla="*/ 2147483647 h 234"/>
                <a:gd name="T16" fmla="*/ 2147483647 w 320"/>
                <a:gd name="T17" fmla="*/ 2147483647 h 234"/>
                <a:gd name="T18" fmla="*/ 2147483647 w 320"/>
                <a:gd name="T19" fmla="*/ 2147483647 h 234"/>
                <a:gd name="T20" fmla="*/ 2147483647 w 320"/>
                <a:gd name="T21" fmla="*/ 2147483647 h 234"/>
                <a:gd name="T22" fmla="*/ 2147483647 w 320"/>
                <a:gd name="T23" fmla="*/ 2147483647 h 234"/>
                <a:gd name="T24" fmla="*/ 2147483647 w 320"/>
                <a:gd name="T25" fmla="*/ 2147483647 h 234"/>
                <a:gd name="T26" fmla="*/ 2147483647 w 320"/>
                <a:gd name="T27" fmla="*/ 2147483647 h 234"/>
                <a:gd name="T28" fmla="*/ 2147483647 w 320"/>
                <a:gd name="T29" fmla="*/ 2147483647 h 234"/>
                <a:gd name="T30" fmla="*/ 2147483647 w 320"/>
                <a:gd name="T31" fmla="*/ 2147483647 h 234"/>
                <a:gd name="T32" fmla="*/ 2147483647 w 320"/>
                <a:gd name="T33" fmla="*/ 2147483647 h 234"/>
                <a:gd name="T34" fmla="*/ 2147483647 w 320"/>
                <a:gd name="T35" fmla="*/ 2147483647 h 234"/>
                <a:gd name="T36" fmla="*/ 2147483647 w 320"/>
                <a:gd name="T37" fmla="*/ 2147483647 h 234"/>
                <a:gd name="T38" fmla="*/ 2147483647 w 320"/>
                <a:gd name="T39" fmla="*/ 2147483647 h 234"/>
                <a:gd name="T40" fmla="*/ 2147483647 w 320"/>
                <a:gd name="T41" fmla="*/ 2147483647 h 234"/>
                <a:gd name="T42" fmla="*/ 2147483647 w 320"/>
                <a:gd name="T43" fmla="*/ 2147483647 h 234"/>
                <a:gd name="T44" fmla="*/ 2147483647 w 320"/>
                <a:gd name="T45" fmla="*/ 0 h 234"/>
                <a:gd name="T46" fmla="*/ 2147483647 w 320"/>
                <a:gd name="T47" fmla="*/ 0 h 234"/>
                <a:gd name="T48" fmla="*/ 2147483647 w 320"/>
                <a:gd name="T49" fmla="*/ 2147483647 h 234"/>
                <a:gd name="T50" fmla="*/ 2147483647 w 320"/>
                <a:gd name="T51" fmla="*/ 2147483647 h 234"/>
                <a:gd name="T52" fmla="*/ 2147483647 w 320"/>
                <a:gd name="T53" fmla="*/ 2147483647 h 234"/>
                <a:gd name="T54" fmla="*/ 2147483647 w 320"/>
                <a:gd name="T55" fmla="*/ 2147483647 h 234"/>
                <a:gd name="T56" fmla="*/ 2147483647 w 320"/>
                <a:gd name="T57" fmla="*/ 2147483647 h 234"/>
                <a:gd name="T58" fmla="*/ 2147483647 w 320"/>
                <a:gd name="T59" fmla="*/ 2147483647 h 234"/>
                <a:gd name="T60" fmla="*/ 2147483647 w 320"/>
                <a:gd name="T61" fmla="*/ 2147483647 h 234"/>
                <a:gd name="T62" fmla="*/ 2147483647 w 320"/>
                <a:gd name="T63" fmla="*/ 2147483647 h 234"/>
                <a:gd name="T64" fmla="*/ 2147483647 w 320"/>
                <a:gd name="T65" fmla="*/ 2147483647 h 234"/>
                <a:gd name="T66" fmla="*/ 2147483647 w 320"/>
                <a:gd name="T67" fmla="*/ 2147483647 h 234"/>
                <a:gd name="T68" fmla="*/ 2147483647 w 320"/>
                <a:gd name="T69" fmla="*/ 2147483647 h 234"/>
                <a:gd name="T70" fmla="*/ 2147483647 w 320"/>
                <a:gd name="T71" fmla="*/ 2147483647 h 234"/>
                <a:gd name="T72" fmla="*/ 2147483647 w 320"/>
                <a:gd name="T73" fmla="*/ 2147483647 h 234"/>
                <a:gd name="T74" fmla="*/ 2147483647 w 320"/>
                <a:gd name="T75" fmla="*/ 2147483647 h 234"/>
                <a:gd name="T76" fmla="*/ 2147483647 w 320"/>
                <a:gd name="T77" fmla="*/ 2147483647 h 234"/>
                <a:gd name="T78" fmla="*/ 2147483647 w 320"/>
                <a:gd name="T79" fmla="*/ 2147483647 h 234"/>
                <a:gd name="T80" fmla="*/ 2147483647 w 320"/>
                <a:gd name="T81" fmla="*/ 2147483647 h 234"/>
                <a:gd name="T82" fmla="*/ 2147483647 w 320"/>
                <a:gd name="T83" fmla="*/ 2147483647 h 234"/>
                <a:gd name="T84" fmla="*/ 2147483647 w 320"/>
                <a:gd name="T85" fmla="*/ 2147483647 h 234"/>
                <a:gd name="T86" fmla="*/ 2147483647 w 320"/>
                <a:gd name="T87" fmla="*/ 2147483647 h 234"/>
                <a:gd name="T88" fmla="*/ 2147483647 w 320"/>
                <a:gd name="T89" fmla="*/ 2147483647 h 234"/>
                <a:gd name="T90" fmla="*/ 2147483647 w 320"/>
                <a:gd name="T91" fmla="*/ 2147483647 h 234"/>
                <a:gd name="T92" fmla="*/ 2147483647 w 320"/>
                <a:gd name="T93" fmla="*/ 2147483647 h 234"/>
                <a:gd name="T94" fmla="*/ 2147483647 w 320"/>
                <a:gd name="T95" fmla="*/ 2147483647 h 234"/>
                <a:gd name="T96" fmla="*/ 2147483647 w 320"/>
                <a:gd name="T97" fmla="*/ 2147483647 h 234"/>
                <a:gd name="T98" fmla="*/ 2147483647 w 320"/>
                <a:gd name="T99" fmla="*/ 2147483647 h 234"/>
                <a:gd name="T100" fmla="*/ 2147483647 w 320"/>
                <a:gd name="T101" fmla="*/ 2147483647 h 234"/>
                <a:gd name="T102" fmla="*/ 2147483647 w 320"/>
                <a:gd name="T103" fmla="*/ 2147483647 h 234"/>
                <a:gd name="T104" fmla="*/ 2147483647 w 320"/>
                <a:gd name="T105" fmla="*/ 2147483647 h 234"/>
                <a:gd name="T106" fmla="*/ 2147483647 w 320"/>
                <a:gd name="T107" fmla="*/ 2147483647 h 234"/>
                <a:gd name="T108" fmla="*/ 2147483647 w 320"/>
                <a:gd name="T109" fmla="*/ 2147483647 h 234"/>
                <a:gd name="T110" fmla="*/ 2147483647 w 320"/>
                <a:gd name="T111" fmla="*/ 2147483647 h 234"/>
                <a:gd name="T112" fmla="*/ 2147483647 w 320"/>
                <a:gd name="T113" fmla="*/ 2147483647 h 234"/>
                <a:gd name="T114" fmla="*/ 2147483647 w 320"/>
                <a:gd name="T115" fmla="*/ 2147483647 h 234"/>
                <a:gd name="T116" fmla="*/ 2147483647 w 320"/>
                <a:gd name="T117" fmla="*/ 2147483647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20"/>
                <a:gd name="T178" fmla="*/ 0 h 234"/>
                <a:gd name="T179" fmla="*/ 320 w 320"/>
                <a:gd name="T180" fmla="*/ 234 h 234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3" name="Freeform 483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8120444" y="2598297"/>
              <a:ext cx="47732" cy="52134"/>
            </a:xfrm>
            <a:custGeom>
              <a:avLst/>
              <a:gdLst>
                <a:gd name="T0" fmla="*/ 2147483647 w 125"/>
                <a:gd name="T1" fmla="*/ 2147483647 h 93"/>
                <a:gd name="T2" fmla="*/ 2147483647 w 125"/>
                <a:gd name="T3" fmla="*/ 2147483647 h 93"/>
                <a:gd name="T4" fmla="*/ 2147483647 w 125"/>
                <a:gd name="T5" fmla="*/ 2147483647 h 93"/>
                <a:gd name="T6" fmla="*/ 2147483647 w 125"/>
                <a:gd name="T7" fmla="*/ 2147483647 h 93"/>
                <a:gd name="T8" fmla="*/ 2147483647 w 125"/>
                <a:gd name="T9" fmla="*/ 2147483647 h 93"/>
                <a:gd name="T10" fmla="*/ 2147483647 w 125"/>
                <a:gd name="T11" fmla="*/ 2147483647 h 93"/>
                <a:gd name="T12" fmla="*/ 2147483647 w 125"/>
                <a:gd name="T13" fmla="*/ 2147483647 h 93"/>
                <a:gd name="T14" fmla="*/ 2147483647 w 125"/>
                <a:gd name="T15" fmla="*/ 2147483647 h 93"/>
                <a:gd name="T16" fmla="*/ 2147483647 w 125"/>
                <a:gd name="T17" fmla="*/ 2147483647 h 93"/>
                <a:gd name="T18" fmla="*/ 2147483647 w 125"/>
                <a:gd name="T19" fmla="*/ 2147483647 h 93"/>
                <a:gd name="T20" fmla="*/ 2147483647 w 125"/>
                <a:gd name="T21" fmla="*/ 0 h 93"/>
                <a:gd name="T22" fmla="*/ 2147483647 w 125"/>
                <a:gd name="T23" fmla="*/ 0 h 93"/>
                <a:gd name="T24" fmla="*/ 2147483647 w 125"/>
                <a:gd name="T25" fmla="*/ 2147483647 h 93"/>
                <a:gd name="T26" fmla="*/ 2147483647 w 125"/>
                <a:gd name="T27" fmla="*/ 2147483647 h 93"/>
                <a:gd name="T28" fmla="*/ 2147483647 w 125"/>
                <a:gd name="T29" fmla="*/ 2147483647 h 93"/>
                <a:gd name="T30" fmla="*/ 2147483647 w 125"/>
                <a:gd name="T31" fmla="*/ 2147483647 h 93"/>
                <a:gd name="T32" fmla="*/ 2147483647 w 125"/>
                <a:gd name="T33" fmla="*/ 2147483647 h 93"/>
                <a:gd name="T34" fmla="*/ 2147483647 w 125"/>
                <a:gd name="T35" fmla="*/ 2147483647 h 93"/>
                <a:gd name="T36" fmla="*/ 2147483647 w 125"/>
                <a:gd name="T37" fmla="*/ 2147483647 h 93"/>
                <a:gd name="T38" fmla="*/ 2147483647 w 125"/>
                <a:gd name="T39" fmla="*/ 2147483647 h 93"/>
                <a:gd name="T40" fmla="*/ 2147483647 w 125"/>
                <a:gd name="T41" fmla="*/ 2147483647 h 93"/>
                <a:gd name="T42" fmla="*/ 2147483647 w 125"/>
                <a:gd name="T43" fmla="*/ 2147483647 h 93"/>
                <a:gd name="T44" fmla="*/ 2147483647 w 125"/>
                <a:gd name="T45" fmla="*/ 2147483647 h 93"/>
                <a:gd name="T46" fmla="*/ 2147483647 w 125"/>
                <a:gd name="T47" fmla="*/ 2147483647 h 93"/>
                <a:gd name="T48" fmla="*/ 2147483647 w 125"/>
                <a:gd name="T49" fmla="*/ 2147483647 h 93"/>
                <a:gd name="T50" fmla="*/ 2147483647 w 125"/>
                <a:gd name="T51" fmla="*/ 2147483647 h 93"/>
                <a:gd name="T52" fmla="*/ 2147483647 w 125"/>
                <a:gd name="T53" fmla="*/ 2147483647 h 93"/>
                <a:gd name="T54" fmla="*/ 2147483647 w 125"/>
                <a:gd name="T55" fmla="*/ 2147483647 h 93"/>
                <a:gd name="T56" fmla="*/ 2147483647 w 125"/>
                <a:gd name="T57" fmla="*/ 2147483647 h 93"/>
                <a:gd name="T58" fmla="*/ 2147483647 w 125"/>
                <a:gd name="T59" fmla="*/ 2147483647 h 93"/>
                <a:gd name="T60" fmla="*/ 2147483647 w 125"/>
                <a:gd name="T61" fmla="*/ 2147483647 h 93"/>
                <a:gd name="T62" fmla="*/ 2147483647 w 125"/>
                <a:gd name="T63" fmla="*/ 2147483647 h 93"/>
                <a:gd name="T64" fmla="*/ 2147483647 w 125"/>
                <a:gd name="T65" fmla="*/ 2147483647 h 93"/>
                <a:gd name="T66" fmla="*/ 2147483647 w 125"/>
                <a:gd name="T67" fmla="*/ 2147483647 h 93"/>
                <a:gd name="T68" fmla="*/ 0 w 125"/>
                <a:gd name="T69" fmla="*/ 2147483647 h 93"/>
                <a:gd name="T70" fmla="*/ 0 w 125"/>
                <a:gd name="T71" fmla="*/ 2147483647 h 93"/>
                <a:gd name="T72" fmla="*/ 2147483647 w 125"/>
                <a:gd name="T73" fmla="*/ 2147483647 h 93"/>
                <a:gd name="T74" fmla="*/ 2147483647 w 125"/>
                <a:gd name="T75" fmla="*/ 2147483647 h 93"/>
                <a:gd name="T76" fmla="*/ 2147483647 w 125"/>
                <a:gd name="T77" fmla="*/ 2147483647 h 93"/>
                <a:gd name="T78" fmla="*/ 2147483647 w 125"/>
                <a:gd name="T79" fmla="*/ 2147483647 h 93"/>
                <a:gd name="T80" fmla="*/ 2147483647 w 125"/>
                <a:gd name="T81" fmla="*/ 2147483647 h 93"/>
                <a:gd name="T82" fmla="*/ 2147483647 w 125"/>
                <a:gd name="T83" fmla="*/ 2147483647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25"/>
                <a:gd name="T127" fmla="*/ 0 h 93"/>
                <a:gd name="T128" fmla="*/ 125 w 125"/>
                <a:gd name="T129" fmla="*/ 93 h 93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4" name="Freeform 484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8071265" y="2611331"/>
              <a:ext cx="54964" cy="76752"/>
            </a:xfrm>
            <a:custGeom>
              <a:avLst/>
              <a:gdLst>
                <a:gd name="T0" fmla="*/ 2147483647 w 133"/>
                <a:gd name="T1" fmla="*/ 2147483647 h 154"/>
                <a:gd name="T2" fmla="*/ 2147483647 w 133"/>
                <a:gd name="T3" fmla="*/ 2147483647 h 154"/>
                <a:gd name="T4" fmla="*/ 2147483647 w 133"/>
                <a:gd name="T5" fmla="*/ 2147483647 h 154"/>
                <a:gd name="T6" fmla="*/ 2147483647 w 133"/>
                <a:gd name="T7" fmla="*/ 2147483647 h 154"/>
                <a:gd name="T8" fmla="*/ 2147483647 w 133"/>
                <a:gd name="T9" fmla="*/ 2147483647 h 154"/>
                <a:gd name="T10" fmla="*/ 2147483647 w 133"/>
                <a:gd name="T11" fmla="*/ 2147483647 h 154"/>
                <a:gd name="T12" fmla="*/ 2147483647 w 133"/>
                <a:gd name="T13" fmla="*/ 0 h 154"/>
                <a:gd name="T14" fmla="*/ 2147483647 w 133"/>
                <a:gd name="T15" fmla="*/ 2147483647 h 154"/>
                <a:gd name="T16" fmla="*/ 2147483647 w 133"/>
                <a:gd name="T17" fmla="*/ 2147483647 h 154"/>
                <a:gd name="T18" fmla="*/ 2147483647 w 133"/>
                <a:gd name="T19" fmla="*/ 2147483647 h 154"/>
                <a:gd name="T20" fmla="*/ 2147483647 w 133"/>
                <a:gd name="T21" fmla="*/ 2147483647 h 154"/>
                <a:gd name="T22" fmla="*/ 2147483647 w 133"/>
                <a:gd name="T23" fmla="*/ 2147483647 h 154"/>
                <a:gd name="T24" fmla="*/ 2147483647 w 133"/>
                <a:gd name="T25" fmla="*/ 2147483647 h 154"/>
                <a:gd name="T26" fmla="*/ 2147483647 w 133"/>
                <a:gd name="T27" fmla="*/ 2147483647 h 154"/>
                <a:gd name="T28" fmla="*/ 2147483647 w 133"/>
                <a:gd name="T29" fmla="*/ 2147483647 h 154"/>
                <a:gd name="T30" fmla="*/ 2147483647 w 133"/>
                <a:gd name="T31" fmla="*/ 2147483647 h 154"/>
                <a:gd name="T32" fmla="*/ 2147483647 w 133"/>
                <a:gd name="T33" fmla="*/ 2147483647 h 154"/>
                <a:gd name="T34" fmla="*/ 2147483647 w 133"/>
                <a:gd name="T35" fmla="*/ 2147483647 h 154"/>
                <a:gd name="T36" fmla="*/ 2147483647 w 133"/>
                <a:gd name="T37" fmla="*/ 2147483647 h 154"/>
                <a:gd name="T38" fmla="*/ 2147483647 w 133"/>
                <a:gd name="T39" fmla="*/ 2147483647 h 154"/>
                <a:gd name="T40" fmla="*/ 2147483647 w 133"/>
                <a:gd name="T41" fmla="*/ 2147483647 h 154"/>
                <a:gd name="T42" fmla="*/ 2147483647 w 133"/>
                <a:gd name="T43" fmla="*/ 2147483647 h 154"/>
                <a:gd name="T44" fmla="*/ 2147483647 w 133"/>
                <a:gd name="T45" fmla="*/ 2147483647 h 154"/>
                <a:gd name="T46" fmla="*/ 2147483647 w 133"/>
                <a:gd name="T47" fmla="*/ 2147483647 h 154"/>
                <a:gd name="T48" fmla="*/ 2147483647 w 133"/>
                <a:gd name="T49" fmla="*/ 2147483647 h 154"/>
                <a:gd name="T50" fmla="*/ 2147483647 w 133"/>
                <a:gd name="T51" fmla="*/ 2147483647 h 154"/>
                <a:gd name="T52" fmla="*/ 2147483647 w 133"/>
                <a:gd name="T53" fmla="*/ 2147483647 h 154"/>
                <a:gd name="T54" fmla="*/ 2147483647 w 133"/>
                <a:gd name="T55" fmla="*/ 2147483647 h 154"/>
                <a:gd name="T56" fmla="*/ 2147483647 w 133"/>
                <a:gd name="T57" fmla="*/ 2147483647 h 154"/>
                <a:gd name="T58" fmla="*/ 2147483647 w 133"/>
                <a:gd name="T59" fmla="*/ 2147483647 h 154"/>
                <a:gd name="T60" fmla="*/ 2147483647 w 133"/>
                <a:gd name="T61" fmla="*/ 2147483647 h 154"/>
                <a:gd name="T62" fmla="*/ 2147483647 w 133"/>
                <a:gd name="T63" fmla="*/ 2147483647 h 154"/>
                <a:gd name="T64" fmla="*/ 2147483647 w 133"/>
                <a:gd name="T65" fmla="*/ 2147483647 h 154"/>
                <a:gd name="T66" fmla="*/ 2147483647 w 133"/>
                <a:gd name="T67" fmla="*/ 2147483647 h 154"/>
                <a:gd name="T68" fmla="*/ 2147483647 w 133"/>
                <a:gd name="T69" fmla="*/ 2147483647 h 154"/>
                <a:gd name="T70" fmla="*/ 2147483647 w 133"/>
                <a:gd name="T71" fmla="*/ 2147483647 h 154"/>
                <a:gd name="T72" fmla="*/ 2147483647 w 133"/>
                <a:gd name="T73" fmla="*/ 2147483647 h 154"/>
                <a:gd name="T74" fmla="*/ 2147483647 w 133"/>
                <a:gd name="T75" fmla="*/ 2147483647 h 154"/>
                <a:gd name="T76" fmla="*/ 2147483647 w 133"/>
                <a:gd name="T77" fmla="*/ 2147483647 h 154"/>
                <a:gd name="T78" fmla="*/ 2147483647 w 133"/>
                <a:gd name="T79" fmla="*/ 2147483647 h 154"/>
                <a:gd name="T80" fmla="*/ 2147483647 w 133"/>
                <a:gd name="T81" fmla="*/ 2147483647 h 154"/>
                <a:gd name="T82" fmla="*/ 2147483647 w 133"/>
                <a:gd name="T83" fmla="*/ 2147483647 h 154"/>
                <a:gd name="T84" fmla="*/ 2147483647 w 133"/>
                <a:gd name="T85" fmla="*/ 2147483647 h 154"/>
                <a:gd name="T86" fmla="*/ 2147483647 w 133"/>
                <a:gd name="T87" fmla="*/ 2147483647 h 154"/>
                <a:gd name="T88" fmla="*/ 2147483647 w 133"/>
                <a:gd name="T89" fmla="*/ 2147483647 h 154"/>
                <a:gd name="T90" fmla="*/ 2147483647 w 133"/>
                <a:gd name="T91" fmla="*/ 2147483647 h 154"/>
                <a:gd name="T92" fmla="*/ 2147483647 w 133"/>
                <a:gd name="T93" fmla="*/ 2147483647 h 154"/>
                <a:gd name="T94" fmla="*/ 2147483647 w 133"/>
                <a:gd name="T95" fmla="*/ 2147483647 h 154"/>
                <a:gd name="T96" fmla="*/ 2147483647 w 133"/>
                <a:gd name="T97" fmla="*/ 2147483647 h 154"/>
                <a:gd name="T98" fmla="*/ 2147483647 w 133"/>
                <a:gd name="T99" fmla="*/ 2147483647 h 154"/>
                <a:gd name="T100" fmla="*/ 2147483647 w 133"/>
                <a:gd name="T101" fmla="*/ 2147483647 h 154"/>
                <a:gd name="T102" fmla="*/ 0 w 133"/>
                <a:gd name="T103" fmla="*/ 2147483647 h 154"/>
                <a:gd name="T104" fmla="*/ 0 w 133"/>
                <a:gd name="T105" fmla="*/ 2147483647 h 154"/>
                <a:gd name="T106" fmla="*/ 2147483647 w 133"/>
                <a:gd name="T107" fmla="*/ 2147483647 h 154"/>
                <a:gd name="T108" fmla="*/ 2147483647 w 133"/>
                <a:gd name="T109" fmla="*/ 2147483647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33"/>
                <a:gd name="T166" fmla="*/ 0 h 154"/>
                <a:gd name="T167" fmla="*/ 133 w 133"/>
                <a:gd name="T168" fmla="*/ 154 h 15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5" name="Freeform 485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8085729" y="2394108"/>
              <a:ext cx="190929" cy="223016"/>
            </a:xfrm>
            <a:custGeom>
              <a:avLst/>
              <a:gdLst>
                <a:gd name="T0" fmla="*/ 2147483647 w 485"/>
                <a:gd name="T1" fmla="*/ 2147483647 h 468"/>
                <a:gd name="T2" fmla="*/ 2147483647 w 485"/>
                <a:gd name="T3" fmla="*/ 2147483647 h 468"/>
                <a:gd name="T4" fmla="*/ 2147483647 w 485"/>
                <a:gd name="T5" fmla="*/ 2147483647 h 468"/>
                <a:gd name="T6" fmla="*/ 2147483647 w 485"/>
                <a:gd name="T7" fmla="*/ 2147483647 h 468"/>
                <a:gd name="T8" fmla="*/ 2147483647 w 485"/>
                <a:gd name="T9" fmla="*/ 2147483647 h 468"/>
                <a:gd name="T10" fmla="*/ 2147483647 w 485"/>
                <a:gd name="T11" fmla="*/ 2147483647 h 468"/>
                <a:gd name="T12" fmla="*/ 2147483647 w 485"/>
                <a:gd name="T13" fmla="*/ 2147483647 h 468"/>
                <a:gd name="T14" fmla="*/ 2147483647 w 485"/>
                <a:gd name="T15" fmla="*/ 2147483647 h 468"/>
                <a:gd name="T16" fmla="*/ 2147483647 w 485"/>
                <a:gd name="T17" fmla="*/ 2147483647 h 468"/>
                <a:gd name="T18" fmla="*/ 2147483647 w 485"/>
                <a:gd name="T19" fmla="*/ 2147483647 h 468"/>
                <a:gd name="T20" fmla="*/ 2147483647 w 485"/>
                <a:gd name="T21" fmla="*/ 2147483647 h 468"/>
                <a:gd name="T22" fmla="*/ 2147483647 w 485"/>
                <a:gd name="T23" fmla="*/ 2147483647 h 468"/>
                <a:gd name="T24" fmla="*/ 2147483647 w 485"/>
                <a:gd name="T25" fmla="*/ 2147483647 h 468"/>
                <a:gd name="T26" fmla="*/ 2147483647 w 485"/>
                <a:gd name="T27" fmla="*/ 2147483647 h 468"/>
                <a:gd name="T28" fmla="*/ 2147483647 w 485"/>
                <a:gd name="T29" fmla="*/ 2147483647 h 468"/>
                <a:gd name="T30" fmla="*/ 2147483647 w 485"/>
                <a:gd name="T31" fmla="*/ 2147483647 h 468"/>
                <a:gd name="T32" fmla="*/ 2147483647 w 485"/>
                <a:gd name="T33" fmla="*/ 2147483647 h 468"/>
                <a:gd name="T34" fmla="*/ 2147483647 w 485"/>
                <a:gd name="T35" fmla="*/ 2147483647 h 468"/>
                <a:gd name="T36" fmla="*/ 2147483647 w 485"/>
                <a:gd name="T37" fmla="*/ 2147483647 h 468"/>
                <a:gd name="T38" fmla="*/ 2147483647 w 485"/>
                <a:gd name="T39" fmla="*/ 2147483647 h 468"/>
                <a:gd name="T40" fmla="*/ 2147483647 w 485"/>
                <a:gd name="T41" fmla="*/ 2147483647 h 468"/>
                <a:gd name="T42" fmla="*/ 2147483647 w 485"/>
                <a:gd name="T43" fmla="*/ 2147483647 h 468"/>
                <a:gd name="T44" fmla="*/ 2147483647 w 485"/>
                <a:gd name="T45" fmla="*/ 2147483647 h 468"/>
                <a:gd name="T46" fmla="*/ 2147483647 w 485"/>
                <a:gd name="T47" fmla="*/ 2147483647 h 468"/>
                <a:gd name="T48" fmla="*/ 2147483647 w 485"/>
                <a:gd name="T49" fmla="*/ 2147483647 h 468"/>
                <a:gd name="T50" fmla="*/ 2147483647 w 485"/>
                <a:gd name="T51" fmla="*/ 2147483647 h 468"/>
                <a:gd name="T52" fmla="*/ 2147483647 w 485"/>
                <a:gd name="T53" fmla="*/ 2147483647 h 468"/>
                <a:gd name="T54" fmla="*/ 2147483647 w 485"/>
                <a:gd name="T55" fmla="*/ 2147483647 h 468"/>
                <a:gd name="T56" fmla="*/ 2147483647 w 485"/>
                <a:gd name="T57" fmla="*/ 2147483647 h 468"/>
                <a:gd name="T58" fmla="*/ 2147483647 w 485"/>
                <a:gd name="T59" fmla="*/ 2147483647 h 468"/>
                <a:gd name="T60" fmla="*/ 2147483647 w 485"/>
                <a:gd name="T61" fmla="*/ 2147483647 h 468"/>
                <a:gd name="T62" fmla="*/ 2147483647 w 485"/>
                <a:gd name="T63" fmla="*/ 2147483647 h 468"/>
                <a:gd name="T64" fmla="*/ 2147483647 w 485"/>
                <a:gd name="T65" fmla="*/ 2147483647 h 468"/>
                <a:gd name="T66" fmla="*/ 2147483647 w 485"/>
                <a:gd name="T67" fmla="*/ 2147483647 h 468"/>
                <a:gd name="T68" fmla="*/ 2147483647 w 485"/>
                <a:gd name="T69" fmla="*/ 2147483647 h 468"/>
                <a:gd name="T70" fmla="*/ 2147483647 w 485"/>
                <a:gd name="T71" fmla="*/ 2147483647 h 468"/>
                <a:gd name="T72" fmla="*/ 2147483647 w 485"/>
                <a:gd name="T73" fmla="*/ 2147483647 h 468"/>
                <a:gd name="T74" fmla="*/ 2147483647 w 485"/>
                <a:gd name="T75" fmla="*/ 2147483647 h 468"/>
                <a:gd name="T76" fmla="*/ 2147483647 w 485"/>
                <a:gd name="T77" fmla="*/ 2147483647 h 468"/>
                <a:gd name="T78" fmla="*/ 2147483647 w 485"/>
                <a:gd name="T79" fmla="*/ 2147483647 h 468"/>
                <a:gd name="T80" fmla="*/ 2147483647 w 485"/>
                <a:gd name="T81" fmla="*/ 2147483647 h 468"/>
                <a:gd name="T82" fmla="*/ 2147483647 w 485"/>
                <a:gd name="T83" fmla="*/ 2147483647 h 468"/>
                <a:gd name="T84" fmla="*/ 2147483647 w 485"/>
                <a:gd name="T85" fmla="*/ 2147483647 h 468"/>
                <a:gd name="T86" fmla="*/ 2147483647 w 485"/>
                <a:gd name="T87" fmla="*/ 2147483647 h 468"/>
                <a:gd name="T88" fmla="*/ 2147483647 w 485"/>
                <a:gd name="T89" fmla="*/ 2147483647 h 468"/>
                <a:gd name="T90" fmla="*/ 2147483647 w 485"/>
                <a:gd name="T91" fmla="*/ 2147483647 h 468"/>
                <a:gd name="T92" fmla="*/ 2147483647 w 485"/>
                <a:gd name="T93" fmla="*/ 2147483647 h 468"/>
                <a:gd name="T94" fmla="*/ 2147483647 w 485"/>
                <a:gd name="T95" fmla="*/ 2147483647 h 468"/>
                <a:gd name="T96" fmla="*/ 2147483647 w 485"/>
                <a:gd name="T97" fmla="*/ 2147483647 h 468"/>
                <a:gd name="T98" fmla="*/ 2147483647 w 485"/>
                <a:gd name="T99" fmla="*/ 2147483647 h 468"/>
                <a:gd name="T100" fmla="*/ 2147483647 w 485"/>
                <a:gd name="T101" fmla="*/ 2147483647 h 468"/>
                <a:gd name="T102" fmla="*/ 2147483647 w 485"/>
                <a:gd name="T103" fmla="*/ 2147483647 h 468"/>
                <a:gd name="T104" fmla="*/ 2147483647 w 485"/>
                <a:gd name="T105" fmla="*/ 2147483647 h 468"/>
                <a:gd name="T106" fmla="*/ 2147483647 w 485"/>
                <a:gd name="T107" fmla="*/ 2147483647 h 468"/>
                <a:gd name="T108" fmla="*/ 2147483647 w 485"/>
                <a:gd name="T109" fmla="*/ 2147483647 h 468"/>
                <a:gd name="T110" fmla="*/ 2147483647 w 485"/>
                <a:gd name="T111" fmla="*/ 2147483647 h 468"/>
                <a:gd name="T112" fmla="*/ 2147483647 w 485"/>
                <a:gd name="T113" fmla="*/ 2147483647 h 468"/>
                <a:gd name="T114" fmla="*/ 0 w 485"/>
                <a:gd name="T115" fmla="*/ 2147483647 h 468"/>
                <a:gd name="T116" fmla="*/ 2147483647 w 485"/>
                <a:gd name="T117" fmla="*/ 2147483647 h 468"/>
                <a:gd name="T118" fmla="*/ 2147483647 w 485"/>
                <a:gd name="T119" fmla="*/ 2147483647 h 468"/>
                <a:gd name="T120" fmla="*/ 2147483647 w 485"/>
                <a:gd name="T121" fmla="*/ 2147483647 h 468"/>
                <a:gd name="T122" fmla="*/ 2147483647 w 485"/>
                <a:gd name="T123" fmla="*/ 2147483647 h 468"/>
                <a:gd name="T124" fmla="*/ 2147483647 w 485"/>
                <a:gd name="T125" fmla="*/ 2147483647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485"/>
                <a:gd name="T190" fmla="*/ 0 h 468"/>
                <a:gd name="T191" fmla="*/ 485 w 485"/>
                <a:gd name="T192" fmla="*/ 468 h 46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6" name="Freeform 486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5884265" y="1381848"/>
              <a:ext cx="98357" cy="55030"/>
            </a:xfrm>
            <a:custGeom>
              <a:avLst/>
              <a:gdLst>
                <a:gd name="T0" fmla="*/ 2147483647 w 246"/>
                <a:gd name="T1" fmla="*/ 2147483647 h 42"/>
                <a:gd name="T2" fmla="*/ 2147483647 w 246"/>
                <a:gd name="T3" fmla="*/ 2147483647 h 42"/>
                <a:gd name="T4" fmla="*/ 2147483647 w 246"/>
                <a:gd name="T5" fmla="*/ 2147483647 h 42"/>
                <a:gd name="T6" fmla="*/ 2147483647 w 246"/>
                <a:gd name="T7" fmla="*/ 2147483647 h 42"/>
                <a:gd name="T8" fmla="*/ 2147483647 w 246"/>
                <a:gd name="T9" fmla="*/ 2147483647 h 42"/>
                <a:gd name="T10" fmla="*/ 2147483647 w 246"/>
                <a:gd name="T11" fmla="*/ 2147483647 h 42"/>
                <a:gd name="T12" fmla="*/ 2147483647 w 246"/>
                <a:gd name="T13" fmla="*/ 2147483647 h 42"/>
                <a:gd name="T14" fmla="*/ 2147483647 w 246"/>
                <a:gd name="T15" fmla="*/ 2147483647 h 42"/>
                <a:gd name="T16" fmla="*/ 2147483647 w 246"/>
                <a:gd name="T17" fmla="*/ 2147483647 h 42"/>
                <a:gd name="T18" fmla="*/ 2147483647 w 246"/>
                <a:gd name="T19" fmla="*/ 2147483647 h 42"/>
                <a:gd name="T20" fmla="*/ 2147483647 w 246"/>
                <a:gd name="T21" fmla="*/ 2147483647 h 42"/>
                <a:gd name="T22" fmla="*/ 2147483647 w 246"/>
                <a:gd name="T23" fmla="*/ 2147483647 h 42"/>
                <a:gd name="T24" fmla="*/ 2147483647 w 246"/>
                <a:gd name="T25" fmla="*/ 2147483647 h 42"/>
                <a:gd name="T26" fmla="*/ 2147483647 w 246"/>
                <a:gd name="T27" fmla="*/ 2147483647 h 42"/>
                <a:gd name="T28" fmla="*/ 2147483647 w 246"/>
                <a:gd name="T29" fmla="*/ 2147483647 h 42"/>
                <a:gd name="T30" fmla="*/ 2147483647 w 246"/>
                <a:gd name="T31" fmla="*/ 2147483647 h 42"/>
                <a:gd name="T32" fmla="*/ 2147483647 w 246"/>
                <a:gd name="T33" fmla="*/ 2147483647 h 42"/>
                <a:gd name="T34" fmla="*/ 2147483647 w 246"/>
                <a:gd name="T35" fmla="*/ 2147483647 h 42"/>
                <a:gd name="T36" fmla="*/ 2147483647 w 246"/>
                <a:gd name="T37" fmla="*/ 2147483647 h 42"/>
                <a:gd name="T38" fmla="*/ 2147483647 w 246"/>
                <a:gd name="T39" fmla="*/ 2147483647 h 42"/>
                <a:gd name="T40" fmla="*/ 2147483647 w 246"/>
                <a:gd name="T41" fmla="*/ 2147483647 h 42"/>
                <a:gd name="T42" fmla="*/ 2147483647 w 246"/>
                <a:gd name="T43" fmla="*/ 2147483647 h 42"/>
                <a:gd name="T44" fmla="*/ 2147483647 w 246"/>
                <a:gd name="T45" fmla="*/ 2147483647 h 42"/>
                <a:gd name="T46" fmla="*/ 2147483647 w 246"/>
                <a:gd name="T47" fmla="*/ 2147483647 h 42"/>
                <a:gd name="T48" fmla="*/ 2147483647 w 246"/>
                <a:gd name="T49" fmla="*/ 2147483647 h 42"/>
                <a:gd name="T50" fmla="*/ 2147483647 w 246"/>
                <a:gd name="T51" fmla="*/ 2147483647 h 42"/>
                <a:gd name="T52" fmla="*/ 2147483647 w 246"/>
                <a:gd name="T53" fmla="*/ 2147483647 h 42"/>
                <a:gd name="T54" fmla="*/ 2147483647 w 246"/>
                <a:gd name="T55" fmla="*/ 2147483647 h 42"/>
                <a:gd name="T56" fmla="*/ 2147483647 w 246"/>
                <a:gd name="T57" fmla="*/ 2147483647 h 42"/>
                <a:gd name="T58" fmla="*/ 2147483647 w 246"/>
                <a:gd name="T59" fmla="*/ 2147483647 h 42"/>
                <a:gd name="T60" fmla="*/ 2147483647 w 246"/>
                <a:gd name="T61" fmla="*/ 2147483647 h 42"/>
                <a:gd name="T62" fmla="*/ 2147483647 w 246"/>
                <a:gd name="T63" fmla="*/ 2147483647 h 42"/>
                <a:gd name="T64" fmla="*/ 2147483647 w 246"/>
                <a:gd name="T65" fmla="*/ 0 h 42"/>
                <a:gd name="T66" fmla="*/ 2147483647 w 246"/>
                <a:gd name="T67" fmla="*/ 2147483647 h 42"/>
                <a:gd name="T68" fmla="*/ 2147483647 w 246"/>
                <a:gd name="T69" fmla="*/ 2147483647 h 42"/>
                <a:gd name="T70" fmla="*/ 2147483647 w 246"/>
                <a:gd name="T71" fmla="*/ 2147483647 h 42"/>
                <a:gd name="T72" fmla="*/ 2147483647 w 246"/>
                <a:gd name="T73" fmla="*/ 2147483647 h 42"/>
                <a:gd name="T74" fmla="*/ 2147483647 w 246"/>
                <a:gd name="T75" fmla="*/ 2147483647 h 42"/>
                <a:gd name="T76" fmla="*/ 2147483647 w 246"/>
                <a:gd name="T77" fmla="*/ 2147483647 h 42"/>
                <a:gd name="T78" fmla="*/ 2147483647 w 246"/>
                <a:gd name="T79" fmla="*/ 2147483647 h 42"/>
                <a:gd name="T80" fmla="*/ 2147483647 w 246"/>
                <a:gd name="T81" fmla="*/ 2147483647 h 42"/>
                <a:gd name="T82" fmla="*/ 2147483647 w 246"/>
                <a:gd name="T83" fmla="*/ 2147483647 h 42"/>
                <a:gd name="T84" fmla="*/ 2147483647 w 246"/>
                <a:gd name="T85" fmla="*/ 2147483647 h 42"/>
                <a:gd name="T86" fmla="*/ 2147483647 w 246"/>
                <a:gd name="T87" fmla="*/ 2147483647 h 42"/>
                <a:gd name="T88" fmla="*/ 2147483647 w 246"/>
                <a:gd name="T89" fmla="*/ 2147483647 h 42"/>
                <a:gd name="T90" fmla="*/ 2147483647 w 246"/>
                <a:gd name="T91" fmla="*/ 2147483647 h 42"/>
                <a:gd name="T92" fmla="*/ 0 w 246"/>
                <a:gd name="T93" fmla="*/ 2147483647 h 42"/>
                <a:gd name="T94" fmla="*/ 2147483647 w 246"/>
                <a:gd name="T95" fmla="*/ 2147483647 h 42"/>
                <a:gd name="T96" fmla="*/ 2147483647 w 246"/>
                <a:gd name="T97" fmla="*/ 2147483647 h 42"/>
                <a:gd name="T98" fmla="*/ 2147483647 w 246"/>
                <a:gd name="T99" fmla="*/ 2147483647 h 42"/>
                <a:gd name="T100" fmla="*/ 2147483647 w 246"/>
                <a:gd name="T101" fmla="*/ 2147483647 h 42"/>
                <a:gd name="T102" fmla="*/ 2147483647 w 246"/>
                <a:gd name="T103" fmla="*/ 2147483647 h 42"/>
                <a:gd name="T104" fmla="*/ 2147483647 w 246"/>
                <a:gd name="T105" fmla="*/ 214748364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46"/>
                <a:gd name="T160" fmla="*/ 0 h 42"/>
                <a:gd name="T161" fmla="*/ 246 w 246"/>
                <a:gd name="T162" fmla="*/ 42 h 4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7" name="Freeform 487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6014444" y="1365919"/>
              <a:ext cx="57857" cy="52134"/>
            </a:xfrm>
            <a:custGeom>
              <a:avLst/>
              <a:gdLst>
                <a:gd name="T0" fmla="*/ 2147483647 w 149"/>
                <a:gd name="T1" fmla="*/ 0 h 61"/>
                <a:gd name="T2" fmla="*/ 2147483647 w 149"/>
                <a:gd name="T3" fmla="*/ 2147483647 h 61"/>
                <a:gd name="T4" fmla="*/ 2147483647 w 149"/>
                <a:gd name="T5" fmla="*/ 2147483647 h 61"/>
                <a:gd name="T6" fmla="*/ 2147483647 w 149"/>
                <a:gd name="T7" fmla="*/ 2147483647 h 61"/>
                <a:gd name="T8" fmla="*/ 2147483647 w 149"/>
                <a:gd name="T9" fmla="*/ 2147483647 h 61"/>
                <a:gd name="T10" fmla="*/ 2147483647 w 149"/>
                <a:gd name="T11" fmla="*/ 2147483647 h 61"/>
                <a:gd name="T12" fmla="*/ 2147483647 w 149"/>
                <a:gd name="T13" fmla="*/ 2147483647 h 61"/>
                <a:gd name="T14" fmla="*/ 2147483647 w 149"/>
                <a:gd name="T15" fmla="*/ 2147483647 h 61"/>
                <a:gd name="T16" fmla="*/ 2147483647 w 149"/>
                <a:gd name="T17" fmla="*/ 2147483647 h 61"/>
                <a:gd name="T18" fmla="*/ 2147483647 w 149"/>
                <a:gd name="T19" fmla="*/ 2147483647 h 61"/>
                <a:gd name="T20" fmla="*/ 2147483647 w 149"/>
                <a:gd name="T21" fmla="*/ 2147483647 h 61"/>
                <a:gd name="T22" fmla="*/ 2147483647 w 149"/>
                <a:gd name="T23" fmla="*/ 2147483647 h 61"/>
                <a:gd name="T24" fmla="*/ 2147483647 w 149"/>
                <a:gd name="T25" fmla="*/ 2147483647 h 61"/>
                <a:gd name="T26" fmla="*/ 2147483647 w 149"/>
                <a:gd name="T27" fmla="*/ 2147483647 h 61"/>
                <a:gd name="T28" fmla="*/ 2147483647 w 149"/>
                <a:gd name="T29" fmla="*/ 2147483647 h 61"/>
                <a:gd name="T30" fmla="*/ 2147483647 w 149"/>
                <a:gd name="T31" fmla="*/ 2147483647 h 61"/>
                <a:gd name="T32" fmla="*/ 2147483647 w 149"/>
                <a:gd name="T33" fmla="*/ 2147483647 h 61"/>
                <a:gd name="T34" fmla="*/ 2147483647 w 149"/>
                <a:gd name="T35" fmla="*/ 2147483647 h 61"/>
                <a:gd name="T36" fmla="*/ 2147483647 w 149"/>
                <a:gd name="T37" fmla="*/ 2147483647 h 61"/>
                <a:gd name="T38" fmla="*/ 2147483647 w 149"/>
                <a:gd name="T39" fmla="*/ 2147483647 h 61"/>
                <a:gd name="T40" fmla="*/ 2147483647 w 149"/>
                <a:gd name="T41" fmla="*/ 2147483647 h 61"/>
                <a:gd name="T42" fmla="*/ 2147483647 w 149"/>
                <a:gd name="T43" fmla="*/ 2147483647 h 61"/>
                <a:gd name="T44" fmla="*/ 2147483647 w 149"/>
                <a:gd name="T45" fmla="*/ 2147483647 h 61"/>
                <a:gd name="T46" fmla="*/ 2147483647 w 149"/>
                <a:gd name="T47" fmla="*/ 2147483647 h 61"/>
                <a:gd name="T48" fmla="*/ 2147483647 w 149"/>
                <a:gd name="T49" fmla="*/ 2147483647 h 61"/>
                <a:gd name="T50" fmla="*/ 2147483647 w 149"/>
                <a:gd name="T51" fmla="*/ 2147483647 h 61"/>
                <a:gd name="T52" fmla="*/ 2147483647 w 149"/>
                <a:gd name="T53" fmla="*/ 2147483647 h 61"/>
                <a:gd name="T54" fmla="*/ 2147483647 w 149"/>
                <a:gd name="T55" fmla="*/ 2147483647 h 61"/>
                <a:gd name="T56" fmla="*/ 2147483647 w 149"/>
                <a:gd name="T57" fmla="*/ 2147483647 h 61"/>
                <a:gd name="T58" fmla="*/ 2147483647 w 149"/>
                <a:gd name="T59" fmla="*/ 2147483647 h 61"/>
                <a:gd name="T60" fmla="*/ 2147483647 w 149"/>
                <a:gd name="T61" fmla="*/ 2147483647 h 61"/>
                <a:gd name="T62" fmla="*/ 2147483647 w 149"/>
                <a:gd name="T63" fmla="*/ 2147483647 h 61"/>
                <a:gd name="T64" fmla="*/ 0 w 149"/>
                <a:gd name="T65" fmla="*/ 2147483647 h 61"/>
                <a:gd name="T66" fmla="*/ 0 w 149"/>
                <a:gd name="T67" fmla="*/ 2147483647 h 61"/>
                <a:gd name="T68" fmla="*/ 2147483647 w 149"/>
                <a:gd name="T69" fmla="*/ 2147483647 h 61"/>
                <a:gd name="T70" fmla="*/ 2147483647 w 149"/>
                <a:gd name="T71" fmla="*/ 2147483647 h 61"/>
                <a:gd name="T72" fmla="*/ 2147483647 w 149"/>
                <a:gd name="T73" fmla="*/ 2147483647 h 61"/>
                <a:gd name="T74" fmla="*/ 2147483647 w 149"/>
                <a:gd name="T75" fmla="*/ 2147483647 h 61"/>
                <a:gd name="T76" fmla="*/ 2147483647 w 149"/>
                <a:gd name="T77" fmla="*/ 2147483647 h 61"/>
                <a:gd name="T78" fmla="*/ 2147483647 w 149"/>
                <a:gd name="T79" fmla="*/ 2147483647 h 61"/>
                <a:gd name="T80" fmla="*/ 2147483647 w 149"/>
                <a:gd name="T81" fmla="*/ 2147483647 h 61"/>
                <a:gd name="T82" fmla="*/ 2147483647 w 149"/>
                <a:gd name="T83" fmla="*/ 2147483647 h 61"/>
                <a:gd name="T84" fmla="*/ 2147483647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9"/>
                <a:gd name="T130" fmla="*/ 0 h 61"/>
                <a:gd name="T131" fmla="*/ 149 w 149"/>
                <a:gd name="T132" fmla="*/ 61 h 6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8" name="Freeform 488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6047711" y="1373159"/>
              <a:ext cx="118607" cy="52134"/>
            </a:xfrm>
            <a:custGeom>
              <a:avLst/>
              <a:gdLst>
                <a:gd name="T0" fmla="*/ 2147483647 w 299"/>
                <a:gd name="T1" fmla="*/ 2147483647 h 74"/>
                <a:gd name="T2" fmla="*/ 2147483647 w 299"/>
                <a:gd name="T3" fmla="*/ 2147483647 h 74"/>
                <a:gd name="T4" fmla="*/ 2147483647 w 299"/>
                <a:gd name="T5" fmla="*/ 2147483647 h 74"/>
                <a:gd name="T6" fmla="*/ 2147483647 w 299"/>
                <a:gd name="T7" fmla="*/ 2147483647 h 74"/>
                <a:gd name="T8" fmla="*/ 2147483647 w 299"/>
                <a:gd name="T9" fmla="*/ 2147483647 h 74"/>
                <a:gd name="T10" fmla="*/ 2147483647 w 299"/>
                <a:gd name="T11" fmla="*/ 2147483647 h 74"/>
                <a:gd name="T12" fmla="*/ 2147483647 w 299"/>
                <a:gd name="T13" fmla="*/ 2147483647 h 74"/>
                <a:gd name="T14" fmla="*/ 2147483647 w 299"/>
                <a:gd name="T15" fmla="*/ 2147483647 h 74"/>
                <a:gd name="T16" fmla="*/ 2147483647 w 299"/>
                <a:gd name="T17" fmla="*/ 2147483647 h 74"/>
                <a:gd name="T18" fmla="*/ 2147483647 w 299"/>
                <a:gd name="T19" fmla="*/ 2147483647 h 74"/>
                <a:gd name="T20" fmla="*/ 2147483647 w 299"/>
                <a:gd name="T21" fmla="*/ 2147483647 h 74"/>
                <a:gd name="T22" fmla="*/ 2147483647 w 299"/>
                <a:gd name="T23" fmla="*/ 2147483647 h 74"/>
                <a:gd name="T24" fmla="*/ 2147483647 w 299"/>
                <a:gd name="T25" fmla="*/ 2147483647 h 74"/>
                <a:gd name="T26" fmla="*/ 2147483647 w 299"/>
                <a:gd name="T27" fmla="*/ 2147483647 h 74"/>
                <a:gd name="T28" fmla="*/ 2147483647 w 299"/>
                <a:gd name="T29" fmla="*/ 2147483647 h 74"/>
                <a:gd name="T30" fmla="*/ 2147483647 w 299"/>
                <a:gd name="T31" fmla="*/ 2147483647 h 74"/>
                <a:gd name="T32" fmla="*/ 2147483647 w 299"/>
                <a:gd name="T33" fmla="*/ 2147483647 h 74"/>
                <a:gd name="T34" fmla="*/ 2147483647 w 299"/>
                <a:gd name="T35" fmla="*/ 2147483647 h 74"/>
                <a:gd name="T36" fmla="*/ 2147483647 w 299"/>
                <a:gd name="T37" fmla="*/ 2147483647 h 74"/>
                <a:gd name="T38" fmla="*/ 2147483647 w 299"/>
                <a:gd name="T39" fmla="*/ 2147483647 h 74"/>
                <a:gd name="T40" fmla="*/ 2147483647 w 299"/>
                <a:gd name="T41" fmla="*/ 2147483647 h 74"/>
                <a:gd name="T42" fmla="*/ 2147483647 w 299"/>
                <a:gd name="T43" fmla="*/ 2147483647 h 74"/>
                <a:gd name="T44" fmla="*/ 2147483647 w 299"/>
                <a:gd name="T45" fmla="*/ 0 h 74"/>
                <a:gd name="T46" fmla="*/ 2147483647 w 299"/>
                <a:gd name="T47" fmla="*/ 2147483647 h 74"/>
                <a:gd name="T48" fmla="*/ 2147483647 w 299"/>
                <a:gd name="T49" fmla="*/ 2147483647 h 74"/>
                <a:gd name="T50" fmla="*/ 2147483647 w 299"/>
                <a:gd name="T51" fmla="*/ 2147483647 h 74"/>
                <a:gd name="T52" fmla="*/ 2147483647 w 299"/>
                <a:gd name="T53" fmla="*/ 2147483647 h 74"/>
                <a:gd name="T54" fmla="*/ 2147483647 w 299"/>
                <a:gd name="T55" fmla="*/ 2147483647 h 74"/>
                <a:gd name="T56" fmla="*/ 2147483647 w 299"/>
                <a:gd name="T57" fmla="*/ 2147483647 h 74"/>
                <a:gd name="T58" fmla="*/ 2147483647 w 299"/>
                <a:gd name="T59" fmla="*/ 2147483647 h 74"/>
                <a:gd name="T60" fmla="*/ 2147483647 w 299"/>
                <a:gd name="T61" fmla="*/ 2147483647 h 74"/>
                <a:gd name="T62" fmla="*/ 2147483647 w 299"/>
                <a:gd name="T63" fmla="*/ 2147483647 h 74"/>
                <a:gd name="T64" fmla="*/ 2147483647 w 299"/>
                <a:gd name="T65" fmla="*/ 2147483647 h 74"/>
                <a:gd name="T66" fmla="*/ 2147483647 w 299"/>
                <a:gd name="T67" fmla="*/ 2147483647 h 74"/>
                <a:gd name="T68" fmla="*/ 2147483647 w 299"/>
                <a:gd name="T69" fmla="*/ 2147483647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99"/>
                <a:gd name="T106" fmla="*/ 0 h 74"/>
                <a:gd name="T107" fmla="*/ 299 w 299"/>
                <a:gd name="T108" fmla="*/ 74 h 7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9" name="Freeform 489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6533711" y="1542594"/>
              <a:ext cx="37607" cy="52134"/>
            </a:xfrm>
            <a:custGeom>
              <a:avLst/>
              <a:gdLst>
                <a:gd name="T0" fmla="*/ 2147483647 w 100"/>
                <a:gd name="T1" fmla="*/ 0 h 42"/>
                <a:gd name="T2" fmla="*/ 2147483647 w 100"/>
                <a:gd name="T3" fmla="*/ 2147483647 h 42"/>
                <a:gd name="T4" fmla="*/ 2147483647 w 100"/>
                <a:gd name="T5" fmla="*/ 2147483647 h 42"/>
                <a:gd name="T6" fmla="*/ 2147483647 w 100"/>
                <a:gd name="T7" fmla="*/ 2147483647 h 42"/>
                <a:gd name="T8" fmla="*/ 2147483647 w 100"/>
                <a:gd name="T9" fmla="*/ 2147483647 h 42"/>
                <a:gd name="T10" fmla="*/ 2147483647 w 100"/>
                <a:gd name="T11" fmla="*/ 2147483647 h 42"/>
                <a:gd name="T12" fmla="*/ 2147483647 w 100"/>
                <a:gd name="T13" fmla="*/ 2147483647 h 42"/>
                <a:gd name="T14" fmla="*/ 2147483647 w 100"/>
                <a:gd name="T15" fmla="*/ 2147483647 h 42"/>
                <a:gd name="T16" fmla="*/ 2147483647 w 100"/>
                <a:gd name="T17" fmla="*/ 2147483647 h 42"/>
                <a:gd name="T18" fmla="*/ 2147483647 w 100"/>
                <a:gd name="T19" fmla="*/ 2147483647 h 42"/>
                <a:gd name="T20" fmla="*/ 2147483647 w 100"/>
                <a:gd name="T21" fmla="*/ 2147483647 h 42"/>
                <a:gd name="T22" fmla="*/ 2147483647 w 100"/>
                <a:gd name="T23" fmla="*/ 2147483647 h 42"/>
                <a:gd name="T24" fmla="*/ 2147483647 w 100"/>
                <a:gd name="T25" fmla="*/ 2147483647 h 42"/>
                <a:gd name="T26" fmla="*/ 2147483647 w 100"/>
                <a:gd name="T27" fmla="*/ 2147483647 h 42"/>
                <a:gd name="T28" fmla="*/ 0 w 100"/>
                <a:gd name="T29" fmla="*/ 2147483647 h 42"/>
                <a:gd name="T30" fmla="*/ 2147483647 w 100"/>
                <a:gd name="T31" fmla="*/ 2147483647 h 42"/>
                <a:gd name="T32" fmla="*/ 2147483647 w 100"/>
                <a:gd name="T33" fmla="*/ 2147483647 h 42"/>
                <a:gd name="T34" fmla="*/ 2147483647 w 100"/>
                <a:gd name="T35" fmla="*/ 2147483647 h 42"/>
                <a:gd name="T36" fmla="*/ 2147483647 w 100"/>
                <a:gd name="T37" fmla="*/ 2147483647 h 42"/>
                <a:gd name="T38" fmla="*/ 2147483647 w 100"/>
                <a:gd name="T39" fmla="*/ 2147483647 h 42"/>
                <a:gd name="T40" fmla="*/ 2147483647 w 100"/>
                <a:gd name="T41" fmla="*/ 2147483647 h 42"/>
                <a:gd name="T42" fmla="*/ 2147483647 w 100"/>
                <a:gd name="T43" fmla="*/ 2147483647 h 42"/>
                <a:gd name="T44" fmla="*/ 2147483647 w 100"/>
                <a:gd name="T45" fmla="*/ 2147483647 h 42"/>
                <a:gd name="T46" fmla="*/ 2147483647 w 100"/>
                <a:gd name="T47" fmla="*/ 2147483647 h 42"/>
                <a:gd name="T48" fmla="*/ 2147483647 w 100"/>
                <a:gd name="T49" fmla="*/ 2147483647 h 42"/>
                <a:gd name="T50" fmla="*/ 2147483647 w 100"/>
                <a:gd name="T51" fmla="*/ 0 h 42"/>
                <a:gd name="T52" fmla="*/ 2147483647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00"/>
                <a:gd name="T82" fmla="*/ 0 h 42"/>
                <a:gd name="T83" fmla="*/ 100 w 100"/>
                <a:gd name="T84" fmla="*/ 42 h 42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0" name="Freeform 490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6451265" y="1413708"/>
              <a:ext cx="14464" cy="53582"/>
            </a:xfrm>
            <a:custGeom>
              <a:avLst/>
              <a:gdLst>
                <a:gd name="T0" fmla="*/ 2147483647 w 40"/>
                <a:gd name="T1" fmla="*/ 2147483647 h 5"/>
                <a:gd name="T2" fmla="*/ 0 w 40"/>
                <a:gd name="T3" fmla="*/ 2147483647 h 5"/>
                <a:gd name="T4" fmla="*/ 2147483647 w 40"/>
                <a:gd name="T5" fmla="*/ 2147483647 h 5"/>
                <a:gd name="T6" fmla="*/ 2147483647 w 40"/>
                <a:gd name="T7" fmla="*/ 2147483647 h 5"/>
                <a:gd name="T8" fmla="*/ 2147483647 w 40"/>
                <a:gd name="T9" fmla="*/ 0 h 5"/>
                <a:gd name="T10" fmla="*/ 2147483647 w 40"/>
                <a:gd name="T11" fmla="*/ 0 h 5"/>
                <a:gd name="T12" fmla="*/ 2147483647 w 40"/>
                <a:gd name="T13" fmla="*/ 0 h 5"/>
                <a:gd name="T14" fmla="*/ 2147483647 w 40"/>
                <a:gd name="T15" fmla="*/ 2147483647 h 5"/>
                <a:gd name="T16" fmla="*/ 2147483647 w 40"/>
                <a:gd name="T17" fmla="*/ 2147483647 h 5"/>
                <a:gd name="T18" fmla="*/ 2147483647 w 40"/>
                <a:gd name="T19" fmla="*/ 2147483647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5"/>
                <a:gd name="T32" fmla="*/ 40 w 40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1" name="Freeform 491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6471515" y="1376056"/>
              <a:ext cx="13017" cy="55030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0 w 33"/>
                <a:gd name="T17" fmla="*/ 2147483647 h 31"/>
                <a:gd name="T18" fmla="*/ 0 w 33"/>
                <a:gd name="T19" fmla="*/ 2147483647 h 31"/>
                <a:gd name="T20" fmla="*/ 0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31"/>
                <a:gd name="T35" fmla="*/ 33 w 33"/>
                <a:gd name="T36" fmla="*/ 31 h 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2" name="Freeform 492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6603140" y="1481771"/>
              <a:ext cx="15911" cy="52134"/>
            </a:xfrm>
            <a:custGeom>
              <a:avLst/>
              <a:gdLst>
                <a:gd name="T0" fmla="*/ 2147483647 w 41"/>
                <a:gd name="T1" fmla="*/ 0 h 43"/>
                <a:gd name="T2" fmla="*/ 2147483647 w 41"/>
                <a:gd name="T3" fmla="*/ 2147483647 h 43"/>
                <a:gd name="T4" fmla="*/ 2147483647 w 41"/>
                <a:gd name="T5" fmla="*/ 2147483647 h 43"/>
                <a:gd name="T6" fmla="*/ 2147483647 w 41"/>
                <a:gd name="T7" fmla="*/ 2147483647 h 43"/>
                <a:gd name="T8" fmla="*/ 2147483647 w 41"/>
                <a:gd name="T9" fmla="*/ 2147483647 h 43"/>
                <a:gd name="T10" fmla="*/ 2147483647 w 41"/>
                <a:gd name="T11" fmla="*/ 2147483647 h 43"/>
                <a:gd name="T12" fmla="*/ 2147483647 w 41"/>
                <a:gd name="T13" fmla="*/ 2147483647 h 43"/>
                <a:gd name="T14" fmla="*/ 0 w 41"/>
                <a:gd name="T15" fmla="*/ 2147483647 h 43"/>
                <a:gd name="T16" fmla="*/ 2147483647 w 41"/>
                <a:gd name="T17" fmla="*/ 2147483647 h 43"/>
                <a:gd name="T18" fmla="*/ 2147483647 w 41"/>
                <a:gd name="T19" fmla="*/ 2147483647 h 43"/>
                <a:gd name="T20" fmla="*/ 2147483647 w 41"/>
                <a:gd name="T21" fmla="*/ 2147483647 h 43"/>
                <a:gd name="T22" fmla="*/ 2147483647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1"/>
                <a:gd name="T37" fmla="*/ 0 h 43"/>
                <a:gd name="T38" fmla="*/ 41 w 41"/>
                <a:gd name="T39" fmla="*/ 43 h 4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3" name="Freeform 493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6652318" y="1376056"/>
              <a:ext cx="85340" cy="55030"/>
            </a:xfrm>
            <a:custGeom>
              <a:avLst/>
              <a:gdLst>
                <a:gd name="T0" fmla="*/ 2147483647 w 213"/>
                <a:gd name="T1" fmla="*/ 0 h 62"/>
                <a:gd name="T2" fmla="*/ 2147483647 w 213"/>
                <a:gd name="T3" fmla="*/ 0 h 62"/>
                <a:gd name="T4" fmla="*/ 2147483647 w 213"/>
                <a:gd name="T5" fmla="*/ 2147483647 h 62"/>
                <a:gd name="T6" fmla="*/ 2147483647 w 213"/>
                <a:gd name="T7" fmla="*/ 2147483647 h 62"/>
                <a:gd name="T8" fmla="*/ 2147483647 w 213"/>
                <a:gd name="T9" fmla="*/ 2147483647 h 62"/>
                <a:gd name="T10" fmla="*/ 2147483647 w 213"/>
                <a:gd name="T11" fmla="*/ 2147483647 h 62"/>
                <a:gd name="T12" fmla="*/ 2147483647 w 213"/>
                <a:gd name="T13" fmla="*/ 2147483647 h 62"/>
                <a:gd name="T14" fmla="*/ 2147483647 w 213"/>
                <a:gd name="T15" fmla="*/ 2147483647 h 62"/>
                <a:gd name="T16" fmla="*/ 2147483647 w 213"/>
                <a:gd name="T17" fmla="*/ 2147483647 h 62"/>
                <a:gd name="T18" fmla="*/ 2147483647 w 213"/>
                <a:gd name="T19" fmla="*/ 2147483647 h 62"/>
                <a:gd name="T20" fmla="*/ 2147483647 w 213"/>
                <a:gd name="T21" fmla="*/ 2147483647 h 62"/>
                <a:gd name="T22" fmla="*/ 2147483647 w 213"/>
                <a:gd name="T23" fmla="*/ 2147483647 h 62"/>
                <a:gd name="T24" fmla="*/ 2147483647 w 213"/>
                <a:gd name="T25" fmla="*/ 2147483647 h 62"/>
                <a:gd name="T26" fmla="*/ 2147483647 w 213"/>
                <a:gd name="T27" fmla="*/ 2147483647 h 62"/>
                <a:gd name="T28" fmla="*/ 2147483647 w 213"/>
                <a:gd name="T29" fmla="*/ 2147483647 h 62"/>
                <a:gd name="T30" fmla="*/ 2147483647 w 213"/>
                <a:gd name="T31" fmla="*/ 2147483647 h 62"/>
                <a:gd name="T32" fmla="*/ 2147483647 w 213"/>
                <a:gd name="T33" fmla="*/ 2147483647 h 62"/>
                <a:gd name="T34" fmla="*/ 2147483647 w 213"/>
                <a:gd name="T35" fmla="*/ 2147483647 h 62"/>
                <a:gd name="T36" fmla="*/ 2147483647 w 213"/>
                <a:gd name="T37" fmla="*/ 2147483647 h 62"/>
                <a:gd name="T38" fmla="*/ 2147483647 w 213"/>
                <a:gd name="T39" fmla="*/ 2147483647 h 62"/>
                <a:gd name="T40" fmla="*/ 2147483647 w 213"/>
                <a:gd name="T41" fmla="*/ 2147483647 h 62"/>
                <a:gd name="T42" fmla="*/ 2147483647 w 213"/>
                <a:gd name="T43" fmla="*/ 2147483647 h 62"/>
                <a:gd name="T44" fmla="*/ 2147483647 w 213"/>
                <a:gd name="T45" fmla="*/ 2147483647 h 62"/>
                <a:gd name="T46" fmla="*/ 2147483647 w 213"/>
                <a:gd name="T47" fmla="*/ 2147483647 h 62"/>
                <a:gd name="T48" fmla="*/ 2147483647 w 213"/>
                <a:gd name="T49" fmla="*/ 2147483647 h 62"/>
                <a:gd name="T50" fmla="*/ 2147483647 w 213"/>
                <a:gd name="T51" fmla="*/ 2147483647 h 62"/>
                <a:gd name="T52" fmla="*/ 0 w 213"/>
                <a:gd name="T53" fmla="*/ 2147483647 h 62"/>
                <a:gd name="T54" fmla="*/ 2147483647 w 213"/>
                <a:gd name="T55" fmla="*/ 2147483647 h 62"/>
                <a:gd name="T56" fmla="*/ 2147483647 w 213"/>
                <a:gd name="T57" fmla="*/ 2147483647 h 62"/>
                <a:gd name="T58" fmla="*/ 2147483647 w 213"/>
                <a:gd name="T59" fmla="*/ 2147483647 h 62"/>
                <a:gd name="T60" fmla="*/ 2147483647 w 213"/>
                <a:gd name="T61" fmla="*/ 2147483647 h 62"/>
                <a:gd name="T62" fmla="*/ 2147483647 w 213"/>
                <a:gd name="T63" fmla="*/ 2147483647 h 62"/>
                <a:gd name="T64" fmla="*/ 2147483647 w 213"/>
                <a:gd name="T65" fmla="*/ 2147483647 h 62"/>
                <a:gd name="T66" fmla="*/ 2147483647 w 213"/>
                <a:gd name="T67" fmla="*/ 2147483647 h 62"/>
                <a:gd name="T68" fmla="*/ 2147483647 w 213"/>
                <a:gd name="T69" fmla="*/ 2147483647 h 62"/>
                <a:gd name="T70" fmla="*/ 2147483647 w 213"/>
                <a:gd name="T71" fmla="*/ 2147483647 h 62"/>
                <a:gd name="T72" fmla="*/ 2147483647 w 213"/>
                <a:gd name="T73" fmla="*/ 2147483647 h 62"/>
                <a:gd name="T74" fmla="*/ 2147483647 w 213"/>
                <a:gd name="T75" fmla="*/ 0 h 62"/>
                <a:gd name="T76" fmla="*/ 2147483647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13"/>
                <a:gd name="T118" fmla="*/ 0 h 62"/>
                <a:gd name="T119" fmla="*/ 213 w 213"/>
                <a:gd name="T120" fmla="*/ 62 h 6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4" name="Freeform 494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6707282" y="1399226"/>
              <a:ext cx="94018" cy="55030"/>
            </a:xfrm>
            <a:custGeom>
              <a:avLst/>
              <a:gdLst>
                <a:gd name="T0" fmla="*/ 2147483647 w 239"/>
                <a:gd name="T1" fmla="*/ 0 h 56"/>
                <a:gd name="T2" fmla="*/ 2147483647 w 239"/>
                <a:gd name="T3" fmla="*/ 2147483647 h 56"/>
                <a:gd name="T4" fmla="*/ 2147483647 w 239"/>
                <a:gd name="T5" fmla="*/ 2147483647 h 56"/>
                <a:gd name="T6" fmla="*/ 2147483647 w 239"/>
                <a:gd name="T7" fmla="*/ 2147483647 h 56"/>
                <a:gd name="T8" fmla="*/ 2147483647 w 239"/>
                <a:gd name="T9" fmla="*/ 2147483647 h 56"/>
                <a:gd name="T10" fmla="*/ 2147483647 w 239"/>
                <a:gd name="T11" fmla="*/ 2147483647 h 56"/>
                <a:gd name="T12" fmla="*/ 2147483647 w 239"/>
                <a:gd name="T13" fmla="*/ 2147483647 h 56"/>
                <a:gd name="T14" fmla="*/ 2147483647 w 239"/>
                <a:gd name="T15" fmla="*/ 2147483647 h 56"/>
                <a:gd name="T16" fmla="*/ 0 w 239"/>
                <a:gd name="T17" fmla="*/ 2147483647 h 56"/>
                <a:gd name="T18" fmla="*/ 2147483647 w 239"/>
                <a:gd name="T19" fmla="*/ 2147483647 h 56"/>
                <a:gd name="T20" fmla="*/ 2147483647 w 239"/>
                <a:gd name="T21" fmla="*/ 2147483647 h 56"/>
                <a:gd name="T22" fmla="*/ 2147483647 w 239"/>
                <a:gd name="T23" fmla="*/ 2147483647 h 56"/>
                <a:gd name="T24" fmla="*/ 2147483647 w 239"/>
                <a:gd name="T25" fmla="*/ 2147483647 h 56"/>
                <a:gd name="T26" fmla="*/ 2147483647 w 239"/>
                <a:gd name="T27" fmla="*/ 2147483647 h 56"/>
                <a:gd name="T28" fmla="*/ 2147483647 w 239"/>
                <a:gd name="T29" fmla="*/ 2147483647 h 56"/>
                <a:gd name="T30" fmla="*/ 2147483647 w 239"/>
                <a:gd name="T31" fmla="*/ 2147483647 h 56"/>
                <a:gd name="T32" fmla="*/ 2147483647 w 239"/>
                <a:gd name="T33" fmla="*/ 2147483647 h 56"/>
                <a:gd name="T34" fmla="*/ 2147483647 w 239"/>
                <a:gd name="T35" fmla="*/ 2147483647 h 56"/>
                <a:gd name="T36" fmla="*/ 2147483647 w 239"/>
                <a:gd name="T37" fmla="*/ 2147483647 h 56"/>
                <a:gd name="T38" fmla="*/ 2147483647 w 239"/>
                <a:gd name="T39" fmla="*/ 2147483647 h 56"/>
                <a:gd name="T40" fmla="*/ 2147483647 w 239"/>
                <a:gd name="T41" fmla="*/ 2147483647 h 56"/>
                <a:gd name="T42" fmla="*/ 2147483647 w 239"/>
                <a:gd name="T43" fmla="*/ 2147483647 h 56"/>
                <a:gd name="T44" fmla="*/ 2147483647 w 239"/>
                <a:gd name="T45" fmla="*/ 2147483647 h 56"/>
                <a:gd name="T46" fmla="*/ 2147483647 w 239"/>
                <a:gd name="T47" fmla="*/ 2147483647 h 56"/>
                <a:gd name="T48" fmla="*/ 2147483647 w 239"/>
                <a:gd name="T49" fmla="*/ 2147483647 h 56"/>
                <a:gd name="T50" fmla="*/ 2147483647 w 239"/>
                <a:gd name="T51" fmla="*/ 2147483647 h 56"/>
                <a:gd name="T52" fmla="*/ 2147483647 w 239"/>
                <a:gd name="T53" fmla="*/ 2147483647 h 56"/>
                <a:gd name="T54" fmla="*/ 2147483647 w 239"/>
                <a:gd name="T55" fmla="*/ 2147483647 h 56"/>
                <a:gd name="T56" fmla="*/ 2147483647 w 239"/>
                <a:gd name="T57" fmla="*/ 2147483647 h 56"/>
                <a:gd name="T58" fmla="*/ 2147483647 w 239"/>
                <a:gd name="T59" fmla="*/ 2147483647 h 56"/>
                <a:gd name="T60" fmla="*/ 2147483647 w 239"/>
                <a:gd name="T61" fmla="*/ 2147483647 h 56"/>
                <a:gd name="T62" fmla="*/ 2147483647 w 239"/>
                <a:gd name="T63" fmla="*/ 2147483647 h 56"/>
                <a:gd name="T64" fmla="*/ 2147483647 w 239"/>
                <a:gd name="T65" fmla="*/ 2147483647 h 56"/>
                <a:gd name="T66" fmla="*/ 2147483647 w 239"/>
                <a:gd name="T67" fmla="*/ 2147483647 h 56"/>
                <a:gd name="T68" fmla="*/ 2147483647 w 239"/>
                <a:gd name="T69" fmla="*/ 2147483647 h 56"/>
                <a:gd name="T70" fmla="*/ 2147483647 w 239"/>
                <a:gd name="T71" fmla="*/ 2147483647 h 56"/>
                <a:gd name="T72" fmla="*/ 2147483647 w 239"/>
                <a:gd name="T73" fmla="*/ 2147483647 h 56"/>
                <a:gd name="T74" fmla="*/ 2147483647 w 239"/>
                <a:gd name="T75" fmla="*/ 2147483647 h 56"/>
                <a:gd name="T76" fmla="*/ 2147483647 w 239"/>
                <a:gd name="T77" fmla="*/ 2147483647 h 56"/>
                <a:gd name="T78" fmla="*/ 2147483647 w 239"/>
                <a:gd name="T79" fmla="*/ 2147483647 h 56"/>
                <a:gd name="T80" fmla="*/ 2147483647 w 239"/>
                <a:gd name="T81" fmla="*/ 2147483647 h 56"/>
                <a:gd name="T82" fmla="*/ 2147483647 w 239"/>
                <a:gd name="T83" fmla="*/ 2147483647 h 56"/>
                <a:gd name="T84" fmla="*/ 2147483647 w 239"/>
                <a:gd name="T85" fmla="*/ 2147483647 h 56"/>
                <a:gd name="T86" fmla="*/ 2147483647 w 239"/>
                <a:gd name="T87" fmla="*/ 0 h 56"/>
                <a:gd name="T88" fmla="*/ 2147483647 w 239"/>
                <a:gd name="T89" fmla="*/ 2147483647 h 56"/>
                <a:gd name="T90" fmla="*/ 2147483647 w 239"/>
                <a:gd name="T91" fmla="*/ 2147483647 h 56"/>
                <a:gd name="T92" fmla="*/ 2147483647 w 239"/>
                <a:gd name="T93" fmla="*/ 2147483647 h 56"/>
                <a:gd name="T94" fmla="*/ 2147483647 w 239"/>
                <a:gd name="T95" fmla="*/ 2147483647 h 56"/>
                <a:gd name="T96" fmla="*/ 2147483647 w 239"/>
                <a:gd name="T97" fmla="*/ 2147483647 h 56"/>
                <a:gd name="T98" fmla="*/ 2147483647 w 239"/>
                <a:gd name="T99" fmla="*/ 2147483647 h 56"/>
                <a:gd name="T100" fmla="*/ 2147483647 w 239"/>
                <a:gd name="T101" fmla="*/ 2147483647 h 56"/>
                <a:gd name="T102" fmla="*/ 2147483647 w 239"/>
                <a:gd name="T103" fmla="*/ 2147483647 h 56"/>
                <a:gd name="T104" fmla="*/ 2147483647 w 239"/>
                <a:gd name="T105" fmla="*/ 2147483647 h 56"/>
                <a:gd name="T106" fmla="*/ 2147483647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39"/>
                <a:gd name="T163" fmla="*/ 0 h 56"/>
                <a:gd name="T164" fmla="*/ 239 w 239"/>
                <a:gd name="T165" fmla="*/ 56 h 5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5" name="Freeform 495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6814318" y="1412260"/>
              <a:ext cx="75214" cy="52134"/>
            </a:xfrm>
            <a:custGeom>
              <a:avLst/>
              <a:gdLst>
                <a:gd name="T0" fmla="*/ 2147483647 w 187"/>
                <a:gd name="T1" fmla="*/ 2147483647 h 80"/>
                <a:gd name="T2" fmla="*/ 2147483647 w 187"/>
                <a:gd name="T3" fmla="*/ 0 h 80"/>
                <a:gd name="T4" fmla="*/ 2147483647 w 187"/>
                <a:gd name="T5" fmla="*/ 2147483647 h 80"/>
                <a:gd name="T6" fmla="*/ 2147483647 w 187"/>
                <a:gd name="T7" fmla="*/ 2147483647 h 80"/>
                <a:gd name="T8" fmla="*/ 2147483647 w 187"/>
                <a:gd name="T9" fmla="*/ 2147483647 h 80"/>
                <a:gd name="T10" fmla="*/ 2147483647 w 187"/>
                <a:gd name="T11" fmla="*/ 2147483647 h 80"/>
                <a:gd name="T12" fmla="*/ 2147483647 w 187"/>
                <a:gd name="T13" fmla="*/ 2147483647 h 80"/>
                <a:gd name="T14" fmla="*/ 2147483647 w 187"/>
                <a:gd name="T15" fmla="*/ 2147483647 h 80"/>
                <a:gd name="T16" fmla="*/ 2147483647 w 187"/>
                <a:gd name="T17" fmla="*/ 2147483647 h 80"/>
                <a:gd name="T18" fmla="*/ 2147483647 w 187"/>
                <a:gd name="T19" fmla="*/ 2147483647 h 80"/>
                <a:gd name="T20" fmla="*/ 2147483647 w 187"/>
                <a:gd name="T21" fmla="*/ 2147483647 h 80"/>
                <a:gd name="T22" fmla="*/ 2147483647 w 187"/>
                <a:gd name="T23" fmla="*/ 2147483647 h 80"/>
                <a:gd name="T24" fmla="*/ 2147483647 w 187"/>
                <a:gd name="T25" fmla="*/ 2147483647 h 80"/>
                <a:gd name="T26" fmla="*/ 2147483647 w 187"/>
                <a:gd name="T27" fmla="*/ 2147483647 h 80"/>
                <a:gd name="T28" fmla="*/ 2147483647 w 187"/>
                <a:gd name="T29" fmla="*/ 2147483647 h 80"/>
                <a:gd name="T30" fmla="*/ 2147483647 w 187"/>
                <a:gd name="T31" fmla="*/ 2147483647 h 80"/>
                <a:gd name="T32" fmla="*/ 2147483647 w 187"/>
                <a:gd name="T33" fmla="*/ 2147483647 h 80"/>
                <a:gd name="T34" fmla="*/ 2147483647 w 187"/>
                <a:gd name="T35" fmla="*/ 2147483647 h 80"/>
                <a:gd name="T36" fmla="*/ 2147483647 w 187"/>
                <a:gd name="T37" fmla="*/ 2147483647 h 80"/>
                <a:gd name="T38" fmla="*/ 2147483647 w 187"/>
                <a:gd name="T39" fmla="*/ 2147483647 h 80"/>
                <a:gd name="T40" fmla="*/ 2147483647 w 187"/>
                <a:gd name="T41" fmla="*/ 2147483647 h 80"/>
                <a:gd name="T42" fmla="*/ 2147483647 w 187"/>
                <a:gd name="T43" fmla="*/ 2147483647 h 80"/>
                <a:gd name="T44" fmla="*/ 2147483647 w 187"/>
                <a:gd name="T45" fmla="*/ 2147483647 h 80"/>
                <a:gd name="T46" fmla="*/ 2147483647 w 187"/>
                <a:gd name="T47" fmla="*/ 2147483647 h 80"/>
                <a:gd name="T48" fmla="*/ 2147483647 w 187"/>
                <a:gd name="T49" fmla="*/ 2147483647 h 80"/>
                <a:gd name="T50" fmla="*/ 2147483647 w 187"/>
                <a:gd name="T51" fmla="*/ 2147483647 h 80"/>
                <a:gd name="T52" fmla="*/ 2147483647 w 187"/>
                <a:gd name="T53" fmla="*/ 2147483647 h 80"/>
                <a:gd name="T54" fmla="*/ 2147483647 w 187"/>
                <a:gd name="T55" fmla="*/ 2147483647 h 80"/>
                <a:gd name="T56" fmla="*/ 2147483647 w 187"/>
                <a:gd name="T57" fmla="*/ 2147483647 h 80"/>
                <a:gd name="T58" fmla="*/ 2147483647 w 187"/>
                <a:gd name="T59" fmla="*/ 2147483647 h 80"/>
                <a:gd name="T60" fmla="*/ 2147483647 w 187"/>
                <a:gd name="T61" fmla="*/ 2147483647 h 80"/>
                <a:gd name="T62" fmla="*/ 2147483647 w 187"/>
                <a:gd name="T63" fmla="*/ 2147483647 h 80"/>
                <a:gd name="T64" fmla="*/ 2147483647 w 187"/>
                <a:gd name="T65" fmla="*/ 2147483647 h 80"/>
                <a:gd name="T66" fmla="*/ 0 w 187"/>
                <a:gd name="T67" fmla="*/ 2147483647 h 80"/>
                <a:gd name="T68" fmla="*/ 2147483647 w 187"/>
                <a:gd name="T69" fmla="*/ 2147483647 h 80"/>
                <a:gd name="T70" fmla="*/ 2147483647 w 187"/>
                <a:gd name="T71" fmla="*/ 2147483647 h 80"/>
                <a:gd name="T72" fmla="*/ 2147483647 w 187"/>
                <a:gd name="T73" fmla="*/ 2147483647 h 80"/>
                <a:gd name="T74" fmla="*/ 2147483647 w 187"/>
                <a:gd name="T75" fmla="*/ 2147483647 h 80"/>
                <a:gd name="T76" fmla="*/ 2147483647 w 187"/>
                <a:gd name="T77" fmla="*/ 2147483647 h 80"/>
                <a:gd name="T78" fmla="*/ 2147483647 w 187"/>
                <a:gd name="T79" fmla="*/ 2147483647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87"/>
                <a:gd name="T121" fmla="*/ 0 h 80"/>
                <a:gd name="T122" fmla="*/ 187 w 187"/>
                <a:gd name="T123" fmla="*/ 80 h 80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6" name="Freeform 496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7294532" y="1526664"/>
              <a:ext cx="72321" cy="53582"/>
            </a:xfrm>
            <a:custGeom>
              <a:avLst/>
              <a:gdLst>
                <a:gd name="T0" fmla="*/ 2147483647 w 183"/>
                <a:gd name="T1" fmla="*/ 0 h 73"/>
                <a:gd name="T2" fmla="*/ 2147483647 w 183"/>
                <a:gd name="T3" fmla="*/ 0 h 73"/>
                <a:gd name="T4" fmla="*/ 2147483647 w 183"/>
                <a:gd name="T5" fmla="*/ 2147483647 h 73"/>
                <a:gd name="T6" fmla="*/ 2147483647 w 183"/>
                <a:gd name="T7" fmla="*/ 2147483647 h 73"/>
                <a:gd name="T8" fmla="*/ 2147483647 w 183"/>
                <a:gd name="T9" fmla="*/ 2147483647 h 73"/>
                <a:gd name="T10" fmla="*/ 2147483647 w 183"/>
                <a:gd name="T11" fmla="*/ 2147483647 h 73"/>
                <a:gd name="T12" fmla="*/ 2147483647 w 183"/>
                <a:gd name="T13" fmla="*/ 2147483647 h 73"/>
                <a:gd name="T14" fmla="*/ 2147483647 w 183"/>
                <a:gd name="T15" fmla="*/ 2147483647 h 73"/>
                <a:gd name="T16" fmla="*/ 2147483647 w 183"/>
                <a:gd name="T17" fmla="*/ 2147483647 h 73"/>
                <a:gd name="T18" fmla="*/ 2147483647 w 183"/>
                <a:gd name="T19" fmla="*/ 2147483647 h 73"/>
                <a:gd name="T20" fmla="*/ 2147483647 w 183"/>
                <a:gd name="T21" fmla="*/ 2147483647 h 73"/>
                <a:gd name="T22" fmla="*/ 2147483647 w 183"/>
                <a:gd name="T23" fmla="*/ 2147483647 h 73"/>
                <a:gd name="T24" fmla="*/ 2147483647 w 183"/>
                <a:gd name="T25" fmla="*/ 2147483647 h 73"/>
                <a:gd name="T26" fmla="*/ 2147483647 w 183"/>
                <a:gd name="T27" fmla="*/ 2147483647 h 73"/>
                <a:gd name="T28" fmla="*/ 2147483647 w 183"/>
                <a:gd name="T29" fmla="*/ 2147483647 h 73"/>
                <a:gd name="T30" fmla="*/ 2147483647 w 183"/>
                <a:gd name="T31" fmla="*/ 2147483647 h 73"/>
                <a:gd name="T32" fmla="*/ 2147483647 w 183"/>
                <a:gd name="T33" fmla="*/ 2147483647 h 73"/>
                <a:gd name="T34" fmla="*/ 2147483647 w 183"/>
                <a:gd name="T35" fmla="*/ 2147483647 h 73"/>
                <a:gd name="T36" fmla="*/ 2147483647 w 183"/>
                <a:gd name="T37" fmla="*/ 2147483647 h 73"/>
                <a:gd name="T38" fmla="*/ 2147483647 w 183"/>
                <a:gd name="T39" fmla="*/ 2147483647 h 73"/>
                <a:gd name="T40" fmla="*/ 2147483647 w 183"/>
                <a:gd name="T41" fmla="*/ 2147483647 h 73"/>
                <a:gd name="T42" fmla="*/ 2147483647 w 183"/>
                <a:gd name="T43" fmla="*/ 2147483647 h 73"/>
                <a:gd name="T44" fmla="*/ 2147483647 w 183"/>
                <a:gd name="T45" fmla="*/ 2147483647 h 73"/>
                <a:gd name="T46" fmla="*/ 2147483647 w 183"/>
                <a:gd name="T47" fmla="*/ 2147483647 h 73"/>
                <a:gd name="T48" fmla="*/ 2147483647 w 183"/>
                <a:gd name="T49" fmla="*/ 2147483647 h 73"/>
                <a:gd name="T50" fmla="*/ 0 w 183"/>
                <a:gd name="T51" fmla="*/ 2147483647 h 73"/>
                <a:gd name="T52" fmla="*/ 2147483647 w 183"/>
                <a:gd name="T53" fmla="*/ 2147483647 h 73"/>
                <a:gd name="T54" fmla="*/ 2147483647 w 183"/>
                <a:gd name="T55" fmla="*/ 2147483647 h 73"/>
                <a:gd name="T56" fmla="*/ 2147483647 w 183"/>
                <a:gd name="T57" fmla="*/ 2147483647 h 73"/>
                <a:gd name="T58" fmla="*/ 2147483647 w 183"/>
                <a:gd name="T59" fmla="*/ 2147483647 h 73"/>
                <a:gd name="T60" fmla="*/ 2147483647 w 183"/>
                <a:gd name="T61" fmla="*/ 2147483647 h 73"/>
                <a:gd name="T62" fmla="*/ 2147483647 w 183"/>
                <a:gd name="T63" fmla="*/ 0 h 73"/>
                <a:gd name="T64" fmla="*/ 2147483647 w 183"/>
                <a:gd name="T65" fmla="*/ 0 h 73"/>
                <a:gd name="T66" fmla="*/ 214748364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83"/>
                <a:gd name="T103" fmla="*/ 0 h 73"/>
                <a:gd name="T104" fmla="*/ 183 w 183"/>
                <a:gd name="T105" fmla="*/ 73 h 7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7" name="Freeform 497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7355282" y="1542594"/>
              <a:ext cx="30375" cy="52134"/>
            </a:xfrm>
            <a:custGeom>
              <a:avLst/>
              <a:gdLst>
                <a:gd name="T0" fmla="*/ 0 w 79"/>
                <a:gd name="T1" fmla="*/ 2147483647 h 42"/>
                <a:gd name="T2" fmla="*/ 2147483647 w 79"/>
                <a:gd name="T3" fmla="*/ 2147483647 h 42"/>
                <a:gd name="T4" fmla="*/ 2147483647 w 79"/>
                <a:gd name="T5" fmla="*/ 2147483647 h 42"/>
                <a:gd name="T6" fmla="*/ 2147483647 w 79"/>
                <a:gd name="T7" fmla="*/ 0 h 42"/>
                <a:gd name="T8" fmla="*/ 2147483647 w 79"/>
                <a:gd name="T9" fmla="*/ 0 h 42"/>
                <a:gd name="T10" fmla="*/ 2147483647 w 79"/>
                <a:gd name="T11" fmla="*/ 2147483647 h 42"/>
                <a:gd name="T12" fmla="*/ 2147483647 w 79"/>
                <a:gd name="T13" fmla="*/ 2147483647 h 42"/>
                <a:gd name="T14" fmla="*/ 2147483647 w 79"/>
                <a:gd name="T15" fmla="*/ 2147483647 h 42"/>
                <a:gd name="T16" fmla="*/ 2147483647 w 79"/>
                <a:gd name="T17" fmla="*/ 2147483647 h 42"/>
                <a:gd name="T18" fmla="*/ 2147483647 w 79"/>
                <a:gd name="T19" fmla="*/ 2147483647 h 42"/>
                <a:gd name="T20" fmla="*/ 2147483647 w 79"/>
                <a:gd name="T21" fmla="*/ 2147483647 h 42"/>
                <a:gd name="T22" fmla="*/ 2147483647 w 79"/>
                <a:gd name="T23" fmla="*/ 2147483647 h 42"/>
                <a:gd name="T24" fmla="*/ 2147483647 w 79"/>
                <a:gd name="T25" fmla="*/ 2147483647 h 42"/>
                <a:gd name="T26" fmla="*/ 2147483647 w 79"/>
                <a:gd name="T27" fmla="*/ 2147483647 h 42"/>
                <a:gd name="T28" fmla="*/ 2147483647 w 79"/>
                <a:gd name="T29" fmla="*/ 2147483647 h 42"/>
                <a:gd name="T30" fmla="*/ 2147483647 w 79"/>
                <a:gd name="T31" fmla="*/ 2147483647 h 42"/>
                <a:gd name="T32" fmla="*/ 2147483647 w 79"/>
                <a:gd name="T33" fmla="*/ 2147483647 h 42"/>
                <a:gd name="T34" fmla="*/ 2147483647 w 79"/>
                <a:gd name="T35" fmla="*/ 2147483647 h 42"/>
                <a:gd name="T36" fmla="*/ 2147483647 w 79"/>
                <a:gd name="T37" fmla="*/ 2147483647 h 42"/>
                <a:gd name="T38" fmla="*/ 2147483647 w 79"/>
                <a:gd name="T39" fmla="*/ 2147483647 h 42"/>
                <a:gd name="T40" fmla="*/ 2147483647 w 79"/>
                <a:gd name="T41" fmla="*/ 2147483647 h 42"/>
                <a:gd name="T42" fmla="*/ 2147483647 w 79"/>
                <a:gd name="T43" fmla="*/ 2147483647 h 42"/>
                <a:gd name="T44" fmla="*/ 2147483647 w 79"/>
                <a:gd name="T45" fmla="*/ 2147483647 h 42"/>
                <a:gd name="T46" fmla="*/ 0 w 79"/>
                <a:gd name="T47" fmla="*/ 2147483647 h 42"/>
                <a:gd name="T48" fmla="*/ 0 w 79"/>
                <a:gd name="T49" fmla="*/ 2147483647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9"/>
                <a:gd name="T76" fmla="*/ 0 h 42"/>
                <a:gd name="T77" fmla="*/ 79 w 79"/>
                <a:gd name="T78" fmla="*/ 42 h 4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8" name="Freeform 498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7382765" y="1552730"/>
              <a:ext cx="47732" cy="53582"/>
            </a:xfrm>
            <a:custGeom>
              <a:avLst/>
              <a:gdLst>
                <a:gd name="T0" fmla="*/ 2147483647 w 113"/>
                <a:gd name="T1" fmla="*/ 2147483647 h 52"/>
                <a:gd name="T2" fmla="*/ 2147483647 w 113"/>
                <a:gd name="T3" fmla="*/ 2147483647 h 52"/>
                <a:gd name="T4" fmla="*/ 2147483647 w 113"/>
                <a:gd name="T5" fmla="*/ 2147483647 h 52"/>
                <a:gd name="T6" fmla="*/ 2147483647 w 113"/>
                <a:gd name="T7" fmla="*/ 2147483647 h 52"/>
                <a:gd name="T8" fmla="*/ 2147483647 w 113"/>
                <a:gd name="T9" fmla="*/ 2147483647 h 52"/>
                <a:gd name="T10" fmla="*/ 2147483647 w 113"/>
                <a:gd name="T11" fmla="*/ 2147483647 h 52"/>
                <a:gd name="T12" fmla="*/ 2147483647 w 113"/>
                <a:gd name="T13" fmla="*/ 2147483647 h 52"/>
                <a:gd name="T14" fmla="*/ 2147483647 w 113"/>
                <a:gd name="T15" fmla="*/ 2147483647 h 52"/>
                <a:gd name="T16" fmla="*/ 2147483647 w 113"/>
                <a:gd name="T17" fmla="*/ 2147483647 h 52"/>
                <a:gd name="T18" fmla="*/ 2147483647 w 113"/>
                <a:gd name="T19" fmla="*/ 2147483647 h 52"/>
                <a:gd name="T20" fmla="*/ 2147483647 w 113"/>
                <a:gd name="T21" fmla="*/ 2147483647 h 52"/>
                <a:gd name="T22" fmla="*/ 2147483647 w 113"/>
                <a:gd name="T23" fmla="*/ 2147483647 h 52"/>
                <a:gd name="T24" fmla="*/ 2147483647 w 113"/>
                <a:gd name="T25" fmla="*/ 2147483647 h 52"/>
                <a:gd name="T26" fmla="*/ 2147483647 w 113"/>
                <a:gd name="T27" fmla="*/ 2147483647 h 52"/>
                <a:gd name="T28" fmla="*/ 2147483647 w 113"/>
                <a:gd name="T29" fmla="*/ 2147483647 h 52"/>
                <a:gd name="T30" fmla="*/ 2147483647 w 113"/>
                <a:gd name="T31" fmla="*/ 2147483647 h 52"/>
                <a:gd name="T32" fmla="*/ 2147483647 w 113"/>
                <a:gd name="T33" fmla="*/ 2147483647 h 52"/>
                <a:gd name="T34" fmla="*/ 2147483647 w 113"/>
                <a:gd name="T35" fmla="*/ 2147483647 h 52"/>
                <a:gd name="T36" fmla="*/ 0 w 113"/>
                <a:gd name="T37" fmla="*/ 2147483647 h 52"/>
                <a:gd name="T38" fmla="*/ 2147483647 w 113"/>
                <a:gd name="T39" fmla="*/ 2147483647 h 52"/>
                <a:gd name="T40" fmla="*/ 2147483647 w 113"/>
                <a:gd name="T41" fmla="*/ 2147483647 h 52"/>
                <a:gd name="T42" fmla="*/ 2147483647 w 113"/>
                <a:gd name="T43" fmla="*/ 2147483647 h 52"/>
                <a:gd name="T44" fmla="*/ 2147483647 w 113"/>
                <a:gd name="T45" fmla="*/ 2147483647 h 52"/>
                <a:gd name="T46" fmla="*/ 2147483647 w 113"/>
                <a:gd name="T47" fmla="*/ 2147483647 h 52"/>
                <a:gd name="T48" fmla="*/ 2147483647 w 113"/>
                <a:gd name="T49" fmla="*/ 2147483647 h 52"/>
                <a:gd name="T50" fmla="*/ 2147483647 w 113"/>
                <a:gd name="T51" fmla="*/ 2147483647 h 52"/>
                <a:gd name="T52" fmla="*/ 2147483647 w 113"/>
                <a:gd name="T53" fmla="*/ 0 h 52"/>
                <a:gd name="T54" fmla="*/ 2147483647 w 113"/>
                <a:gd name="T55" fmla="*/ 0 h 52"/>
                <a:gd name="T56" fmla="*/ 2147483647 w 113"/>
                <a:gd name="T57" fmla="*/ 2147483647 h 52"/>
                <a:gd name="T58" fmla="*/ 2147483647 w 113"/>
                <a:gd name="T59" fmla="*/ 2147483647 h 52"/>
                <a:gd name="T60" fmla="*/ 2147483647 w 113"/>
                <a:gd name="T61" fmla="*/ 2147483647 h 52"/>
                <a:gd name="T62" fmla="*/ 2147483647 w 113"/>
                <a:gd name="T63" fmla="*/ 2147483647 h 52"/>
                <a:gd name="T64" fmla="*/ 2147483647 w 113"/>
                <a:gd name="T65" fmla="*/ 2147483647 h 52"/>
                <a:gd name="T66" fmla="*/ 2147483647 w 113"/>
                <a:gd name="T67" fmla="*/ 2147483647 h 52"/>
                <a:gd name="T68" fmla="*/ 2147483647 w 113"/>
                <a:gd name="T69" fmla="*/ 2147483647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13"/>
                <a:gd name="T106" fmla="*/ 0 h 52"/>
                <a:gd name="T107" fmla="*/ 113 w 113"/>
                <a:gd name="T108" fmla="*/ 52 h 5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9" name="Freeform 499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7174479" y="1528112"/>
              <a:ext cx="56410" cy="53581"/>
            </a:xfrm>
            <a:custGeom>
              <a:avLst/>
              <a:gdLst>
                <a:gd name="T0" fmla="*/ 0 w 139"/>
                <a:gd name="T1" fmla="*/ 2147483647 h 40"/>
                <a:gd name="T2" fmla="*/ 2147483647 w 139"/>
                <a:gd name="T3" fmla="*/ 2147483647 h 40"/>
                <a:gd name="T4" fmla="*/ 2147483647 w 139"/>
                <a:gd name="T5" fmla="*/ 2147483647 h 40"/>
                <a:gd name="T6" fmla="*/ 2147483647 w 139"/>
                <a:gd name="T7" fmla="*/ 2147483647 h 40"/>
                <a:gd name="T8" fmla="*/ 2147483647 w 139"/>
                <a:gd name="T9" fmla="*/ 2147483647 h 40"/>
                <a:gd name="T10" fmla="*/ 2147483647 w 139"/>
                <a:gd name="T11" fmla="*/ 2147483647 h 40"/>
                <a:gd name="T12" fmla="*/ 2147483647 w 139"/>
                <a:gd name="T13" fmla="*/ 2147483647 h 40"/>
                <a:gd name="T14" fmla="*/ 2147483647 w 139"/>
                <a:gd name="T15" fmla="*/ 0 h 40"/>
                <a:gd name="T16" fmla="*/ 2147483647 w 139"/>
                <a:gd name="T17" fmla="*/ 2147483647 h 40"/>
                <a:gd name="T18" fmla="*/ 2147483647 w 139"/>
                <a:gd name="T19" fmla="*/ 2147483647 h 40"/>
                <a:gd name="T20" fmla="*/ 2147483647 w 139"/>
                <a:gd name="T21" fmla="*/ 2147483647 h 40"/>
                <a:gd name="T22" fmla="*/ 2147483647 w 139"/>
                <a:gd name="T23" fmla="*/ 2147483647 h 40"/>
                <a:gd name="T24" fmla="*/ 2147483647 w 139"/>
                <a:gd name="T25" fmla="*/ 2147483647 h 40"/>
                <a:gd name="T26" fmla="*/ 2147483647 w 139"/>
                <a:gd name="T27" fmla="*/ 2147483647 h 40"/>
                <a:gd name="T28" fmla="*/ 2147483647 w 139"/>
                <a:gd name="T29" fmla="*/ 2147483647 h 40"/>
                <a:gd name="T30" fmla="*/ 2147483647 w 139"/>
                <a:gd name="T31" fmla="*/ 2147483647 h 40"/>
                <a:gd name="T32" fmla="*/ 2147483647 w 139"/>
                <a:gd name="T33" fmla="*/ 2147483647 h 40"/>
                <a:gd name="T34" fmla="*/ 2147483647 w 139"/>
                <a:gd name="T35" fmla="*/ 2147483647 h 40"/>
                <a:gd name="T36" fmla="*/ 2147483647 w 139"/>
                <a:gd name="T37" fmla="*/ 2147483647 h 40"/>
                <a:gd name="T38" fmla="*/ 2147483647 w 139"/>
                <a:gd name="T39" fmla="*/ 2147483647 h 40"/>
                <a:gd name="T40" fmla="*/ 2147483647 w 139"/>
                <a:gd name="T41" fmla="*/ 2147483647 h 40"/>
                <a:gd name="T42" fmla="*/ 0 w 139"/>
                <a:gd name="T43" fmla="*/ 2147483647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39"/>
                <a:gd name="T67" fmla="*/ 0 h 40"/>
                <a:gd name="T68" fmla="*/ 139 w 139"/>
                <a:gd name="T69" fmla="*/ 40 h 4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0" name="Freeform 500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7447854" y="1474530"/>
              <a:ext cx="127286" cy="52134"/>
            </a:xfrm>
            <a:custGeom>
              <a:avLst/>
              <a:gdLst>
                <a:gd name="T0" fmla="*/ 2147483647 w 325"/>
                <a:gd name="T1" fmla="*/ 2147483647 h 71"/>
                <a:gd name="T2" fmla="*/ 2147483647 w 325"/>
                <a:gd name="T3" fmla="*/ 2147483647 h 71"/>
                <a:gd name="T4" fmla="*/ 2147483647 w 325"/>
                <a:gd name="T5" fmla="*/ 0 h 71"/>
                <a:gd name="T6" fmla="*/ 2147483647 w 325"/>
                <a:gd name="T7" fmla="*/ 2147483647 h 71"/>
                <a:gd name="T8" fmla="*/ 2147483647 w 325"/>
                <a:gd name="T9" fmla="*/ 2147483647 h 71"/>
                <a:gd name="T10" fmla="*/ 2147483647 w 325"/>
                <a:gd name="T11" fmla="*/ 2147483647 h 71"/>
                <a:gd name="T12" fmla="*/ 2147483647 w 325"/>
                <a:gd name="T13" fmla="*/ 2147483647 h 71"/>
                <a:gd name="T14" fmla="*/ 2147483647 w 325"/>
                <a:gd name="T15" fmla="*/ 2147483647 h 71"/>
                <a:gd name="T16" fmla="*/ 2147483647 w 325"/>
                <a:gd name="T17" fmla="*/ 2147483647 h 71"/>
                <a:gd name="T18" fmla="*/ 2147483647 w 325"/>
                <a:gd name="T19" fmla="*/ 2147483647 h 71"/>
                <a:gd name="T20" fmla="*/ 2147483647 w 325"/>
                <a:gd name="T21" fmla="*/ 2147483647 h 71"/>
                <a:gd name="T22" fmla="*/ 2147483647 w 325"/>
                <a:gd name="T23" fmla="*/ 2147483647 h 71"/>
                <a:gd name="T24" fmla="*/ 2147483647 w 325"/>
                <a:gd name="T25" fmla="*/ 2147483647 h 71"/>
                <a:gd name="T26" fmla="*/ 2147483647 w 325"/>
                <a:gd name="T27" fmla="*/ 2147483647 h 71"/>
                <a:gd name="T28" fmla="*/ 2147483647 w 325"/>
                <a:gd name="T29" fmla="*/ 2147483647 h 71"/>
                <a:gd name="T30" fmla="*/ 2147483647 w 325"/>
                <a:gd name="T31" fmla="*/ 2147483647 h 71"/>
                <a:gd name="T32" fmla="*/ 2147483647 w 325"/>
                <a:gd name="T33" fmla="*/ 2147483647 h 71"/>
                <a:gd name="T34" fmla="*/ 2147483647 w 325"/>
                <a:gd name="T35" fmla="*/ 2147483647 h 71"/>
                <a:gd name="T36" fmla="*/ 2147483647 w 325"/>
                <a:gd name="T37" fmla="*/ 2147483647 h 71"/>
                <a:gd name="T38" fmla="*/ 2147483647 w 325"/>
                <a:gd name="T39" fmla="*/ 2147483647 h 71"/>
                <a:gd name="T40" fmla="*/ 2147483647 w 325"/>
                <a:gd name="T41" fmla="*/ 2147483647 h 71"/>
                <a:gd name="T42" fmla="*/ 2147483647 w 325"/>
                <a:gd name="T43" fmla="*/ 2147483647 h 71"/>
                <a:gd name="T44" fmla="*/ 2147483647 w 325"/>
                <a:gd name="T45" fmla="*/ 2147483647 h 71"/>
                <a:gd name="T46" fmla="*/ 2147483647 w 325"/>
                <a:gd name="T47" fmla="*/ 2147483647 h 71"/>
                <a:gd name="T48" fmla="*/ 2147483647 w 325"/>
                <a:gd name="T49" fmla="*/ 2147483647 h 71"/>
                <a:gd name="T50" fmla="*/ 2147483647 w 325"/>
                <a:gd name="T51" fmla="*/ 2147483647 h 71"/>
                <a:gd name="T52" fmla="*/ 2147483647 w 325"/>
                <a:gd name="T53" fmla="*/ 2147483647 h 71"/>
                <a:gd name="T54" fmla="*/ 2147483647 w 325"/>
                <a:gd name="T55" fmla="*/ 2147483647 h 71"/>
                <a:gd name="T56" fmla="*/ 2147483647 w 325"/>
                <a:gd name="T57" fmla="*/ 2147483647 h 71"/>
                <a:gd name="T58" fmla="*/ 2147483647 w 325"/>
                <a:gd name="T59" fmla="*/ 2147483647 h 71"/>
                <a:gd name="T60" fmla="*/ 2147483647 w 325"/>
                <a:gd name="T61" fmla="*/ 2147483647 h 71"/>
                <a:gd name="T62" fmla="*/ 0 w 325"/>
                <a:gd name="T63" fmla="*/ 2147483647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25"/>
                <a:gd name="T97" fmla="*/ 0 h 71"/>
                <a:gd name="T98" fmla="*/ 325 w 325"/>
                <a:gd name="T99" fmla="*/ 71 h 7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1" name="Freeform 501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7593944" y="1481771"/>
              <a:ext cx="86786" cy="52134"/>
            </a:xfrm>
            <a:custGeom>
              <a:avLst/>
              <a:gdLst>
                <a:gd name="T0" fmla="*/ 2147483647 w 220"/>
                <a:gd name="T1" fmla="*/ 2147483647 h 72"/>
                <a:gd name="T2" fmla="*/ 2147483647 w 220"/>
                <a:gd name="T3" fmla="*/ 2147483647 h 72"/>
                <a:gd name="T4" fmla="*/ 2147483647 w 220"/>
                <a:gd name="T5" fmla="*/ 2147483647 h 72"/>
                <a:gd name="T6" fmla="*/ 2147483647 w 220"/>
                <a:gd name="T7" fmla="*/ 2147483647 h 72"/>
                <a:gd name="T8" fmla="*/ 2147483647 w 220"/>
                <a:gd name="T9" fmla="*/ 2147483647 h 72"/>
                <a:gd name="T10" fmla="*/ 2147483647 w 220"/>
                <a:gd name="T11" fmla="*/ 2147483647 h 72"/>
                <a:gd name="T12" fmla="*/ 2147483647 w 220"/>
                <a:gd name="T13" fmla="*/ 2147483647 h 72"/>
                <a:gd name="T14" fmla="*/ 2147483647 w 220"/>
                <a:gd name="T15" fmla="*/ 2147483647 h 72"/>
                <a:gd name="T16" fmla="*/ 2147483647 w 220"/>
                <a:gd name="T17" fmla="*/ 2147483647 h 72"/>
                <a:gd name="T18" fmla="*/ 2147483647 w 220"/>
                <a:gd name="T19" fmla="*/ 2147483647 h 72"/>
                <a:gd name="T20" fmla="*/ 2147483647 w 220"/>
                <a:gd name="T21" fmla="*/ 2147483647 h 72"/>
                <a:gd name="T22" fmla="*/ 2147483647 w 220"/>
                <a:gd name="T23" fmla="*/ 2147483647 h 72"/>
                <a:gd name="T24" fmla="*/ 2147483647 w 220"/>
                <a:gd name="T25" fmla="*/ 2147483647 h 72"/>
                <a:gd name="T26" fmla="*/ 2147483647 w 220"/>
                <a:gd name="T27" fmla="*/ 2147483647 h 72"/>
                <a:gd name="T28" fmla="*/ 2147483647 w 220"/>
                <a:gd name="T29" fmla="*/ 0 h 72"/>
                <a:gd name="T30" fmla="*/ 2147483647 w 220"/>
                <a:gd name="T31" fmla="*/ 2147483647 h 72"/>
                <a:gd name="T32" fmla="*/ 2147483647 w 220"/>
                <a:gd name="T33" fmla="*/ 2147483647 h 72"/>
                <a:gd name="T34" fmla="*/ 2147483647 w 220"/>
                <a:gd name="T35" fmla="*/ 2147483647 h 72"/>
                <a:gd name="T36" fmla="*/ 2147483647 w 220"/>
                <a:gd name="T37" fmla="*/ 2147483647 h 72"/>
                <a:gd name="T38" fmla="*/ 2147483647 w 220"/>
                <a:gd name="T39" fmla="*/ 2147483647 h 72"/>
                <a:gd name="T40" fmla="*/ 2147483647 w 220"/>
                <a:gd name="T41" fmla="*/ 2147483647 h 72"/>
                <a:gd name="T42" fmla="*/ 2147483647 w 220"/>
                <a:gd name="T43" fmla="*/ 2147483647 h 72"/>
                <a:gd name="T44" fmla="*/ 2147483647 w 220"/>
                <a:gd name="T45" fmla="*/ 2147483647 h 72"/>
                <a:gd name="T46" fmla="*/ 2147483647 w 220"/>
                <a:gd name="T47" fmla="*/ 2147483647 h 72"/>
                <a:gd name="T48" fmla="*/ 2147483647 w 220"/>
                <a:gd name="T49" fmla="*/ 2147483647 h 72"/>
                <a:gd name="T50" fmla="*/ 2147483647 w 220"/>
                <a:gd name="T51" fmla="*/ 2147483647 h 72"/>
                <a:gd name="T52" fmla="*/ 2147483647 w 220"/>
                <a:gd name="T53" fmla="*/ 2147483647 h 72"/>
                <a:gd name="T54" fmla="*/ 2147483647 w 220"/>
                <a:gd name="T55" fmla="*/ 2147483647 h 72"/>
                <a:gd name="T56" fmla="*/ 2147483647 w 220"/>
                <a:gd name="T57" fmla="*/ 2147483647 h 72"/>
                <a:gd name="T58" fmla="*/ 2147483647 w 220"/>
                <a:gd name="T59" fmla="*/ 2147483647 h 72"/>
                <a:gd name="T60" fmla="*/ 2147483647 w 220"/>
                <a:gd name="T61" fmla="*/ 2147483647 h 72"/>
                <a:gd name="T62" fmla="*/ 2147483647 w 220"/>
                <a:gd name="T63" fmla="*/ 2147483647 h 72"/>
                <a:gd name="T64" fmla="*/ 2147483647 w 220"/>
                <a:gd name="T65" fmla="*/ 2147483647 h 72"/>
                <a:gd name="T66" fmla="*/ 2147483647 w 220"/>
                <a:gd name="T67" fmla="*/ 2147483647 h 72"/>
                <a:gd name="T68" fmla="*/ 2147483647 w 220"/>
                <a:gd name="T69" fmla="*/ 2147483647 h 72"/>
                <a:gd name="T70" fmla="*/ 2147483647 w 220"/>
                <a:gd name="T71" fmla="*/ 2147483647 h 72"/>
                <a:gd name="T72" fmla="*/ 2147483647 w 220"/>
                <a:gd name="T73" fmla="*/ 2147483647 h 72"/>
                <a:gd name="T74" fmla="*/ 2147483647 w 220"/>
                <a:gd name="T75" fmla="*/ 2147483647 h 72"/>
                <a:gd name="T76" fmla="*/ 2147483647 w 220"/>
                <a:gd name="T77" fmla="*/ 2147483647 h 72"/>
                <a:gd name="T78" fmla="*/ 2147483647 w 220"/>
                <a:gd name="T79" fmla="*/ 2147483647 h 72"/>
                <a:gd name="T80" fmla="*/ 2147483647 w 220"/>
                <a:gd name="T81" fmla="*/ 2147483647 h 72"/>
                <a:gd name="T82" fmla="*/ 2147483647 w 220"/>
                <a:gd name="T83" fmla="*/ 2147483647 h 72"/>
                <a:gd name="T84" fmla="*/ 2147483647 w 220"/>
                <a:gd name="T85" fmla="*/ 2147483647 h 72"/>
                <a:gd name="T86" fmla="*/ 2147483647 w 220"/>
                <a:gd name="T87" fmla="*/ 2147483647 h 72"/>
                <a:gd name="T88" fmla="*/ 2147483647 w 220"/>
                <a:gd name="T89" fmla="*/ 2147483647 h 72"/>
                <a:gd name="T90" fmla="*/ 2147483647 w 220"/>
                <a:gd name="T91" fmla="*/ 2147483647 h 72"/>
                <a:gd name="T92" fmla="*/ 2147483647 w 220"/>
                <a:gd name="T93" fmla="*/ 2147483647 h 72"/>
                <a:gd name="T94" fmla="*/ 2147483647 w 220"/>
                <a:gd name="T95" fmla="*/ 2147483647 h 72"/>
                <a:gd name="T96" fmla="*/ 2147483647 w 220"/>
                <a:gd name="T97" fmla="*/ 2147483647 h 72"/>
                <a:gd name="T98" fmla="*/ 2147483647 w 220"/>
                <a:gd name="T99" fmla="*/ 2147483647 h 72"/>
                <a:gd name="T100" fmla="*/ 2147483647 w 220"/>
                <a:gd name="T101" fmla="*/ 2147483647 h 72"/>
                <a:gd name="T102" fmla="*/ 2147483647 w 220"/>
                <a:gd name="T103" fmla="*/ 2147483647 h 72"/>
                <a:gd name="T104" fmla="*/ 0 w 220"/>
                <a:gd name="T105" fmla="*/ 2147483647 h 72"/>
                <a:gd name="T106" fmla="*/ 2147483647 w 220"/>
                <a:gd name="T107" fmla="*/ 2147483647 h 72"/>
                <a:gd name="T108" fmla="*/ 2147483647 w 220"/>
                <a:gd name="T109" fmla="*/ 2147483647 h 72"/>
                <a:gd name="T110" fmla="*/ 2147483647 w 220"/>
                <a:gd name="T111" fmla="*/ 2147483647 h 72"/>
                <a:gd name="T112" fmla="*/ 2147483647 w 220"/>
                <a:gd name="T113" fmla="*/ 2147483647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20"/>
                <a:gd name="T172" fmla="*/ 0 h 72"/>
                <a:gd name="T173" fmla="*/ 220 w 220"/>
                <a:gd name="T174" fmla="*/ 72 h 7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2" name="Freeform 502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7557782" y="1525216"/>
              <a:ext cx="57857" cy="53581"/>
            </a:xfrm>
            <a:custGeom>
              <a:avLst/>
              <a:gdLst>
                <a:gd name="T0" fmla="*/ 2147483647 w 146"/>
                <a:gd name="T1" fmla="*/ 2147483647 h 30"/>
                <a:gd name="T2" fmla="*/ 2147483647 w 146"/>
                <a:gd name="T3" fmla="*/ 2147483647 h 30"/>
                <a:gd name="T4" fmla="*/ 2147483647 w 146"/>
                <a:gd name="T5" fmla="*/ 2147483647 h 30"/>
                <a:gd name="T6" fmla="*/ 2147483647 w 146"/>
                <a:gd name="T7" fmla="*/ 2147483647 h 30"/>
                <a:gd name="T8" fmla="*/ 2147483647 w 146"/>
                <a:gd name="T9" fmla="*/ 2147483647 h 30"/>
                <a:gd name="T10" fmla="*/ 2147483647 w 146"/>
                <a:gd name="T11" fmla="*/ 2147483647 h 30"/>
                <a:gd name="T12" fmla="*/ 2147483647 w 146"/>
                <a:gd name="T13" fmla="*/ 2147483647 h 30"/>
                <a:gd name="T14" fmla="*/ 2147483647 w 146"/>
                <a:gd name="T15" fmla="*/ 2147483647 h 30"/>
                <a:gd name="T16" fmla="*/ 2147483647 w 146"/>
                <a:gd name="T17" fmla="*/ 2147483647 h 30"/>
                <a:gd name="T18" fmla="*/ 2147483647 w 146"/>
                <a:gd name="T19" fmla="*/ 2147483647 h 30"/>
                <a:gd name="T20" fmla="*/ 2147483647 w 146"/>
                <a:gd name="T21" fmla="*/ 2147483647 h 30"/>
                <a:gd name="T22" fmla="*/ 2147483647 w 146"/>
                <a:gd name="T23" fmla="*/ 2147483647 h 30"/>
                <a:gd name="T24" fmla="*/ 2147483647 w 146"/>
                <a:gd name="T25" fmla="*/ 2147483647 h 30"/>
                <a:gd name="T26" fmla="*/ 2147483647 w 146"/>
                <a:gd name="T27" fmla="*/ 2147483647 h 30"/>
                <a:gd name="T28" fmla="*/ 2147483647 w 146"/>
                <a:gd name="T29" fmla="*/ 2147483647 h 30"/>
                <a:gd name="T30" fmla="*/ 2147483647 w 146"/>
                <a:gd name="T31" fmla="*/ 2147483647 h 30"/>
                <a:gd name="T32" fmla="*/ 2147483647 w 146"/>
                <a:gd name="T33" fmla="*/ 2147483647 h 30"/>
                <a:gd name="T34" fmla="*/ 2147483647 w 146"/>
                <a:gd name="T35" fmla="*/ 0 h 30"/>
                <a:gd name="T36" fmla="*/ 2147483647 w 146"/>
                <a:gd name="T37" fmla="*/ 2147483647 h 30"/>
                <a:gd name="T38" fmla="*/ 2147483647 w 146"/>
                <a:gd name="T39" fmla="*/ 2147483647 h 30"/>
                <a:gd name="T40" fmla="*/ 2147483647 w 146"/>
                <a:gd name="T41" fmla="*/ 2147483647 h 30"/>
                <a:gd name="T42" fmla="*/ 0 w 146"/>
                <a:gd name="T43" fmla="*/ 2147483647 h 30"/>
                <a:gd name="T44" fmla="*/ 2147483647 w 146"/>
                <a:gd name="T45" fmla="*/ 2147483647 h 30"/>
                <a:gd name="T46" fmla="*/ 2147483647 w 146"/>
                <a:gd name="T47" fmla="*/ 2147483647 h 30"/>
                <a:gd name="T48" fmla="*/ 2147483647 w 146"/>
                <a:gd name="T49" fmla="*/ 2147483647 h 30"/>
                <a:gd name="T50" fmla="*/ 2147483647 w 146"/>
                <a:gd name="T51" fmla="*/ 2147483647 h 30"/>
                <a:gd name="T52" fmla="*/ 2147483647 w 146"/>
                <a:gd name="T53" fmla="*/ 2147483647 h 30"/>
                <a:gd name="T54" fmla="*/ 2147483647 w 146"/>
                <a:gd name="T55" fmla="*/ 2147483647 h 30"/>
                <a:gd name="T56" fmla="*/ 2147483647 w 146"/>
                <a:gd name="T57" fmla="*/ 2147483647 h 30"/>
                <a:gd name="T58" fmla="*/ 2147483647 w 146"/>
                <a:gd name="T59" fmla="*/ 2147483647 h 30"/>
                <a:gd name="T60" fmla="*/ 2147483647 w 146"/>
                <a:gd name="T61" fmla="*/ 2147483647 h 30"/>
                <a:gd name="T62" fmla="*/ 2147483647 w 146"/>
                <a:gd name="T63" fmla="*/ 2147483647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6"/>
                <a:gd name="T97" fmla="*/ 0 h 30"/>
                <a:gd name="T98" fmla="*/ 146 w 146"/>
                <a:gd name="T99" fmla="*/ 30 h 3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3" name="Freeform 503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7538979" y="1522320"/>
              <a:ext cx="18803" cy="53581"/>
            </a:xfrm>
            <a:custGeom>
              <a:avLst/>
              <a:gdLst>
                <a:gd name="T0" fmla="*/ 0 w 53"/>
                <a:gd name="T1" fmla="*/ 2147483647 h 9"/>
                <a:gd name="T2" fmla="*/ 2147483647 w 53"/>
                <a:gd name="T3" fmla="*/ 2147483647 h 9"/>
                <a:gd name="T4" fmla="*/ 2147483647 w 53"/>
                <a:gd name="T5" fmla="*/ 2147483647 h 9"/>
                <a:gd name="T6" fmla="*/ 2147483647 w 53"/>
                <a:gd name="T7" fmla="*/ 2147483647 h 9"/>
                <a:gd name="T8" fmla="*/ 2147483647 w 53"/>
                <a:gd name="T9" fmla="*/ 2147483647 h 9"/>
                <a:gd name="T10" fmla="*/ 2147483647 w 53"/>
                <a:gd name="T11" fmla="*/ 2147483647 h 9"/>
                <a:gd name="T12" fmla="*/ 2147483647 w 53"/>
                <a:gd name="T13" fmla="*/ 2147483647 h 9"/>
                <a:gd name="T14" fmla="*/ 2147483647 w 53"/>
                <a:gd name="T15" fmla="*/ 2147483647 h 9"/>
                <a:gd name="T16" fmla="*/ 2147483647 w 53"/>
                <a:gd name="T17" fmla="*/ 0 h 9"/>
                <a:gd name="T18" fmla="*/ 2147483647 w 53"/>
                <a:gd name="T19" fmla="*/ 0 h 9"/>
                <a:gd name="T20" fmla="*/ 2147483647 w 53"/>
                <a:gd name="T21" fmla="*/ 0 h 9"/>
                <a:gd name="T22" fmla="*/ 2147483647 w 53"/>
                <a:gd name="T23" fmla="*/ 2147483647 h 9"/>
                <a:gd name="T24" fmla="*/ 2147483647 w 53"/>
                <a:gd name="T25" fmla="*/ 2147483647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3"/>
                <a:gd name="T40" fmla="*/ 0 h 9"/>
                <a:gd name="T41" fmla="*/ 53 w 53"/>
                <a:gd name="T42" fmla="*/ 9 h 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4" name="Line 504"/>
            <p:cNvSpPr>
              <a:spLocks noChangeShapeType="1"/>
            </p:cNvSpPr>
            <p:nvPr>
              <p:custDataLst>
                <p:tags r:id="rId333"/>
              </p:custDataLst>
            </p:nvPr>
          </p:nvSpPr>
          <p:spPr bwMode="auto">
            <a:xfrm flipV="1">
              <a:off x="7540425" y="1520871"/>
              <a:ext cx="0" cy="1449"/>
            </a:xfrm>
            <a:prstGeom prst="line">
              <a:avLst/>
            </a:pr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5" name="Freeform 505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6783944" y="1455705"/>
              <a:ext cx="10125" cy="50685"/>
            </a:xfrm>
            <a:custGeom>
              <a:avLst/>
              <a:gdLst>
                <a:gd name="T0" fmla="*/ 0 w 26"/>
                <a:gd name="T1" fmla="*/ 2147483647 h 25"/>
                <a:gd name="T2" fmla="*/ 2147483647 w 26"/>
                <a:gd name="T3" fmla="*/ 2147483647 h 25"/>
                <a:gd name="T4" fmla="*/ 2147483647 w 26"/>
                <a:gd name="T5" fmla="*/ 2147483647 h 25"/>
                <a:gd name="T6" fmla="*/ 2147483647 w 26"/>
                <a:gd name="T7" fmla="*/ 2147483647 h 25"/>
                <a:gd name="T8" fmla="*/ 2147483647 w 26"/>
                <a:gd name="T9" fmla="*/ 2147483647 h 25"/>
                <a:gd name="T10" fmla="*/ 2147483647 w 26"/>
                <a:gd name="T11" fmla="*/ 2147483647 h 25"/>
                <a:gd name="T12" fmla="*/ 2147483647 w 26"/>
                <a:gd name="T13" fmla="*/ 0 h 25"/>
                <a:gd name="T14" fmla="*/ 2147483647 w 26"/>
                <a:gd name="T15" fmla="*/ 2147483647 h 25"/>
                <a:gd name="T16" fmla="*/ 2147483647 w 26"/>
                <a:gd name="T17" fmla="*/ 2147483647 h 25"/>
                <a:gd name="T18" fmla="*/ 2147483647 w 26"/>
                <a:gd name="T19" fmla="*/ 2147483647 h 25"/>
                <a:gd name="T20" fmla="*/ 0 w 26"/>
                <a:gd name="T21" fmla="*/ 2147483647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6"/>
                <a:gd name="T34" fmla="*/ 0 h 25"/>
                <a:gd name="T35" fmla="*/ 26 w 26"/>
                <a:gd name="T36" fmla="*/ 25 h 2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6" name="Freeform 506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7466658" y="1520871"/>
              <a:ext cx="8679" cy="52134"/>
            </a:xfrm>
            <a:custGeom>
              <a:avLst/>
              <a:gdLst>
                <a:gd name="T0" fmla="*/ 2147483647 w 33"/>
                <a:gd name="T1" fmla="*/ 2147483647 h 25"/>
                <a:gd name="T2" fmla="*/ 2147483647 w 33"/>
                <a:gd name="T3" fmla="*/ 2147483647 h 25"/>
                <a:gd name="T4" fmla="*/ 2147483647 w 33"/>
                <a:gd name="T5" fmla="*/ 0 h 25"/>
                <a:gd name="T6" fmla="*/ 0 w 33"/>
                <a:gd name="T7" fmla="*/ 0 h 25"/>
                <a:gd name="T8" fmla="*/ 2147483647 w 33"/>
                <a:gd name="T9" fmla="*/ 2147483647 h 25"/>
                <a:gd name="T10" fmla="*/ 2147483647 w 33"/>
                <a:gd name="T11" fmla="*/ 2147483647 h 25"/>
                <a:gd name="T12" fmla="*/ 2147483647 w 33"/>
                <a:gd name="T13" fmla="*/ 2147483647 h 25"/>
                <a:gd name="T14" fmla="*/ 2147483647 w 33"/>
                <a:gd name="T15" fmla="*/ 2147483647 h 25"/>
                <a:gd name="T16" fmla="*/ 2147483647 w 33"/>
                <a:gd name="T17" fmla="*/ 2147483647 h 25"/>
                <a:gd name="T18" fmla="*/ 2147483647 w 33"/>
                <a:gd name="T19" fmla="*/ 2147483647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25"/>
                <a:gd name="T32" fmla="*/ 33 w 33"/>
                <a:gd name="T33" fmla="*/ 25 h 2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7" name="Freeform 507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7424711" y="1487564"/>
              <a:ext cx="8679" cy="52134"/>
            </a:xfrm>
            <a:custGeom>
              <a:avLst/>
              <a:gdLst>
                <a:gd name="T0" fmla="*/ 0 w 20"/>
                <a:gd name="T1" fmla="*/ 0 h 18"/>
                <a:gd name="T2" fmla="*/ 2147483647 w 20"/>
                <a:gd name="T3" fmla="*/ 2147483647 h 18"/>
                <a:gd name="T4" fmla="*/ 2147483647 w 20"/>
                <a:gd name="T5" fmla="*/ 2147483647 h 18"/>
                <a:gd name="T6" fmla="*/ 2147483647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"/>
                <a:gd name="T16" fmla="*/ 0 h 18"/>
                <a:gd name="T17" fmla="*/ 20 w 20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8" name="Freeform 508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7880336" y="2007451"/>
              <a:ext cx="11571" cy="53582"/>
            </a:xfrm>
            <a:custGeom>
              <a:avLst/>
              <a:gdLst>
                <a:gd name="T0" fmla="*/ 0 w 33"/>
                <a:gd name="T1" fmla="*/ 2147483647 h 31"/>
                <a:gd name="T2" fmla="*/ 0 w 33"/>
                <a:gd name="T3" fmla="*/ 0 h 31"/>
                <a:gd name="T4" fmla="*/ 2147483647 w 33"/>
                <a:gd name="T5" fmla="*/ 0 h 31"/>
                <a:gd name="T6" fmla="*/ 2147483647 w 33"/>
                <a:gd name="T7" fmla="*/ 0 h 31"/>
                <a:gd name="T8" fmla="*/ 2147483647 w 33"/>
                <a:gd name="T9" fmla="*/ 0 h 31"/>
                <a:gd name="T10" fmla="*/ 2147483647 w 33"/>
                <a:gd name="T11" fmla="*/ 0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2147483647 w 33"/>
                <a:gd name="T19" fmla="*/ 2147483647 h 31"/>
                <a:gd name="T20" fmla="*/ 2147483647 w 33"/>
                <a:gd name="T21" fmla="*/ 2147483647 h 31"/>
                <a:gd name="T22" fmla="*/ 2147483647 w 33"/>
                <a:gd name="T23" fmla="*/ 2147483647 h 31"/>
                <a:gd name="T24" fmla="*/ 2147483647 w 33"/>
                <a:gd name="T25" fmla="*/ 2147483647 h 31"/>
                <a:gd name="T26" fmla="*/ 2147483647 w 33"/>
                <a:gd name="T27" fmla="*/ 2147483647 h 31"/>
                <a:gd name="T28" fmla="*/ 0 w 33"/>
                <a:gd name="T29" fmla="*/ 2147483647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3"/>
                <a:gd name="T46" fmla="*/ 0 h 31"/>
                <a:gd name="T47" fmla="*/ 33 w 33"/>
                <a:gd name="T48" fmla="*/ 31 h 3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9" name="Freeform 509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8147925" y="1571557"/>
              <a:ext cx="50625" cy="53581"/>
            </a:xfrm>
            <a:custGeom>
              <a:avLst/>
              <a:gdLst>
                <a:gd name="T0" fmla="*/ 2147483647 w 129"/>
                <a:gd name="T1" fmla="*/ 2147483647 h 56"/>
                <a:gd name="T2" fmla="*/ 2147483647 w 129"/>
                <a:gd name="T3" fmla="*/ 2147483647 h 56"/>
                <a:gd name="T4" fmla="*/ 2147483647 w 129"/>
                <a:gd name="T5" fmla="*/ 2147483647 h 56"/>
                <a:gd name="T6" fmla="*/ 0 w 129"/>
                <a:gd name="T7" fmla="*/ 2147483647 h 56"/>
                <a:gd name="T8" fmla="*/ 2147483647 w 129"/>
                <a:gd name="T9" fmla="*/ 2147483647 h 56"/>
                <a:gd name="T10" fmla="*/ 2147483647 w 129"/>
                <a:gd name="T11" fmla="*/ 2147483647 h 56"/>
                <a:gd name="T12" fmla="*/ 2147483647 w 129"/>
                <a:gd name="T13" fmla="*/ 2147483647 h 56"/>
                <a:gd name="T14" fmla="*/ 2147483647 w 129"/>
                <a:gd name="T15" fmla="*/ 2147483647 h 56"/>
                <a:gd name="T16" fmla="*/ 2147483647 w 129"/>
                <a:gd name="T17" fmla="*/ 2147483647 h 56"/>
                <a:gd name="T18" fmla="*/ 2147483647 w 129"/>
                <a:gd name="T19" fmla="*/ 2147483647 h 56"/>
                <a:gd name="T20" fmla="*/ 2147483647 w 129"/>
                <a:gd name="T21" fmla="*/ 2147483647 h 56"/>
                <a:gd name="T22" fmla="*/ 2147483647 w 129"/>
                <a:gd name="T23" fmla="*/ 2147483647 h 56"/>
                <a:gd name="T24" fmla="*/ 2147483647 w 129"/>
                <a:gd name="T25" fmla="*/ 0 h 56"/>
                <a:gd name="T26" fmla="*/ 2147483647 w 129"/>
                <a:gd name="T27" fmla="*/ 2147483647 h 56"/>
                <a:gd name="T28" fmla="*/ 2147483647 w 129"/>
                <a:gd name="T29" fmla="*/ 2147483647 h 56"/>
                <a:gd name="T30" fmla="*/ 2147483647 w 129"/>
                <a:gd name="T31" fmla="*/ 2147483647 h 56"/>
                <a:gd name="T32" fmla="*/ 2147483647 w 129"/>
                <a:gd name="T33" fmla="*/ 2147483647 h 56"/>
                <a:gd name="T34" fmla="*/ 2147483647 w 129"/>
                <a:gd name="T35" fmla="*/ 2147483647 h 56"/>
                <a:gd name="T36" fmla="*/ 2147483647 w 129"/>
                <a:gd name="T37" fmla="*/ 2147483647 h 56"/>
                <a:gd name="T38" fmla="*/ 2147483647 w 129"/>
                <a:gd name="T39" fmla="*/ 2147483647 h 56"/>
                <a:gd name="T40" fmla="*/ 2147483647 w 129"/>
                <a:gd name="T41" fmla="*/ 2147483647 h 56"/>
                <a:gd name="T42" fmla="*/ 2147483647 w 129"/>
                <a:gd name="T43" fmla="*/ 2147483647 h 56"/>
                <a:gd name="T44" fmla="*/ 2147483647 w 129"/>
                <a:gd name="T45" fmla="*/ 2147483647 h 56"/>
                <a:gd name="T46" fmla="*/ 2147483647 w 129"/>
                <a:gd name="T47" fmla="*/ 2147483647 h 56"/>
                <a:gd name="T48" fmla="*/ 2147483647 w 129"/>
                <a:gd name="T49" fmla="*/ 2147483647 h 56"/>
                <a:gd name="T50" fmla="*/ 2147483647 w 129"/>
                <a:gd name="T51" fmla="*/ 2147483647 h 56"/>
                <a:gd name="T52" fmla="*/ 2147483647 w 129"/>
                <a:gd name="T53" fmla="*/ 2147483647 h 56"/>
                <a:gd name="T54" fmla="*/ 2147483647 w 129"/>
                <a:gd name="T55" fmla="*/ 2147483647 h 56"/>
                <a:gd name="T56" fmla="*/ 2147483647 w 129"/>
                <a:gd name="T57" fmla="*/ 2147483647 h 56"/>
                <a:gd name="T58" fmla="*/ 2147483647 w 129"/>
                <a:gd name="T59" fmla="*/ 2147483647 h 56"/>
                <a:gd name="T60" fmla="*/ 2147483647 w 129"/>
                <a:gd name="T61" fmla="*/ 2147483647 h 56"/>
                <a:gd name="T62" fmla="*/ 2147483647 w 129"/>
                <a:gd name="T63" fmla="*/ 2147483647 h 56"/>
                <a:gd name="T64" fmla="*/ 2147483647 w 129"/>
                <a:gd name="T65" fmla="*/ 2147483647 h 56"/>
                <a:gd name="T66" fmla="*/ 2147483647 w 129"/>
                <a:gd name="T67" fmla="*/ 2147483647 h 56"/>
                <a:gd name="T68" fmla="*/ 2147483647 w 129"/>
                <a:gd name="T69" fmla="*/ 2147483647 h 56"/>
                <a:gd name="T70" fmla="*/ 2147483647 w 129"/>
                <a:gd name="T71" fmla="*/ 2147483647 h 56"/>
                <a:gd name="T72" fmla="*/ 2147483647 w 129"/>
                <a:gd name="T73" fmla="*/ 2147483647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29"/>
                <a:gd name="T112" fmla="*/ 0 h 56"/>
                <a:gd name="T113" fmla="*/ 129 w 129"/>
                <a:gd name="T114" fmla="*/ 56 h 5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0" name="Freeform 510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8272318" y="1893047"/>
              <a:ext cx="13018" cy="52134"/>
            </a:xfrm>
            <a:custGeom>
              <a:avLst/>
              <a:gdLst>
                <a:gd name="T0" fmla="*/ 2147483647 w 41"/>
                <a:gd name="T1" fmla="*/ 2147483647 h 42"/>
                <a:gd name="T2" fmla="*/ 0 w 41"/>
                <a:gd name="T3" fmla="*/ 2147483647 h 42"/>
                <a:gd name="T4" fmla="*/ 0 w 41"/>
                <a:gd name="T5" fmla="*/ 2147483647 h 42"/>
                <a:gd name="T6" fmla="*/ 2147483647 w 41"/>
                <a:gd name="T7" fmla="*/ 2147483647 h 42"/>
                <a:gd name="T8" fmla="*/ 2147483647 w 41"/>
                <a:gd name="T9" fmla="*/ 2147483647 h 42"/>
                <a:gd name="T10" fmla="*/ 2147483647 w 41"/>
                <a:gd name="T11" fmla="*/ 2147483647 h 42"/>
                <a:gd name="T12" fmla="*/ 2147483647 w 41"/>
                <a:gd name="T13" fmla="*/ 0 h 42"/>
                <a:gd name="T14" fmla="*/ 2147483647 w 41"/>
                <a:gd name="T15" fmla="*/ 2147483647 h 42"/>
                <a:gd name="T16" fmla="*/ 2147483647 w 41"/>
                <a:gd name="T17" fmla="*/ 2147483647 h 42"/>
                <a:gd name="T18" fmla="*/ 2147483647 w 41"/>
                <a:gd name="T19" fmla="*/ 2147483647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1"/>
                <a:gd name="T31" fmla="*/ 0 h 42"/>
                <a:gd name="T32" fmla="*/ 41 w 41"/>
                <a:gd name="T33" fmla="*/ 42 h 4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1" name="Freeform 511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8408282" y="1995865"/>
              <a:ext cx="39054" cy="55030"/>
            </a:xfrm>
            <a:custGeom>
              <a:avLst/>
              <a:gdLst>
                <a:gd name="T0" fmla="*/ 2147483647 w 93"/>
                <a:gd name="T1" fmla="*/ 2147483647 h 39"/>
                <a:gd name="T2" fmla="*/ 2147483647 w 93"/>
                <a:gd name="T3" fmla="*/ 2147483647 h 39"/>
                <a:gd name="T4" fmla="*/ 2147483647 w 93"/>
                <a:gd name="T5" fmla="*/ 2147483647 h 39"/>
                <a:gd name="T6" fmla="*/ 2147483647 w 93"/>
                <a:gd name="T7" fmla="*/ 2147483647 h 39"/>
                <a:gd name="T8" fmla="*/ 2147483647 w 93"/>
                <a:gd name="T9" fmla="*/ 2147483647 h 39"/>
                <a:gd name="T10" fmla="*/ 2147483647 w 93"/>
                <a:gd name="T11" fmla="*/ 2147483647 h 39"/>
                <a:gd name="T12" fmla="*/ 2147483647 w 93"/>
                <a:gd name="T13" fmla="*/ 2147483647 h 39"/>
                <a:gd name="T14" fmla="*/ 2147483647 w 93"/>
                <a:gd name="T15" fmla="*/ 2147483647 h 39"/>
                <a:gd name="T16" fmla="*/ 2147483647 w 93"/>
                <a:gd name="T17" fmla="*/ 2147483647 h 39"/>
                <a:gd name="T18" fmla="*/ 2147483647 w 93"/>
                <a:gd name="T19" fmla="*/ 2147483647 h 39"/>
                <a:gd name="T20" fmla="*/ 2147483647 w 93"/>
                <a:gd name="T21" fmla="*/ 2147483647 h 39"/>
                <a:gd name="T22" fmla="*/ 2147483647 w 93"/>
                <a:gd name="T23" fmla="*/ 2147483647 h 39"/>
                <a:gd name="T24" fmla="*/ 2147483647 w 93"/>
                <a:gd name="T25" fmla="*/ 2147483647 h 39"/>
                <a:gd name="T26" fmla="*/ 2147483647 w 93"/>
                <a:gd name="T27" fmla="*/ 2147483647 h 39"/>
                <a:gd name="T28" fmla="*/ 2147483647 w 93"/>
                <a:gd name="T29" fmla="*/ 2147483647 h 39"/>
                <a:gd name="T30" fmla="*/ 0 w 93"/>
                <a:gd name="T31" fmla="*/ 2147483647 h 39"/>
                <a:gd name="T32" fmla="*/ 2147483647 w 93"/>
                <a:gd name="T33" fmla="*/ 2147483647 h 39"/>
                <a:gd name="T34" fmla="*/ 2147483647 w 93"/>
                <a:gd name="T35" fmla="*/ 0 h 39"/>
                <a:gd name="T36" fmla="*/ 2147483647 w 93"/>
                <a:gd name="T37" fmla="*/ 0 h 39"/>
                <a:gd name="T38" fmla="*/ 2147483647 w 93"/>
                <a:gd name="T39" fmla="*/ 2147483647 h 39"/>
                <a:gd name="T40" fmla="*/ 2147483647 w 93"/>
                <a:gd name="T41" fmla="*/ 2147483647 h 39"/>
                <a:gd name="T42" fmla="*/ 2147483647 w 93"/>
                <a:gd name="T43" fmla="*/ 2147483647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93"/>
                <a:gd name="T67" fmla="*/ 0 h 39"/>
                <a:gd name="T68" fmla="*/ 93 w 93"/>
                <a:gd name="T69" fmla="*/ 39 h 3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2" name="Freeform 512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8454568" y="2010347"/>
              <a:ext cx="17357" cy="53582"/>
            </a:xfrm>
            <a:custGeom>
              <a:avLst/>
              <a:gdLst>
                <a:gd name="T0" fmla="*/ 2147483647 w 39"/>
                <a:gd name="T1" fmla="*/ 2147483647 h 19"/>
                <a:gd name="T2" fmla="*/ 2147483647 w 39"/>
                <a:gd name="T3" fmla="*/ 2147483647 h 19"/>
                <a:gd name="T4" fmla="*/ 2147483647 w 39"/>
                <a:gd name="T5" fmla="*/ 2147483647 h 19"/>
                <a:gd name="T6" fmla="*/ 2147483647 w 39"/>
                <a:gd name="T7" fmla="*/ 2147483647 h 19"/>
                <a:gd name="T8" fmla="*/ 2147483647 w 39"/>
                <a:gd name="T9" fmla="*/ 2147483647 h 19"/>
                <a:gd name="T10" fmla="*/ 2147483647 w 39"/>
                <a:gd name="T11" fmla="*/ 2147483647 h 19"/>
                <a:gd name="T12" fmla="*/ 0 w 39"/>
                <a:gd name="T13" fmla="*/ 2147483647 h 19"/>
                <a:gd name="T14" fmla="*/ 0 w 39"/>
                <a:gd name="T15" fmla="*/ 0 h 19"/>
                <a:gd name="T16" fmla="*/ 2147483647 w 39"/>
                <a:gd name="T17" fmla="*/ 2147483647 h 19"/>
                <a:gd name="T18" fmla="*/ 2147483647 w 39"/>
                <a:gd name="T19" fmla="*/ 2147483647 h 19"/>
                <a:gd name="T20" fmla="*/ 2147483647 w 39"/>
                <a:gd name="T21" fmla="*/ 2147483647 h 19"/>
                <a:gd name="T22" fmla="*/ 2147483647 w 39"/>
                <a:gd name="T23" fmla="*/ 2147483647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9"/>
                <a:gd name="T37" fmla="*/ 0 h 19"/>
                <a:gd name="T38" fmla="*/ 39 w 39"/>
                <a:gd name="T39" fmla="*/ 19 h 1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3" name="Freeform 513"/>
            <p:cNvSpPr>
              <a:spLocks/>
            </p:cNvSpPr>
            <p:nvPr>
              <p:custDataLst>
                <p:tags r:id="rId342"/>
              </p:custDataLst>
            </p:nvPr>
          </p:nvSpPr>
          <p:spPr bwMode="auto">
            <a:xfrm>
              <a:off x="8331622" y="2126199"/>
              <a:ext cx="13017" cy="52134"/>
            </a:xfrm>
            <a:custGeom>
              <a:avLst/>
              <a:gdLst>
                <a:gd name="T0" fmla="*/ 0 w 26"/>
                <a:gd name="T1" fmla="*/ 2147483647 h 36"/>
                <a:gd name="T2" fmla="*/ 2147483647 w 26"/>
                <a:gd name="T3" fmla="*/ 2147483647 h 36"/>
                <a:gd name="T4" fmla="*/ 2147483647 w 26"/>
                <a:gd name="T5" fmla="*/ 2147483647 h 36"/>
                <a:gd name="T6" fmla="*/ 2147483647 w 26"/>
                <a:gd name="T7" fmla="*/ 2147483647 h 36"/>
                <a:gd name="T8" fmla="*/ 2147483647 w 26"/>
                <a:gd name="T9" fmla="*/ 0 h 36"/>
                <a:gd name="T10" fmla="*/ 2147483647 w 26"/>
                <a:gd name="T11" fmla="*/ 2147483647 h 36"/>
                <a:gd name="T12" fmla="*/ 2147483647 w 26"/>
                <a:gd name="T13" fmla="*/ 2147483647 h 36"/>
                <a:gd name="T14" fmla="*/ 2147483647 w 26"/>
                <a:gd name="T15" fmla="*/ 2147483647 h 36"/>
                <a:gd name="T16" fmla="*/ 2147483647 w 26"/>
                <a:gd name="T17" fmla="*/ 2147483647 h 36"/>
                <a:gd name="T18" fmla="*/ 2147483647 w 26"/>
                <a:gd name="T19" fmla="*/ 2147483647 h 36"/>
                <a:gd name="T20" fmla="*/ 2147483647 w 26"/>
                <a:gd name="T21" fmla="*/ 2147483647 h 36"/>
                <a:gd name="T22" fmla="*/ 2147483647 w 26"/>
                <a:gd name="T23" fmla="*/ 2147483647 h 36"/>
                <a:gd name="T24" fmla="*/ 2147483647 w 26"/>
                <a:gd name="T25" fmla="*/ 2147483647 h 36"/>
                <a:gd name="T26" fmla="*/ 2147483647 w 26"/>
                <a:gd name="T27" fmla="*/ 2147483647 h 36"/>
                <a:gd name="T28" fmla="*/ 0 w 26"/>
                <a:gd name="T29" fmla="*/ 2147483647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6"/>
                <a:gd name="T46" fmla="*/ 0 h 36"/>
                <a:gd name="T47" fmla="*/ 26 w 26"/>
                <a:gd name="T48" fmla="*/ 36 h 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4" name="Freeform 514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8341747" y="2152266"/>
              <a:ext cx="2893" cy="55030"/>
            </a:xfrm>
            <a:custGeom>
              <a:avLst/>
              <a:gdLst>
                <a:gd name="T0" fmla="*/ 0 w 6"/>
                <a:gd name="T1" fmla="*/ 2147483647 h 37"/>
                <a:gd name="T2" fmla="*/ 0 w 6"/>
                <a:gd name="T3" fmla="*/ 0 h 37"/>
                <a:gd name="T4" fmla="*/ 2147483647 w 6"/>
                <a:gd name="T5" fmla="*/ 0 h 37"/>
                <a:gd name="T6" fmla="*/ 2147483647 w 6"/>
                <a:gd name="T7" fmla="*/ 2147483647 h 37"/>
                <a:gd name="T8" fmla="*/ 0 w 6"/>
                <a:gd name="T9" fmla="*/ 2147483647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7"/>
                <a:gd name="T17" fmla="*/ 6 w 6"/>
                <a:gd name="T18" fmla="*/ 37 h 3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5" name="Freeform 515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8330175" y="2227570"/>
              <a:ext cx="8679" cy="50686"/>
            </a:xfrm>
            <a:custGeom>
              <a:avLst/>
              <a:gdLst>
                <a:gd name="T0" fmla="*/ 0 w 20"/>
                <a:gd name="T1" fmla="*/ 2147483647 h 43"/>
                <a:gd name="T2" fmla="*/ 0 w 20"/>
                <a:gd name="T3" fmla="*/ 2147483647 h 43"/>
                <a:gd name="T4" fmla="*/ 0 w 20"/>
                <a:gd name="T5" fmla="*/ 2147483647 h 43"/>
                <a:gd name="T6" fmla="*/ 2147483647 w 20"/>
                <a:gd name="T7" fmla="*/ 2147483647 h 43"/>
                <a:gd name="T8" fmla="*/ 2147483647 w 20"/>
                <a:gd name="T9" fmla="*/ 0 h 43"/>
                <a:gd name="T10" fmla="*/ 2147483647 w 20"/>
                <a:gd name="T11" fmla="*/ 2147483647 h 43"/>
                <a:gd name="T12" fmla="*/ 2147483647 w 20"/>
                <a:gd name="T13" fmla="*/ 2147483647 h 43"/>
                <a:gd name="T14" fmla="*/ 2147483647 w 20"/>
                <a:gd name="T15" fmla="*/ 2147483647 h 43"/>
                <a:gd name="T16" fmla="*/ 2147483647 w 20"/>
                <a:gd name="T17" fmla="*/ 2147483647 h 43"/>
                <a:gd name="T18" fmla="*/ 2147483647 w 20"/>
                <a:gd name="T19" fmla="*/ 2147483647 h 43"/>
                <a:gd name="T20" fmla="*/ 2147483647 w 20"/>
                <a:gd name="T21" fmla="*/ 2147483647 h 43"/>
                <a:gd name="T22" fmla="*/ 2147483647 w 20"/>
                <a:gd name="T23" fmla="*/ 2147483647 h 43"/>
                <a:gd name="T24" fmla="*/ 2147483647 w 20"/>
                <a:gd name="T25" fmla="*/ 2147483647 h 43"/>
                <a:gd name="T26" fmla="*/ 2147483647 w 20"/>
                <a:gd name="T27" fmla="*/ 2147483647 h 43"/>
                <a:gd name="T28" fmla="*/ 2147483647 w 20"/>
                <a:gd name="T29" fmla="*/ 2147483647 h 43"/>
                <a:gd name="T30" fmla="*/ 2147483647 w 20"/>
                <a:gd name="T31" fmla="*/ 2147483647 h 43"/>
                <a:gd name="T32" fmla="*/ 2147483647 w 20"/>
                <a:gd name="T33" fmla="*/ 2147483647 h 43"/>
                <a:gd name="T34" fmla="*/ 2147483647 w 20"/>
                <a:gd name="T35" fmla="*/ 2147483647 h 43"/>
                <a:gd name="T36" fmla="*/ 0 w 20"/>
                <a:gd name="T37" fmla="*/ 2147483647 h 43"/>
                <a:gd name="T38" fmla="*/ 0 w 20"/>
                <a:gd name="T39" fmla="*/ 2147483647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0"/>
                <a:gd name="T61" fmla="*/ 0 h 43"/>
                <a:gd name="T62" fmla="*/ 20 w 20"/>
                <a:gd name="T63" fmla="*/ 43 h 4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6" name="Freeform 516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8309925" y="2259429"/>
              <a:ext cx="0" cy="53582"/>
            </a:xfrm>
            <a:custGeom>
              <a:avLst/>
              <a:gdLst>
                <a:gd name="T0" fmla="*/ 2147483647 h 30"/>
                <a:gd name="T1" fmla="*/ 2147483647 h 30"/>
                <a:gd name="T2" fmla="*/ 2147483647 h 30"/>
                <a:gd name="T3" fmla="*/ 2147483647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h 30"/>
                <a:gd name="T11" fmla="*/ 30 h 30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T10" r="0" b="T11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7" name="Freeform 517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8309925" y="2259429"/>
              <a:ext cx="7233" cy="53582"/>
            </a:xfrm>
            <a:custGeom>
              <a:avLst/>
              <a:gdLst>
                <a:gd name="T0" fmla="*/ 0 w 20"/>
                <a:gd name="T1" fmla="*/ 0 h 24"/>
                <a:gd name="T2" fmla="*/ 2147483647 w 20"/>
                <a:gd name="T3" fmla="*/ 0 h 24"/>
                <a:gd name="T4" fmla="*/ 0 w 20"/>
                <a:gd name="T5" fmla="*/ 2147483647 h 24"/>
                <a:gd name="T6" fmla="*/ 0 60000 65536"/>
                <a:gd name="T7" fmla="*/ 0 60000 65536"/>
                <a:gd name="T8" fmla="*/ 0 60000 65536"/>
                <a:gd name="T9" fmla="*/ 0 w 20"/>
                <a:gd name="T10" fmla="*/ 0 h 24"/>
                <a:gd name="T11" fmla="*/ 20 w 20"/>
                <a:gd name="T12" fmla="*/ 24 h 2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8" name="Freeform 518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8085729" y="1882909"/>
              <a:ext cx="15910" cy="55030"/>
            </a:xfrm>
            <a:custGeom>
              <a:avLst/>
              <a:gdLst>
                <a:gd name="T0" fmla="*/ 0 w 46"/>
                <a:gd name="T1" fmla="*/ 0 h 19"/>
                <a:gd name="T2" fmla="*/ 2147483647 w 46"/>
                <a:gd name="T3" fmla="*/ 2147483647 h 19"/>
                <a:gd name="T4" fmla="*/ 2147483647 w 46"/>
                <a:gd name="T5" fmla="*/ 2147483647 h 19"/>
                <a:gd name="T6" fmla="*/ 2147483647 w 46"/>
                <a:gd name="T7" fmla="*/ 2147483647 h 19"/>
                <a:gd name="T8" fmla="*/ 2147483647 w 46"/>
                <a:gd name="T9" fmla="*/ 2147483647 h 19"/>
                <a:gd name="T10" fmla="*/ 2147483647 w 46"/>
                <a:gd name="T11" fmla="*/ 2147483647 h 19"/>
                <a:gd name="T12" fmla="*/ 2147483647 w 46"/>
                <a:gd name="T13" fmla="*/ 2147483647 h 19"/>
                <a:gd name="T14" fmla="*/ 2147483647 w 46"/>
                <a:gd name="T15" fmla="*/ 2147483647 h 19"/>
                <a:gd name="T16" fmla="*/ 2147483647 w 46"/>
                <a:gd name="T17" fmla="*/ 2147483647 h 19"/>
                <a:gd name="T18" fmla="*/ 2147483647 w 46"/>
                <a:gd name="T19" fmla="*/ 2147483647 h 19"/>
                <a:gd name="T20" fmla="*/ 2147483647 w 46"/>
                <a:gd name="T21" fmla="*/ 2147483647 h 19"/>
                <a:gd name="T22" fmla="*/ 2147483647 w 46"/>
                <a:gd name="T23" fmla="*/ 2147483647 h 19"/>
                <a:gd name="T24" fmla="*/ 2147483647 w 46"/>
                <a:gd name="T25" fmla="*/ 2147483647 h 19"/>
                <a:gd name="T26" fmla="*/ 2147483647 w 46"/>
                <a:gd name="T27" fmla="*/ 2147483647 h 19"/>
                <a:gd name="T28" fmla="*/ 2147483647 w 46"/>
                <a:gd name="T29" fmla="*/ 2147483647 h 19"/>
                <a:gd name="T30" fmla="*/ 2147483647 w 46"/>
                <a:gd name="T31" fmla="*/ 2147483647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6"/>
                <a:gd name="T52" fmla="*/ 0 h 19"/>
                <a:gd name="T53" fmla="*/ 46 w 46"/>
                <a:gd name="T54" fmla="*/ 19 h 1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9" name="Freeform 519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5639818" y="2010347"/>
              <a:ext cx="43393" cy="53582"/>
            </a:xfrm>
            <a:custGeom>
              <a:avLst/>
              <a:gdLst>
                <a:gd name="T0" fmla="*/ 2147483647 w 100"/>
                <a:gd name="T1" fmla="*/ 0 h 55"/>
                <a:gd name="T2" fmla="*/ 2147483647 w 100"/>
                <a:gd name="T3" fmla="*/ 2147483647 h 55"/>
                <a:gd name="T4" fmla="*/ 2147483647 w 100"/>
                <a:gd name="T5" fmla="*/ 2147483647 h 55"/>
                <a:gd name="T6" fmla="*/ 2147483647 w 100"/>
                <a:gd name="T7" fmla="*/ 2147483647 h 55"/>
                <a:gd name="T8" fmla="*/ 0 w 100"/>
                <a:gd name="T9" fmla="*/ 2147483647 h 55"/>
                <a:gd name="T10" fmla="*/ 2147483647 w 100"/>
                <a:gd name="T11" fmla="*/ 2147483647 h 55"/>
                <a:gd name="T12" fmla="*/ 2147483647 w 100"/>
                <a:gd name="T13" fmla="*/ 2147483647 h 55"/>
                <a:gd name="T14" fmla="*/ 2147483647 w 100"/>
                <a:gd name="T15" fmla="*/ 2147483647 h 55"/>
                <a:gd name="T16" fmla="*/ 2147483647 w 100"/>
                <a:gd name="T17" fmla="*/ 2147483647 h 55"/>
                <a:gd name="T18" fmla="*/ 2147483647 w 100"/>
                <a:gd name="T19" fmla="*/ 2147483647 h 55"/>
                <a:gd name="T20" fmla="*/ 2147483647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0"/>
                <a:gd name="T34" fmla="*/ 0 h 55"/>
                <a:gd name="T35" fmla="*/ 100 w 100"/>
                <a:gd name="T36" fmla="*/ 55 h 5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0" name="Freeform 520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6049158" y="1638172"/>
              <a:ext cx="39053" cy="53581"/>
            </a:xfrm>
            <a:custGeom>
              <a:avLst/>
              <a:gdLst>
                <a:gd name="T0" fmla="*/ 2147483647 w 99"/>
                <a:gd name="T1" fmla="*/ 2147483647 h 51"/>
                <a:gd name="T2" fmla="*/ 2147483647 w 99"/>
                <a:gd name="T3" fmla="*/ 2147483647 h 51"/>
                <a:gd name="T4" fmla="*/ 2147483647 w 99"/>
                <a:gd name="T5" fmla="*/ 0 h 51"/>
                <a:gd name="T6" fmla="*/ 2147483647 w 99"/>
                <a:gd name="T7" fmla="*/ 0 h 51"/>
                <a:gd name="T8" fmla="*/ 2147483647 w 99"/>
                <a:gd name="T9" fmla="*/ 2147483647 h 51"/>
                <a:gd name="T10" fmla="*/ 2147483647 w 99"/>
                <a:gd name="T11" fmla="*/ 2147483647 h 51"/>
                <a:gd name="T12" fmla="*/ 2147483647 w 99"/>
                <a:gd name="T13" fmla="*/ 2147483647 h 51"/>
                <a:gd name="T14" fmla="*/ 2147483647 w 99"/>
                <a:gd name="T15" fmla="*/ 2147483647 h 51"/>
                <a:gd name="T16" fmla="*/ 2147483647 w 99"/>
                <a:gd name="T17" fmla="*/ 2147483647 h 51"/>
                <a:gd name="T18" fmla="*/ 2147483647 w 99"/>
                <a:gd name="T19" fmla="*/ 2147483647 h 51"/>
                <a:gd name="T20" fmla="*/ 2147483647 w 99"/>
                <a:gd name="T21" fmla="*/ 2147483647 h 51"/>
                <a:gd name="T22" fmla="*/ 2147483647 w 99"/>
                <a:gd name="T23" fmla="*/ 2147483647 h 51"/>
                <a:gd name="T24" fmla="*/ 2147483647 w 99"/>
                <a:gd name="T25" fmla="*/ 2147483647 h 51"/>
                <a:gd name="T26" fmla="*/ 2147483647 w 99"/>
                <a:gd name="T27" fmla="*/ 2147483647 h 51"/>
                <a:gd name="T28" fmla="*/ 2147483647 w 99"/>
                <a:gd name="T29" fmla="*/ 2147483647 h 51"/>
                <a:gd name="T30" fmla="*/ 2147483647 w 99"/>
                <a:gd name="T31" fmla="*/ 2147483647 h 51"/>
                <a:gd name="T32" fmla="*/ 2147483647 w 99"/>
                <a:gd name="T33" fmla="*/ 2147483647 h 51"/>
                <a:gd name="T34" fmla="*/ 2147483647 w 99"/>
                <a:gd name="T35" fmla="*/ 2147483647 h 51"/>
                <a:gd name="T36" fmla="*/ 2147483647 w 99"/>
                <a:gd name="T37" fmla="*/ 2147483647 h 51"/>
                <a:gd name="T38" fmla="*/ 2147483647 w 99"/>
                <a:gd name="T39" fmla="*/ 2147483647 h 51"/>
                <a:gd name="T40" fmla="*/ 2147483647 w 99"/>
                <a:gd name="T41" fmla="*/ 2147483647 h 51"/>
                <a:gd name="T42" fmla="*/ 2147483647 w 99"/>
                <a:gd name="T43" fmla="*/ 2147483647 h 51"/>
                <a:gd name="T44" fmla="*/ 2147483647 w 99"/>
                <a:gd name="T45" fmla="*/ 2147483647 h 51"/>
                <a:gd name="T46" fmla="*/ 2147483647 w 99"/>
                <a:gd name="T47" fmla="*/ 2147483647 h 51"/>
                <a:gd name="T48" fmla="*/ 2147483647 w 99"/>
                <a:gd name="T49" fmla="*/ 2147483647 h 51"/>
                <a:gd name="T50" fmla="*/ 2147483647 w 99"/>
                <a:gd name="T51" fmla="*/ 2147483647 h 51"/>
                <a:gd name="T52" fmla="*/ 2147483647 w 99"/>
                <a:gd name="T53" fmla="*/ 2147483647 h 51"/>
                <a:gd name="T54" fmla="*/ 0 w 99"/>
                <a:gd name="T55" fmla="*/ 2147483647 h 51"/>
                <a:gd name="T56" fmla="*/ 2147483647 w 99"/>
                <a:gd name="T57" fmla="*/ 2147483647 h 51"/>
                <a:gd name="T58" fmla="*/ 2147483647 w 99"/>
                <a:gd name="T59" fmla="*/ 2147483647 h 51"/>
                <a:gd name="T60" fmla="*/ 2147483647 w 99"/>
                <a:gd name="T61" fmla="*/ 2147483647 h 51"/>
                <a:gd name="T62" fmla="*/ 2147483647 w 99"/>
                <a:gd name="T63" fmla="*/ 2147483647 h 51"/>
                <a:gd name="T64" fmla="*/ 2147483647 w 99"/>
                <a:gd name="T65" fmla="*/ 2147483647 h 51"/>
                <a:gd name="T66" fmla="*/ 2147483647 w 99"/>
                <a:gd name="T67" fmla="*/ 2147483647 h 51"/>
                <a:gd name="T68" fmla="*/ 2147483647 w 99"/>
                <a:gd name="T69" fmla="*/ 2147483647 h 51"/>
                <a:gd name="T70" fmla="*/ 2147483647 w 99"/>
                <a:gd name="T71" fmla="*/ 2147483647 h 51"/>
                <a:gd name="T72" fmla="*/ 2147483647 w 99"/>
                <a:gd name="T73" fmla="*/ 2147483647 h 51"/>
                <a:gd name="T74" fmla="*/ 2147483647 w 99"/>
                <a:gd name="T75" fmla="*/ 2147483647 h 51"/>
                <a:gd name="T76" fmla="*/ 2147483647 w 99"/>
                <a:gd name="T77" fmla="*/ 2147483647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9"/>
                <a:gd name="T118" fmla="*/ 0 h 51"/>
                <a:gd name="T119" fmla="*/ 99 w 99"/>
                <a:gd name="T120" fmla="*/ 51 h 5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1" name="Freeform 521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6080979" y="1467290"/>
              <a:ext cx="208286" cy="149159"/>
            </a:xfrm>
            <a:custGeom>
              <a:avLst/>
              <a:gdLst>
                <a:gd name="T0" fmla="*/ 2147483647 w 525"/>
                <a:gd name="T1" fmla="*/ 2147483647 h 311"/>
                <a:gd name="T2" fmla="*/ 2147483647 w 525"/>
                <a:gd name="T3" fmla="*/ 2147483647 h 311"/>
                <a:gd name="T4" fmla="*/ 2147483647 w 525"/>
                <a:gd name="T5" fmla="*/ 2147483647 h 311"/>
                <a:gd name="T6" fmla="*/ 2147483647 w 525"/>
                <a:gd name="T7" fmla="*/ 2147483647 h 311"/>
                <a:gd name="T8" fmla="*/ 2147483647 w 525"/>
                <a:gd name="T9" fmla="*/ 2147483647 h 311"/>
                <a:gd name="T10" fmla="*/ 2147483647 w 525"/>
                <a:gd name="T11" fmla="*/ 2147483647 h 311"/>
                <a:gd name="T12" fmla="*/ 2147483647 w 525"/>
                <a:gd name="T13" fmla="*/ 2147483647 h 311"/>
                <a:gd name="T14" fmla="*/ 2147483647 w 525"/>
                <a:gd name="T15" fmla="*/ 2147483647 h 311"/>
                <a:gd name="T16" fmla="*/ 2147483647 w 525"/>
                <a:gd name="T17" fmla="*/ 2147483647 h 311"/>
                <a:gd name="T18" fmla="*/ 2147483647 w 525"/>
                <a:gd name="T19" fmla="*/ 2147483647 h 311"/>
                <a:gd name="T20" fmla="*/ 2147483647 w 525"/>
                <a:gd name="T21" fmla="*/ 2147483647 h 311"/>
                <a:gd name="T22" fmla="*/ 2147483647 w 525"/>
                <a:gd name="T23" fmla="*/ 2147483647 h 311"/>
                <a:gd name="T24" fmla="*/ 2147483647 w 525"/>
                <a:gd name="T25" fmla="*/ 2147483647 h 311"/>
                <a:gd name="T26" fmla="*/ 2147483647 w 525"/>
                <a:gd name="T27" fmla="*/ 2147483647 h 311"/>
                <a:gd name="T28" fmla="*/ 2147483647 w 525"/>
                <a:gd name="T29" fmla="*/ 2147483647 h 311"/>
                <a:gd name="T30" fmla="*/ 2147483647 w 525"/>
                <a:gd name="T31" fmla="*/ 2147483647 h 311"/>
                <a:gd name="T32" fmla="*/ 2147483647 w 525"/>
                <a:gd name="T33" fmla="*/ 2147483647 h 311"/>
                <a:gd name="T34" fmla="*/ 2147483647 w 525"/>
                <a:gd name="T35" fmla="*/ 2147483647 h 311"/>
                <a:gd name="T36" fmla="*/ 2147483647 w 525"/>
                <a:gd name="T37" fmla="*/ 2147483647 h 311"/>
                <a:gd name="T38" fmla="*/ 2147483647 w 525"/>
                <a:gd name="T39" fmla="*/ 2147483647 h 311"/>
                <a:gd name="T40" fmla="*/ 2147483647 w 525"/>
                <a:gd name="T41" fmla="*/ 2147483647 h 311"/>
                <a:gd name="T42" fmla="*/ 2147483647 w 525"/>
                <a:gd name="T43" fmla="*/ 2147483647 h 311"/>
                <a:gd name="T44" fmla="*/ 2147483647 w 525"/>
                <a:gd name="T45" fmla="*/ 2147483647 h 311"/>
                <a:gd name="T46" fmla="*/ 2147483647 w 525"/>
                <a:gd name="T47" fmla="*/ 2147483647 h 311"/>
                <a:gd name="T48" fmla="*/ 2147483647 w 525"/>
                <a:gd name="T49" fmla="*/ 2147483647 h 311"/>
                <a:gd name="T50" fmla="*/ 2147483647 w 525"/>
                <a:gd name="T51" fmla="*/ 2147483647 h 311"/>
                <a:gd name="T52" fmla="*/ 2147483647 w 525"/>
                <a:gd name="T53" fmla="*/ 2147483647 h 311"/>
                <a:gd name="T54" fmla="*/ 2147483647 w 525"/>
                <a:gd name="T55" fmla="*/ 2147483647 h 311"/>
                <a:gd name="T56" fmla="*/ 2147483647 w 525"/>
                <a:gd name="T57" fmla="*/ 2147483647 h 311"/>
                <a:gd name="T58" fmla="*/ 2147483647 w 525"/>
                <a:gd name="T59" fmla="*/ 2147483647 h 311"/>
                <a:gd name="T60" fmla="*/ 2147483647 w 525"/>
                <a:gd name="T61" fmla="*/ 2147483647 h 311"/>
                <a:gd name="T62" fmla="*/ 2147483647 w 525"/>
                <a:gd name="T63" fmla="*/ 2147483647 h 311"/>
                <a:gd name="T64" fmla="*/ 2147483647 w 525"/>
                <a:gd name="T65" fmla="*/ 2147483647 h 311"/>
                <a:gd name="T66" fmla="*/ 2147483647 w 525"/>
                <a:gd name="T67" fmla="*/ 2147483647 h 311"/>
                <a:gd name="T68" fmla="*/ 2147483647 w 525"/>
                <a:gd name="T69" fmla="*/ 2147483647 h 311"/>
                <a:gd name="T70" fmla="*/ 2147483647 w 525"/>
                <a:gd name="T71" fmla="*/ 2147483647 h 311"/>
                <a:gd name="T72" fmla="*/ 2147483647 w 525"/>
                <a:gd name="T73" fmla="*/ 2147483647 h 311"/>
                <a:gd name="T74" fmla="*/ 2147483647 w 525"/>
                <a:gd name="T75" fmla="*/ 2147483647 h 311"/>
                <a:gd name="T76" fmla="*/ 0 w 525"/>
                <a:gd name="T77" fmla="*/ 2147483647 h 311"/>
                <a:gd name="T78" fmla="*/ 2147483647 w 525"/>
                <a:gd name="T79" fmla="*/ 2147483647 h 311"/>
                <a:gd name="T80" fmla="*/ 2147483647 w 525"/>
                <a:gd name="T81" fmla="*/ 2147483647 h 311"/>
                <a:gd name="T82" fmla="*/ 2147483647 w 525"/>
                <a:gd name="T83" fmla="*/ 2147483647 h 311"/>
                <a:gd name="T84" fmla="*/ 2147483647 w 525"/>
                <a:gd name="T85" fmla="*/ 2147483647 h 311"/>
                <a:gd name="T86" fmla="*/ 2147483647 w 525"/>
                <a:gd name="T87" fmla="*/ 2147483647 h 311"/>
                <a:gd name="T88" fmla="*/ 2147483647 w 525"/>
                <a:gd name="T89" fmla="*/ 2147483647 h 311"/>
                <a:gd name="T90" fmla="*/ 2147483647 w 525"/>
                <a:gd name="T91" fmla="*/ 2147483647 h 311"/>
                <a:gd name="T92" fmla="*/ 2147483647 w 525"/>
                <a:gd name="T93" fmla="*/ 2147483647 h 311"/>
                <a:gd name="T94" fmla="*/ 2147483647 w 525"/>
                <a:gd name="T95" fmla="*/ 2147483647 h 311"/>
                <a:gd name="T96" fmla="*/ 2147483647 w 525"/>
                <a:gd name="T97" fmla="*/ 2147483647 h 311"/>
                <a:gd name="T98" fmla="*/ 2147483647 w 525"/>
                <a:gd name="T99" fmla="*/ 2147483647 h 311"/>
                <a:gd name="T100" fmla="*/ 2147483647 w 525"/>
                <a:gd name="T101" fmla="*/ 2147483647 h 311"/>
                <a:gd name="T102" fmla="*/ 2147483647 w 525"/>
                <a:gd name="T103" fmla="*/ 2147483647 h 311"/>
                <a:gd name="T104" fmla="*/ 2147483647 w 525"/>
                <a:gd name="T105" fmla="*/ 2147483647 h 311"/>
                <a:gd name="T106" fmla="*/ 2147483647 w 525"/>
                <a:gd name="T107" fmla="*/ 2147483647 h 311"/>
                <a:gd name="T108" fmla="*/ 2147483647 w 525"/>
                <a:gd name="T109" fmla="*/ 2147483647 h 311"/>
                <a:gd name="T110" fmla="*/ 2147483647 w 525"/>
                <a:gd name="T111" fmla="*/ 2147483647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25"/>
                <a:gd name="T169" fmla="*/ 0 h 311"/>
                <a:gd name="T170" fmla="*/ 525 w 525"/>
                <a:gd name="T171" fmla="*/ 311 h 31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2" name="Freeform 522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5891497" y="1751128"/>
              <a:ext cx="28929" cy="50685"/>
            </a:xfrm>
            <a:custGeom>
              <a:avLst/>
              <a:gdLst>
                <a:gd name="T0" fmla="*/ 2147483647 w 79"/>
                <a:gd name="T1" fmla="*/ 0 h 38"/>
                <a:gd name="T2" fmla="*/ 2147483647 w 79"/>
                <a:gd name="T3" fmla="*/ 2147483647 h 38"/>
                <a:gd name="T4" fmla="*/ 2147483647 w 79"/>
                <a:gd name="T5" fmla="*/ 2147483647 h 38"/>
                <a:gd name="T6" fmla="*/ 2147483647 w 79"/>
                <a:gd name="T7" fmla="*/ 2147483647 h 38"/>
                <a:gd name="T8" fmla="*/ 2147483647 w 79"/>
                <a:gd name="T9" fmla="*/ 2147483647 h 38"/>
                <a:gd name="T10" fmla="*/ 2147483647 w 79"/>
                <a:gd name="T11" fmla="*/ 2147483647 h 38"/>
                <a:gd name="T12" fmla="*/ 2147483647 w 79"/>
                <a:gd name="T13" fmla="*/ 2147483647 h 38"/>
                <a:gd name="T14" fmla="*/ 2147483647 w 79"/>
                <a:gd name="T15" fmla="*/ 2147483647 h 38"/>
                <a:gd name="T16" fmla="*/ 2147483647 w 79"/>
                <a:gd name="T17" fmla="*/ 2147483647 h 38"/>
                <a:gd name="T18" fmla="*/ 2147483647 w 79"/>
                <a:gd name="T19" fmla="*/ 2147483647 h 38"/>
                <a:gd name="T20" fmla="*/ 2147483647 w 79"/>
                <a:gd name="T21" fmla="*/ 2147483647 h 38"/>
                <a:gd name="T22" fmla="*/ 2147483647 w 79"/>
                <a:gd name="T23" fmla="*/ 2147483647 h 38"/>
                <a:gd name="T24" fmla="*/ 2147483647 w 79"/>
                <a:gd name="T25" fmla="*/ 2147483647 h 38"/>
                <a:gd name="T26" fmla="*/ 2147483647 w 79"/>
                <a:gd name="T27" fmla="*/ 2147483647 h 38"/>
                <a:gd name="T28" fmla="*/ 2147483647 w 79"/>
                <a:gd name="T29" fmla="*/ 2147483647 h 38"/>
                <a:gd name="T30" fmla="*/ 2147483647 w 79"/>
                <a:gd name="T31" fmla="*/ 2147483647 h 38"/>
                <a:gd name="T32" fmla="*/ 2147483647 w 79"/>
                <a:gd name="T33" fmla="*/ 2147483647 h 38"/>
                <a:gd name="T34" fmla="*/ 2147483647 w 79"/>
                <a:gd name="T35" fmla="*/ 2147483647 h 38"/>
                <a:gd name="T36" fmla="*/ 2147483647 w 79"/>
                <a:gd name="T37" fmla="*/ 2147483647 h 38"/>
                <a:gd name="T38" fmla="*/ 2147483647 w 79"/>
                <a:gd name="T39" fmla="*/ 2147483647 h 38"/>
                <a:gd name="T40" fmla="*/ 2147483647 w 79"/>
                <a:gd name="T41" fmla="*/ 2147483647 h 38"/>
                <a:gd name="T42" fmla="*/ 2147483647 w 79"/>
                <a:gd name="T43" fmla="*/ 2147483647 h 38"/>
                <a:gd name="T44" fmla="*/ 2147483647 w 79"/>
                <a:gd name="T45" fmla="*/ 2147483647 h 38"/>
                <a:gd name="T46" fmla="*/ 0 w 79"/>
                <a:gd name="T47" fmla="*/ 2147483647 h 38"/>
                <a:gd name="T48" fmla="*/ 0 w 79"/>
                <a:gd name="T49" fmla="*/ 2147483647 h 38"/>
                <a:gd name="T50" fmla="*/ 2147483647 w 79"/>
                <a:gd name="T51" fmla="*/ 2147483647 h 38"/>
                <a:gd name="T52" fmla="*/ 2147483647 w 79"/>
                <a:gd name="T53" fmla="*/ 2147483647 h 38"/>
                <a:gd name="T54" fmla="*/ 2147483647 w 79"/>
                <a:gd name="T55" fmla="*/ 2147483647 h 38"/>
                <a:gd name="T56" fmla="*/ 2147483647 w 79"/>
                <a:gd name="T57" fmla="*/ 2147483647 h 38"/>
                <a:gd name="T58" fmla="*/ 2147483647 w 79"/>
                <a:gd name="T59" fmla="*/ 2147483647 h 38"/>
                <a:gd name="T60" fmla="*/ 2147483647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9"/>
                <a:gd name="T94" fmla="*/ 0 h 38"/>
                <a:gd name="T95" fmla="*/ 79 w 79"/>
                <a:gd name="T96" fmla="*/ 38 h 38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3" name="Freeform 523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7991711" y="2021932"/>
              <a:ext cx="179357" cy="244738"/>
            </a:xfrm>
            <a:custGeom>
              <a:avLst/>
              <a:gdLst>
                <a:gd name="T0" fmla="*/ 2147483647 w 459"/>
                <a:gd name="T1" fmla="*/ 2147483647 h 511"/>
                <a:gd name="T2" fmla="*/ 2147483647 w 459"/>
                <a:gd name="T3" fmla="*/ 2147483647 h 511"/>
                <a:gd name="T4" fmla="*/ 0 w 459"/>
                <a:gd name="T5" fmla="*/ 0 h 511"/>
                <a:gd name="T6" fmla="*/ 2147483647 w 459"/>
                <a:gd name="T7" fmla="*/ 2147483647 h 511"/>
                <a:gd name="T8" fmla="*/ 2147483647 w 459"/>
                <a:gd name="T9" fmla="*/ 2147483647 h 511"/>
                <a:gd name="T10" fmla="*/ 2147483647 w 459"/>
                <a:gd name="T11" fmla="*/ 2147483647 h 511"/>
                <a:gd name="T12" fmla="*/ 2147483647 w 459"/>
                <a:gd name="T13" fmla="*/ 2147483647 h 511"/>
                <a:gd name="T14" fmla="*/ 2147483647 w 459"/>
                <a:gd name="T15" fmla="*/ 2147483647 h 511"/>
                <a:gd name="T16" fmla="*/ 2147483647 w 459"/>
                <a:gd name="T17" fmla="*/ 2147483647 h 511"/>
                <a:gd name="T18" fmla="*/ 2147483647 w 459"/>
                <a:gd name="T19" fmla="*/ 2147483647 h 511"/>
                <a:gd name="T20" fmla="*/ 2147483647 w 459"/>
                <a:gd name="T21" fmla="*/ 2147483647 h 511"/>
                <a:gd name="T22" fmla="*/ 2147483647 w 459"/>
                <a:gd name="T23" fmla="*/ 2147483647 h 511"/>
                <a:gd name="T24" fmla="*/ 2147483647 w 459"/>
                <a:gd name="T25" fmla="*/ 2147483647 h 511"/>
                <a:gd name="T26" fmla="*/ 2147483647 w 459"/>
                <a:gd name="T27" fmla="*/ 2147483647 h 511"/>
                <a:gd name="T28" fmla="*/ 2147483647 w 459"/>
                <a:gd name="T29" fmla="*/ 2147483647 h 511"/>
                <a:gd name="T30" fmla="*/ 2147483647 w 459"/>
                <a:gd name="T31" fmla="*/ 2147483647 h 511"/>
                <a:gd name="T32" fmla="*/ 2147483647 w 459"/>
                <a:gd name="T33" fmla="*/ 2147483647 h 511"/>
                <a:gd name="T34" fmla="*/ 2147483647 w 459"/>
                <a:gd name="T35" fmla="*/ 2147483647 h 511"/>
                <a:gd name="T36" fmla="*/ 2147483647 w 459"/>
                <a:gd name="T37" fmla="*/ 2147483647 h 511"/>
                <a:gd name="T38" fmla="*/ 2147483647 w 459"/>
                <a:gd name="T39" fmla="*/ 2147483647 h 511"/>
                <a:gd name="T40" fmla="*/ 2147483647 w 459"/>
                <a:gd name="T41" fmla="*/ 2147483647 h 511"/>
                <a:gd name="T42" fmla="*/ 2147483647 w 459"/>
                <a:gd name="T43" fmla="*/ 2147483647 h 511"/>
                <a:gd name="T44" fmla="*/ 2147483647 w 459"/>
                <a:gd name="T45" fmla="*/ 2147483647 h 511"/>
                <a:gd name="T46" fmla="*/ 2147483647 w 459"/>
                <a:gd name="T47" fmla="*/ 2147483647 h 511"/>
                <a:gd name="T48" fmla="*/ 2147483647 w 459"/>
                <a:gd name="T49" fmla="*/ 2147483647 h 511"/>
                <a:gd name="T50" fmla="*/ 2147483647 w 459"/>
                <a:gd name="T51" fmla="*/ 2147483647 h 511"/>
                <a:gd name="T52" fmla="*/ 2147483647 w 459"/>
                <a:gd name="T53" fmla="*/ 2147483647 h 511"/>
                <a:gd name="T54" fmla="*/ 2147483647 w 459"/>
                <a:gd name="T55" fmla="*/ 2147483647 h 511"/>
                <a:gd name="T56" fmla="*/ 2147483647 w 459"/>
                <a:gd name="T57" fmla="*/ 2147483647 h 511"/>
                <a:gd name="T58" fmla="*/ 2147483647 w 459"/>
                <a:gd name="T59" fmla="*/ 2147483647 h 511"/>
                <a:gd name="T60" fmla="*/ 2147483647 w 459"/>
                <a:gd name="T61" fmla="*/ 2147483647 h 511"/>
                <a:gd name="T62" fmla="*/ 2147483647 w 459"/>
                <a:gd name="T63" fmla="*/ 2147483647 h 511"/>
                <a:gd name="T64" fmla="*/ 2147483647 w 459"/>
                <a:gd name="T65" fmla="*/ 2147483647 h 511"/>
                <a:gd name="T66" fmla="*/ 2147483647 w 459"/>
                <a:gd name="T67" fmla="*/ 2147483647 h 511"/>
                <a:gd name="T68" fmla="*/ 2147483647 w 459"/>
                <a:gd name="T69" fmla="*/ 2147483647 h 511"/>
                <a:gd name="T70" fmla="*/ 2147483647 w 459"/>
                <a:gd name="T71" fmla="*/ 2147483647 h 511"/>
                <a:gd name="T72" fmla="*/ 2147483647 w 459"/>
                <a:gd name="T73" fmla="*/ 2147483647 h 511"/>
                <a:gd name="T74" fmla="*/ 2147483647 w 459"/>
                <a:gd name="T75" fmla="*/ 2147483647 h 511"/>
                <a:gd name="T76" fmla="*/ 2147483647 w 459"/>
                <a:gd name="T77" fmla="*/ 2147483647 h 511"/>
                <a:gd name="T78" fmla="*/ 2147483647 w 459"/>
                <a:gd name="T79" fmla="*/ 2147483647 h 511"/>
                <a:gd name="T80" fmla="*/ 2147483647 w 459"/>
                <a:gd name="T81" fmla="*/ 2147483647 h 511"/>
                <a:gd name="T82" fmla="*/ 2147483647 w 459"/>
                <a:gd name="T83" fmla="*/ 2147483647 h 511"/>
                <a:gd name="T84" fmla="*/ 2147483647 w 459"/>
                <a:gd name="T85" fmla="*/ 2147483647 h 511"/>
                <a:gd name="T86" fmla="*/ 2147483647 w 459"/>
                <a:gd name="T87" fmla="*/ 2147483647 h 511"/>
                <a:gd name="T88" fmla="*/ 2147483647 w 459"/>
                <a:gd name="T89" fmla="*/ 2147483647 h 511"/>
                <a:gd name="T90" fmla="*/ 2147483647 w 459"/>
                <a:gd name="T91" fmla="*/ 2147483647 h 511"/>
                <a:gd name="T92" fmla="*/ 2147483647 w 459"/>
                <a:gd name="T93" fmla="*/ 214748364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59"/>
                <a:gd name="T142" fmla="*/ 0 h 511"/>
                <a:gd name="T143" fmla="*/ 459 w 459"/>
                <a:gd name="T144" fmla="*/ 511 h 511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5" name="Freeform 525"/>
            <p:cNvSpPr>
              <a:spLocks/>
            </p:cNvSpPr>
            <p:nvPr/>
          </p:nvSpPr>
          <p:spPr bwMode="auto">
            <a:xfrm>
              <a:off x="7405469" y="1981384"/>
              <a:ext cx="95903" cy="123520"/>
            </a:xfrm>
            <a:custGeom>
              <a:avLst/>
              <a:gdLst>
                <a:gd name="T0" fmla="*/ 0 w 240"/>
                <a:gd name="T1" fmla="*/ 0 h 259"/>
                <a:gd name="T2" fmla="*/ 0 w 240"/>
                <a:gd name="T3" fmla="*/ 0 h 259"/>
                <a:gd name="T4" fmla="*/ 0 w 240"/>
                <a:gd name="T5" fmla="*/ 0 h 259"/>
                <a:gd name="T6" fmla="*/ 0 w 240"/>
                <a:gd name="T7" fmla="*/ 0 h 259"/>
                <a:gd name="T8" fmla="*/ 0 w 240"/>
                <a:gd name="T9" fmla="*/ 0 h 259"/>
                <a:gd name="T10" fmla="*/ 0 w 240"/>
                <a:gd name="T11" fmla="*/ 0 h 259"/>
                <a:gd name="T12" fmla="*/ 0 w 240"/>
                <a:gd name="T13" fmla="*/ 0 h 259"/>
                <a:gd name="T14" fmla="*/ 0 w 240"/>
                <a:gd name="T15" fmla="*/ 0 h 259"/>
                <a:gd name="T16" fmla="*/ 0 w 240"/>
                <a:gd name="T17" fmla="*/ 0 h 259"/>
                <a:gd name="T18" fmla="*/ 0 w 240"/>
                <a:gd name="T19" fmla="*/ 0 h 259"/>
                <a:gd name="T20" fmla="*/ 0 w 240"/>
                <a:gd name="T21" fmla="*/ 0 h 259"/>
                <a:gd name="T22" fmla="*/ 0 w 240"/>
                <a:gd name="T23" fmla="*/ 0 h 259"/>
                <a:gd name="T24" fmla="*/ 0 w 240"/>
                <a:gd name="T25" fmla="*/ 0 h 259"/>
                <a:gd name="T26" fmla="*/ 0 w 240"/>
                <a:gd name="T27" fmla="*/ 0 h 259"/>
                <a:gd name="T28" fmla="*/ 0 w 240"/>
                <a:gd name="T29" fmla="*/ 0 h 259"/>
                <a:gd name="T30" fmla="*/ 0 w 240"/>
                <a:gd name="T31" fmla="*/ 0 h 259"/>
                <a:gd name="T32" fmla="*/ 0 w 240"/>
                <a:gd name="T33" fmla="*/ 0 h 2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40"/>
                <a:gd name="T52" fmla="*/ 0 h 259"/>
                <a:gd name="T53" fmla="*/ 240 w 240"/>
                <a:gd name="T54" fmla="*/ 259 h 25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6" name="Freeform 526"/>
            <p:cNvSpPr>
              <a:spLocks/>
            </p:cNvSpPr>
            <p:nvPr/>
          </p:nvSpPr>
          <p:spPr bwMode="auto">
            <a:xfrm>
              <a:off x="6889532" y="2283003"/>
              <a:ext cx="101973" cy="48834"/>
            </a:xfrm>
            <a:custGeom>
              <a:avLst/>
              <a:gdLst>
                <a:gd name="T0" fmla="*/ 0 w 259"/>
                <a:gd name="T1" fmla="*/ 0 h 104"/>
                <a:gd name="T2" fmla="*/ 0 w 259"/>
                <a:gd name="T3" fmla="*/ 0 h 104"/>
                <a:gd name="T4" fmla="*/ 0 w 259"/>
                <a:gd name="T5" fmla="*/ 0 h 104"/>
                <a:gd name="T6" fmla="*/ 0 w 259"/>
                <a:gd name="T7" fmla="*/ 0 h 104"/>
                <a:gd name="T8" fmla="*/ 0 w 259"/>
                <a:gd name="T9" fmla="*/ 0 h 104"/>
                <a:gd name="T10" fmla="*/ 0 w 259"/>
                <a:gd name="T11" fmla="*/ 0 h 104"/>
                <a:gd name="T12" fmla="*/ 0 w 259"/>
                <a:gd name="T13" fmla="*/ 0 h 104"/>
                <a:gd name="T14" fmla="*/ 0 w 259"/>
                <a:gd name="T15" fmla="*/ 0 h 104"/>
                <a:gd name="T16" fmla="*/ 0 w 259"/>
                <a:gd name="T17" fmla="*/ 0 h 104"/>
                <a:gd name="T18" fmla="*/ 0 w 259"/>
                <a:gd name="T19" fmla="*/ 0 h 104"/>
                <a:gd name="T20" fmla="*/ 0 w 259"/>
                <a:gd name="T21" fmla="*/ 0 h 104"/>
                <a:gd name="T22" fmla="*/ 0 w 259"/>
                <a:gd name="T23" fmla="*/ 0 h 104"/>
                <a:gd name="T24" fmla="*/ 0 w 259"/>
                <a:gd name="T25" fmla="*/ 0 h 104"/>
                <a:gd name="T26" fmla="*/ 0 w 259"/>
                <a:gd name="T27" fmla="*/ 0 h 104"/>
                <a:gd name="T28" fmla="*/ 0 w 259"/>
                <a:gd name="T29" fmla="*/ 0 h 104"/>
                <a:gd name="T30" fmla="*/ 0 w 259"/>
                <a:gd name="T31" fmla="*/ 0 h 104"/>
                <a:gd name="T32" fmla="*/ 0 w 259"/>
                <a:gd name="T33" fmla="*/ 0 h 10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59"/>
                <a:gd name="T52" fmla="*/ 0 h 104"/>
                <a:gd name="T53" fmla="*/ 259 w 259"/>
                <a:gd name="T54" fmla="*/ 104 h 10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7" name="Freeform 527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6030354" y="2664912"/>
              <a:ext cx="483107" cy="466305"/>
            </a:xfrm>
            <a:custGeom>
              <a:avLst/>
              <a:gdLst>
                <a:gd name="T0" fmla="*/ 2147483647 w 1227"/>
                <a:gd name="T1" fmla="*/ 2147483647 h 979"/>
                <a:gd name="T2" fmla="*/ 2147483647 w 1227"/>
                <a:gd name="T3" fmla="*/ 2147483647 h 979"/>
                <a:gd name="T4" fmla="*/ 2147483647 w 1227"/>
                <a:gd name="T5" fmla="*/ 2147483647 h 979"/>
                <a:gd name="T6" fmla="*/ 2147483647 w 1227"/>
                <a:gd name="T7" fmla="*/ 2147483647 h 979"/>
                <a:gd name="T8" fmla="*/ 2147483647 w 1227"/>
                <a:gd name="T9" fmla="*/ 2147483647 h 979"/>
                <a:gd name="T10" fmla="*/ 2147483647 w 1227"/>
                <a:gd name="T11" fmla="*/ 2147483647 h 979"/>
                <a:gd name="T12" fmla="*/ 2147483647 w 1227"/>
                <a:gd name="T13" fmla="*/ 2147483647 h 979"/>
                <a:gd name="T14" fmla="*/ 2147483647 w 1227"/>
                <a:gd name="T15" fmla="*/ 2147483647 h 979"/>
                <a:gd name="T16" fmla="*/ 2147483647 w 1227"/>
                <a:gd name="T17" fmla="*/ 2147483647 h 979"/>
                <a:gd name="T18" fmla="*/ 2147483647 w 1227"/>
                <a:gd name="T19" fmla="*/ 2147483647 h 979"/>
                <a:gd name="T20" fmla="*/ 2147483647 w 1227"/>
                <a:gd name="T21" fmla="*/ 2147483647 h 979"/>
                <a:gd name="T22" fmla="*/ 2147483647 w 1227"/>
                <a:gd name="T23" fmla="*/ 2147483647 h 979"/>
                <a:gd name="T24" fmla="*/ 2147483647 w 1227"/>
                <a:gd name="T25" fmla="*/ 2147483647 h 979"/>
                <a:gd name="T26" fmla="*/ 2147483647 w 1227"/>
                <a:gd name="T27" fmla="*/ 2147483647 h 979"/>
                <a:gd name="T28" fmla="*/ 2147483647 w 1227"/>
                <a:gd name="T29" fmla="*/ 2147483647 h 979"/>
                <a:gd name="T30" fmla="*/ 2147483647 w 1227"/>
                <a:gd name="T31" fmla="*/ 2147483647 h 979"/>
                <a:gd name="T32" fmla="*/ 2147483647 w 1227"/>
                <a:gd name="T33" fmla="*/ 2147483647 h 979"/>
                <a:gd name="T34" fmla="*/ 2147483647 w 1227"/>
                <a:gd name="T35" fmla="*/ 2147483647 h 979"/>
                <a:gd name="T36" fmla="*/ 2147483647 w 1227"/>
                <a:gd name="T37" fmla="*/ 2147483647 h 979"/>
                <a:gd name="T38" fmla="*/ 2147483647 w 1227"/>
                <a:gd name="T39" fmla="*/ 2147483647 h 979"/>
                <a:gd name="T40" fmla="*/ 2147483647 w 1227"/>
                <a:gd name="T41" fmla="*/ 2147483647 h 979"/>
                <a:gd name="T42" fmla="*/ 2147483647 w 1227"/>
                <a:gd name="T43" fmla="*/ 2147483647 h 979"/>
                <a:gd name="T44" fmla="*/ 2147483647 w 1227"/>
                <a:gd name="T45" fmla="*/ 2147483647 h 979"/>
                <a:gd name="T46" fmla="*/ 2147483647 w 1227"/>
                <a:gd name="T47" fmla="*/ 2147483647 h 979"/>
                <a:gd name="T48" fmla="*/ 2147483647 w 1227"/>
                <a:gd name="T49" fmla="*/ 2147483647 h 979"/>
                <a:gd name="T50" fmla="*/ 2147483647 w 1227"/>
                <a:gd name="T51" fmla="*/ 2147483647 h 979"/>
                <a:gd name="T52" fmla="*/ 2147483647 w 1227"/>
                <a:gd name="T53" fmla="*/ 2147483647 h 979"/>
                <a:gd name="T54" fmla="*/ 2147483647 w 1227"/>
                <a:gd name="T55" fmla="*/ 2147483647 h 979"/>
                <a:gd name="T56" fmla="*/ 2147483647 w 1227"/>
                <a:gd name="T57" fmla="*/ 2147483647 h 979"/>
                <a:gd name="T58" fmla="*/ 0 w 1227"/>
                <a:gd name="T59" fmla="*/ 2147483647 h 979"/>
                <a:gd name="T60" fmla="*/ 2147483647 w 1227"/>
                <a:gd name="T61" fmla="*/ 2147483647 h 979"/>
                <a:gd name="T62" fmla="*/ 2147483647 w 1227"/>
                <a:gd name="T63" fmla="*/ 2147483647 h 979"/>
                <a:gd name="T64" fmla="*/ 2147483647 w 1227"/>
                <a:gd name="T65" fmla="*/ 2147483647 h 979"/>
                <a:gd name="T66" fmla="*/ 2147483647 w 1227"/>
                <a:gd name="T67" fmla="*/ 2147483647 h 979"/>
                <a:gd name="T68" fmla="*/ 2147483647 w 1227"/>
                <a:gd name="T69" fmla="*/ 2147483647 h 979"/>
                <a:gd name="T70" fmla="*/ 2147483647 w 1227"/>
                <a:gd name="T71" fmla="*/ 2147483647 h 979"/>
                <a:gd name="T72" fmla="*/ 2147483647 w 1227"/>
                <a:gd name="T73" fmla="*/ 2147483647 h 979"/>
                <a:gd name="T74" fmla="*/ 2147483647 w 1227"/>
                <a:gd name="T75" fmla="*/ 2147483647 h 979"/>
                <a:gd name="T76" fmla="*/ 2147483647 w 1227"/>
                <a:gd name="T77" fmla="*/ 2147483647 h 979"/>
                <a:gd name="T78" fmla="*/ 2147483647 w 1227"/>
                <a:gd name="T79" fmla="*/ 2147483647 h 979"/>
                <a:gd name="T80" fmla="*/ 2147483647 w 1227"/>
                <a:gd name="T81" fmla="*/ 2147483647 h 979"/>
                <a:gd name="T82" fmla="*/ 2147483647 w 1227"/>
                <a:gd name="T83" fmla="*/ 2147483647 h 979"/>
                <a:gd name="T84" fmla="*/ 2147483647 w 1227"/>
                <a:gd name="T85" fmla="*/ 2147483647 h 979"/>
                <a:gd name="T86" fmla="*/ 2147483647 w 1227"/>
                <a:gd name="T87" fmla="*/ 2147483647 h 979"/>
                <a:gd name="T88" fmla="*/ 2147483647 w 1227"/>
                <a:gd name="T89" fmla="*/ 2147483647 h 979"/>
                <a:gd name="T90" fmla="*/ 2147483647 w 1227"/>
                <a:gd name="T91" fmla="*/ 2147483647 h 979"/>
                <a:gd name="T92" fmla="*/ 2147483647 w 1227"/>
                <a:gd name="T93" fmla="*/ 2147483647 h 979"/>
                <a:gd name="T94" fmla="*/ 2147483647 w 1227"/>
                <a:gd name="T95" fmla="*/ 2147483647 h 979"/>
                <a:gd name="T96" fmla="*/ 2147483647 w 1227"/>
                <a:gd name="T97" fmla="*/ 2147483647 h 979"/>
                <a:gd name="T98" fmla="*/ 2147483647 w 1227"/>
                <a:gd name="T99" fmla="*/ 2147483647 h 979"/>
                <a:gd name="T100" fmla="*/ 2147483647 w 1227"/>
                <a:gd name="T101" fmla="*/ 2147483647 h 979"/>
                <a:gd name="T102" fmla="*/ 2147483647 w 1227"/>
                <a:gd name="T103" fmla="*/ 2147483647 h 979"/>
                <a:gd name="T104" fmla="*/ 2147483647 w 1227"/>
                <a:gd name="T105" fmla="*/ 2147483647 h 979"/>
                <a:gd name="T106" fmla="*/ 2147483647 w 1227"/>
                <a:gd name="T107" fmla="*/ 2147483647 h 979"/>
                <a:gd name="T108" fmla="*/ 2147483647 w 1227"/>
                <a:gd name="T109" fmla="*/ 2147483647 h 979"/>
                <a:gd name="T110" fmla="*/ 2147483647 w 1227"/>
                <a:gd name="T111" fmla="*/ 2147483647 h 979"/>
                <a:gd name="T112" fmla="*/ 2147483647 w 1227"/>
                <a:gd name="T113" fmla="*/ 2147483647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227"/>
                <a:gd name="T172" fmla="*/ 0 h 979"/>
                <a:gd name="T173" fmla="*/ 1227 w 1227"/>
                <a:gd name="T174" fmla="*/ 979 h 979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8" name="Freeform 528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5551586" y="2249293"/>
              <a:ext cx="52071" cy="52134"/>
            </a:xfrm>
            <a:custGeom>
              <a:avLst/>
              <a:gdLst>
                <a:gd name="T0" fmla="*/ 2147483647 w 146"/>
                <a:gd name="T1" fmla="*/ 2147483647 h 81"/>
                <a:gd name="T2" fmla="*/ 2147483647 w 146"/>
                <a:gd name="T3" fmla="*/ 2147483647 h 81"/>
                <a:gd name="T4" fmla="*/ 2147483647 w 146"/>
                <a:gd name="T5" fmla="*/ 2147483647 h 81"/>
                <a:gd name="T6" fmla="*/ 2147483647 w 146"/>
                <a:gd name="T7" fmla="*/ 2147483647 h 81"/>
                <a:gd name="T8" fmla="*/ 2147483647 w 146"/>
                <a:gd name="T9" fmla="*/ 2147483647 h 81"/>
                <a:gd name="T10" fmla="*/ 2147483647 w 146"/>
                <a:gd name="T11" fmla="*/ 2147483647 h 81"/>
                <a:gd name="T12" fmla="*/ 2147483647 w 146"/>
                <a:gd name="T13" fmla="*/ 2147483647 h 81"/>
                <a:gd name="T14" fmla="*/ 2147483647 w 146"/>
                <a:gd name="T15" fmla="*/ 2147483647 h 81"/>
                <a:gd name="T16" fmla="*/ 2147483647 w 146"/>
                <a:gd name="T17" fmla="*/ 2147483647 h 81"/>
                <a:gd name="T18" fmla="*/ 2147483647 w 146"/>
                <a:gd name="T19" fmla="*/ 2147483647 h 81"/>
                <a:gd name="T20" fmla="*/ 2147483647 w 146"/>
                <a:gd name="T21" fmla="*/ 2147483647 h 81"/>
                <a:gd name="T22" fmla="*/ 2147483647 w 146"/>
                <a:gd name="T23" fmla="*/ 2147483647 h 81"/>
                <a:gd name="T24" fmla="*/ 2147483647 w 146"/>
                <a:gd name="T25" fmla="*/ 2147483647 h 81"/>
                <a:gd name="T26" fmla="*/ 2147483647 w 146"/>
                <a:gd name="T27" fmla="*/ 2147483647 h 81"/>
                <a:gd name="T28" fmla="*/ 0 w 146"/>
                <a:gd name="T29" fmla="*/ 2147483647 h 81"/>
                <a:gd name="T30" fmla="*/ 0 w 146"/>
                <a:gd name="T31" fmla="*/ 2147483647 h 81"/>
                <a:gd name="T32" fmla="*/ 0 w 146"/>
                <a:gd name="T33" fmla="*/ 2147483647 h 81"/>
                <a:gd name="T34" fmla="*/ 0 w 146"/>
                <a:gd name="T35" fmla="*/ 2147483647 h 81"/>
                <a:gd name="T36" fmla="*/ 0 w 146"/>
                <a:gd name="T37" fmla="*/ 2147483647 h 81"/>
                <a:gd name="T38" fmla="*/ 2147483647 w 146"/>
                <a:gd name="T39" fmla="*/ 2147483647 h 81"/>
                <a:gd name="T40" fmla="*/ 2147483647 w 146"/>
                <a:gd name="T41" fmla="*/ 2147483647 h 81"/>
                <a:gd name="T42" fmla="*/ 2147483647 w 146"/>
                <a:gd name="T43" fmla="*/ 2147483647 h 81"/>
                <a:gd name="T44" fmla="*/ 2147483647 w 146"/>
                <a:gd name="T45" fmla="*/ 2147483647 h 81"/>
                <a:gd name="T46" fmla="*/ 2147483647 w 146"/>
                <a:gd name="T47" fmla="*/ 2147483647 h 81"/>
                <a:gd name="T48" fmla="*/ 2147483647 w 146"/>
                <a:gd name="T49" fmla="*/ 2147483647 h 81"/>
                <a:gd name="T50" fmla="*/ 2147483647 w 146"/>
                <a:gd name="T51" fmla="*/ 2147483647 h 81"/>
                <a:gd name="T52" fmla="*/ 2147483647 w 146"/>
                <a:gd name="T53" fmla="*/ 2147483647 h 81"/>
                <a:gd name="T54" fmla="*/ 2147483647 w 146"/>
                <a:gd name="T55" fmla="*/ 2147483647 h 81"/>
                <a:gd name="T56" fmla="*/ 2147483647 w 146"/>
                <a:gd name="T57" fmla="*/ 0 h 81"/>
                <a:gd name="T58" fmla="*/ 2147483647 w 146"/>
                <a:gd name="T59" fmla="*/ 2147483647 h 81"/>
                <a:gd name="T60" fmla="*/ 2147483647 w 146"/>
                <a:gd name="T61" fmla="*/ 2147483647 h 81"/>
                <a:gd name="T62" fmla="*/ 2147483647 w 146"/>
                <a:gd name="T63" fmla="*/ 2147483647 h 81"/>
                <a:gd name="T64" fmla="*/ 2147483647 w 146"/>
                <a:gd name="T65" fmla="*/ 2147483647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46"/>
                <a:gd name="T100" fmla="*/ 0 h 81"/>
                <a:gd name="T101" fmla="*/ 146 w 146"/>
                <a:gd name="T102" fmla="*/ 81 h 8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9" name="Freeform 529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5314372" y="2443345"/>
              <a:ext cx="14464" cy="52134"/>
            </a:xfrm>
            <a:custGeom>
              <a:avLst/>
              <a:gdLst>
                <a:gd name="T0" fmla="*/ 2147483647 w 34"/>
                <a:gd name="T1" fmla="*/ 2147483647 h 49"/>
                <a:gd name="T2" fmla="*/ 2147483647 w 34"/>
                <a:gd name="T3" fmla="*/ 2147483647 h 49"/>
                <a:gd name="T4" fmla="*/ 2147483647 w 34"/>
                <a:gd name="T5" fmla="*/ 2147483647 h 49"/>
                <a:gd name="T6" fmla="*/ 2147483647 w 34"/>
                <a:gd name="T7" fmla="*/ 2147483647 h 49"/>
                <a:gd name="T8" fmla="*/ 2147483647 w 34"/>
                <a:gd name="T9" fmla="*/ 2147483647 h 49"/>
                <a:gd name="T10" fmla="*/ 2147483647 w 34"/>
                <a:gd name="T11" fmla="*/ 2147483647 h 49"/>
                <a:gd name="T12" fmla="*/ 2147483647 w 34"/>
                <a:gd name="T13" fmla="*/ 2147483647 h 49"/>
                <a:gd name="T14" fmla="*/ 2147483647 w 34"/>
                <a:gd name="T15" fmla="*/ 2147483647 h 49"/>
                <a:gd name="T16" fmla="*/ 2147483647 w 34"/>
                <a:gd name="T17" fmla="*/ 0 h 49"/>
                <a:gd name="T18" fmla="*/ 2147483647 w 34"/>
                <a:gd name="T19" fmla="*/ 0 h 49"/>
                <a:gd name="T20" fmla="*/ 0 w 34"/>
                <a:gd name="T21" fmla="*/ 0 h 49"/>
                <a:gd name="T22" fmla="*/ 2147483647 w 34"/>
                <a:gd name="T23" fmla="*/ 2147483647 h 49"/>
                <a:gd name="T24" fmla="*/ 2147483647 w 34"/>
                <a:gd name="T25" fmla="*/ 2147483647 h 49"/>
                <a:gd name="T26" fmla="*/ 2147483647 w 34"/>
                <a:gd name="T27" fmla="*/ 2147483647 h 49"/>
                <a:gd name="T28" fmla="*/ 2147483647 w 34"/>
                <a:gd name="T29" fmla="*/ 2147483647 h 49"/>
                <a:gd name="T30" fmla="*/ 2147483647 w 34"/>
                <a:gd name="T31" fmla="*/ 2147483647 h 49"/>
                <a:gd name="T32" fmla="*/ 2147483647 w 34"/>
                <a:gd name="T33" fmla="*/ 2147483647 h 49"/>
                <a:gd name="T34" fmla="*/ 2147483647 w 34"/>
                <a:gd name="T35" fmla="*/ 2147483647 h 49"/>
                <a:gd name="T36" fmla="*/ 2147483647 w 34"/>
                <a:gd name="T37" fmla="*/ 2147483647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4"/>
                <a:gd name="T58" fmla="*/ 0 h 49"/>
                <a:gd name="T59" fmla="*/ 34 w 34"/>
                <a:gd name="T60" fmla="*/ 49 h 4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0" name="Freeform 530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4942640" y="2759043"/>
              <a:ext cx="26036" cy="52134"/>
            </a:xfrm>
            <a:custGeom>
              <a:avLst/>
              <a:gdLst>
                <a:gd name="T0" fmla="*/ 2147483647 w 60"/>
                <a:gd name="T1" fmla="*/ 0 h 74"/>
                <a:gd name="T2" fmla="*/ 2147483647 w 60"/>
                <a:gd name="T3" fmla="*/ 2147483647 h 74"/>
                <a:gd name="T4" fmla="*/ 2147483647 w 60"/>
                <a:gd name="T5" fmla="*/ 2147483647 h 74"/>
                <a:gd name="T6" fmla="*/ 2147483647 w 60"/>
                <a:gd name="T7" fmla="*/ 2147483647 h 74"/>
                <a:gd name="T8" fmla="*/ 2147483647 w 60"/>
                <a:gd name="T9" fmla="*/ 2147483647 h 74"/>
                <a:gd name="T10" fmla="*/ 2147483647 w 60"/>
                <a:gd name="T11" fmla="*/ 2147483647 h 74"/>
                <a:gd name="T12" fmla="*/ 2147483647 w 60"/>
                <a:gd name="T13" fmla="*/ 2147483647 h 74"/>
                <a:gd name="T14" fmla="*/ 2147483647 w 60"/>
                <a:gd name="T15" fmla="*/ 2147483647 h 74"/>
                <a:gd name="T16" fmla="*/ 2147483647 w 60"/>
                <a:gd name="T17" fmla="*/ 2147483647 h 74"/>
                <a:gd name="T18" fmla="*/ 2147483647 w 60"/>
                <a:gd name="T19" fmla="*/ 2147483647 h 74"/>
                <a:gd name="T20" fmla="*/ 2147483647 w 60"/>
                <a:gd name="T21" fmla="*/ 2147483647 h 74"/>
                <a:gd name="T22" fmla="*/ 2147483647 w 60"/>
                <a:gd name="T23" fmla="*/ 2147483647 h 74"/>
                <a:gd name="T24" fmla="*/ 2147483647 w 60"/>
                <a:gd name="T25" fmla="*/ 2147483647 h 74"/>
                <a:gd name="T26" fmla="*/ 2147483647 w 60"/>
                <a:gd name="T27" fmla="*/ 2147483647 h 74"/>
                <a:gd name="T28" fmla="*/ 0 w 60"/>
                <a:gd name="T29" fmla="*/ 2147483647 h 74"/>
                <a:gd name="T30" fmla="*/ 2147483647 w 60"/>
                <a:gd name="T31" fmla="*/ 2147483647 h 74"/>
                <a:gd name="T32" fmla="*/ 2147483647 w 60"/>
                <a:gd name="T33" fmla="*/ 2147483647 h 74"/>
                <a:gd name="T34" fmla="*/ 2147483647 w 60"/>
                <a:gd name="T35" fmla="*/ 2147483647 h 74"/>
                <a:gd name="T36" fmla="*/ 2147483647 w 60"/>
                <a:gd name="T37" fmla="*/ 2147483647 h 74"/>
                <a:gd name="T38" fmla="*/ 2147483647 w 60"/>
                <a:gd name="T39" fmla="*/ 2147483647 h 74"/>
                <a:gd name="T40" fmla="*/ 2147483647 w 60"/>
                <a:gd name="T41" fmla="*/ 2147483647 h 74"/>
                <a:gd name="T42" fmla="*/ 2147483647 w 60"/>
                <a:gd name="T43" fmla="*/ 2147483647 h 74"/>
                <a:gd name="T44" fmla="*/ 2147483647 w 60"/>
                <a:gd name="T45" fmla="*/ 2147483647 h 74"/>
                <a:gd name="T46" fmla="*/ 2147483647 w 60"/>
                <a:gd name="T47" fmla="*/ 0 h 74"/>
                <a:gd name="T48" fmla="*/ 2147483647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0"/>
                <a:gd name="T76" fmla="*/ 0 h 74"/>
                <a:gd name="T77" fmla="*/ 60 w 60"/>
                <a:gd name="T78" fmla="*/ 74 h 7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1" name="Freeform 531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4889122" y="2773524"/>
              <a:ext cx="21696" cy="55030"/>
            </a:xfrm>
            <a:custGeom>
              <a:avLst/>
              <a:gdLst>
                <a:gd name="T0" fmla="*/ 2147483647 w 47"/>
                <a:gd name="T1" fmla="*/ 2147483647 h 45"/>
                <a:gd name="T2" fmla="*/ 2147483647 w 47"/>
                <a:gd name="T3" fmla="*/ 2147483647 h 45"/>
                <a:gd name="T4" fmla="*/ 2147483647 w 47"/>
                <a:gd name="T5" fmla="*/ 2147483647 h 45"/>
                <a:gd name="T6" fmla="*/ 2147483647 w 47"/>
                <a:gd name="T7" fmla="*/ 2147483647 h 45"/>
                <a:gd name="T8" fmla="*/ 2147483647 w 47"/>
                <a:gd name="T9" fmla="*/ 2147483647 h 45"/>
                <a:gd name="T10" fmla="*/ 2147483647 w 47"/>
                <a:gd name="T11" fmla="*/ 2147483647 h 45"/>
                <a:gd name="T12" fmla="*/ 2147483647 w 47"/>
                <a:gd name="T13" fmla="*/ 0 h 45"/>
                <a:gd name="T14" fmla="*/ 2147483647 w 47"/>
                <a:gd name="T15" fmla="*/ 2147483647 h 45"/>
                <a:gd name="T16" fmla="*/ 2147483647 w 47"/>
                <a:gd name="T17" fmla="*/ 2147483647 h 45"/>
                <a:gd name="T18" fmla="*/ 2147483647 w 47"/>
                <a:gd name="T19" fmla="*/ 2147483647 h 45"/>
                <a:gd name="T20" fmla="*/ 2147483647 w 47"/>
                <a:gd name="T21" fmla="*/ 2147483647 h 45"/>
                <a:gd name="T22" fmla="*/ 2147483647 w 47"/>
                <a:gd name="T23" fmla="*/ 2147483647 h 45"/>
                <a:gd name="T24" fmla="*/ 2147483647 w 47"/>
                <a:gd name="T25" fmla="*/ 2147483647 h 45"/>
                <a:gd name="T26" fmla="*/ 2147483647 w 47"/>
                <a:gd name="T27" fmla="*/ 2147483647 h 45"/>
                <a:gd name="T28" fmla="*/ 2147483647 w 47"/>
                <a:gd name="T29" fmla="*/ 2147483647 h 45"/>
                <a:gd name="T30" fmla="*/ 2147483647 w 47"/>
                <a:gd name="T31" fmla="*/ 2147483647 h 45"/>
                <a:gd name="T32" fmla="*/ 2147483647 w 47"/>
                <a:gd name="T33" fmla="*/ 2147483647 h 45"/>
                <a:gd name="T34" fmla="*/ 2147483647 w 47"/>
                <a:gd name="T35" fmla="*/ 2147483647 h 45"/>
                <a:gd name="T36" fmla="*/ 0 w 47"/>
                <a:gd name="T37" fmla="*/ 2147483647 h 45"/>
                <a:gd name="T38" fmla="*/ 2147483647 w 47"/>
                <a:gd name="T39" fmla="*/ 2147483647 h 45"/>
                <a:gd name="T40" fmla="*/ 2147483647 w 47"/>
                <a:gd name="T41" fmla="*/ 2147483647 h 45"/>
                <a:gd name="T42" fmla="*/ 2147483647 w 47"/>
                <a:gd name="T43" fmla="*/ 2147483647 h 45"/>
                <a:gd name="T44" fmla="*/ 2147483647 w 47"/>
                <a:gd name="T45" fmla="*/ 2147483647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47"/>
                <a:gd name="T70" fmla="*/ 0 h 45"/>
                <a:gd name="T71" fmla="*/ 47 w 47"/>
                <a:gd name="T72" fmla="*/ 45 h 4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2" name="Freeform 532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4865979" y="2767732"/>
              <a:ext cx="5786" cy="52134"/>
            </a:xfrm>
            <a:custGeom>
              <a:avLst/>
              <a:gdLst>
                <a:gd name="T0" fmla="*/ 2147483647 w 26"/>
                <a:gd name="T1" fmla="*/ 2147483647 h 36"/>
                <a:gd name="T2" fmla="*/ 2147483647 w 26"/>
                <a:gd name="T3" fmla="*/ 2147483647 h 36"/>
                <a:gd name="T4" fmla="*/ 2147483647 w 26"/>
                <a:gd name="T5" fmla="*/ 2147483647 h 36"/>
                <a:gd name="T6" fmla="*/ 2147483647 w 26"/>
                <a:gd name="T7" fmla="*/ 2147483647 h 36"/>
                <a:gd name="T8" fmla="*/ 0 w 26"/>
                <a:gd name="T9" fmla="*/ 0 h 36"/>
                <a:gd name="T10" fmla="*/ 2147483647 w 26"/>
                <a:gd name="T11" fmla="*/ 0 h 36"/>
                <a:gd name="T12" fmla="*/ 2147483647 w 26"/>
                <a:gd name="T13" fmla="*/ 2147483647 h 36"/>
                <a:gd name="T14" fmla="*/ 2147483647 w 26"/>
                <a:gd name="T15" fmla="*/ 2147483647 h 36"/>
                <a:gd name="T16" fmla="*/ 2147483647 w 26"/>
                <a:gd name="T17" fmla="*/ 2147483647 h 36"/>
                <a:gd name="T18" fmla="*/ 2147483647 w 26"/>
                <a:gd name="T19" fmla="*/ 2147483647 h 36"/>
                <a:gd name="T20" fmla="*/ 2147483647 w 26"/>
                <a:gd name="T21" fmla="*/ 2147483647 h 36"/>
                <a:gd name="T22" fmla="*/ 2147483647 w 26"/>
                <a:gd name="T23" fmla="*/ 2147483647 h 36"/>
                <a:gd name="T24" fmla="*/ 2147483647 w 26"/>
                <a:gd name="T25" fmla="*/ 2147483647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6"/>
                <a:gd name="T40" fmla="*/ 0 h 36"/>
                <a:gd name="T41" fmla="*/ 26 w 26"/>
                <a:gd name="T42" fmla="*/ 36 h 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3" name="Freeform 533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6024568" y="2520097"/>
              <a:ext cx="159107" cy="144815"/>
            </a:xfrm>
            <a:custGeom>
              <a:avLst/>
              <a:gdLst>
                <a:gd name="T0" fmla="*/ 2147483647 w 405"/>
                <a:gd name="T1" fmla="*/ 2147483647 h 302"/>
                <a:gd name="T2" fmla="*/ 2147483647 w 405"/>
                <a:gd name="T3" fmla="*/ 2147483647 h 302"/>
                <a:gd name="T4" fmla="*/ 2147483647 w 405"/>
                <a:gd name="T5" fmla="*/ 2147483647 h 302"/>
                <a:gd name="T6" fmla="*/ 2147483647 w 405"/>
                <a:gd name="T7" fmla="*/ 2147483647 h 302"/>
                <a:gd name="T8" fmla="*/ 2147483647 w 405"/>
                <a:gd name="T9" fmla="*/ 2147483647 h 302"/>
                <a:gd name="T10" fmla="*/ 2147483647 w 405"/>
                <a:gd name="T11" fmla="*/ 2147483647 h 302"/>
                <a:gd name="T12" fmla="*/ 2147483647 w 405"/>
                <a:gd name="T13" fmla="*/ 2147483647 h 302"/>
                <a:gd name="T14" fmla="*/ 2147483647 w 405"/>
                <a:gd name="T15" fmla="*/ 2147483647 h 302"/>
                <a:gd name="T16" fmla="*/ 2147483647 w 405"/>
                <a:gd name="T17" fmla="*/ 2147483647 h 302"/>
                <a:gd name="T18" fmla="*/ 2147483647 w 405"/>
                <a:gd name="T19" fmla="*/ 2147483647 h 302"/>
                <a:gd name="T20" fmla="*/ 2147483647 w 405"/>
                <a:gd name="T21" fmla="*/ 2147483647 h 302"/>
                <a:gd name="T22" fmla="*/ 2147483647 w 405"/>
                <a:gd name="T23" fmla="*/ 2147483647 h 302"/>
                <a:gd name="T24" fmla="*/ 2147483647 w 405"/>
                <a:gd name="T25" fmla="*/ 2147483647 h 302"/>
                <a:gd name="T26" fmla="*/ 2147483647 w 405"/>
                <a:gd name="T27" fmla="*/ 2147483647 h 302"/>
                <a:gd name="T28" fmla="*/ 2147483647 w 405"/>
                <a:gd name="T29" fmla="*/ 2147483647 h 302"/>
                <a:gd name="T30" fmla="*/ 2147483647 w 405"/>
                <a:gd name="T31" fmla="*/ 2147483647 h 302"/>
                <a:gd name="T32" fmla="*/ 2147483647 w 405"/>
                <a:gd name="T33" fmla="*/ 2147483647 h 302"/>
                <a:gd name="T34" fmla="*/ 2147483647 w 405"/>
                <a:gd name="T35" fmla="*/ 2147483647 h 302"/>
                <a:gd name="T36" fmla="*/ 2147483647 w 405"/>
                <a:gd name="T37" fmla="*/ 2147483647 h 302"/>
                <a:gd name="T38" fmla="*/ 2147483647 w 405"/>
                <a:gd name="T39" fmla="*/ 2147483647 h 302"/>
                <a:gd name="T40" fmla="*/ 2147483647 w 405"/>
                <a:gd name="T41" fmla="*/ 2147483647 h 302"/>
                <a:gd name="T42" fmla="*/ 2147483647 w 405"/>
                <a:gd name="T43" fmla="*/ 2147483647 h 302"/>
                <a:gd name="T44" fmla="*/ 2147483647 w 405"/>
                <a:gd name="T45" fmla="*/ 2147483647 h 302"/>
                <a:gd name="T46" fmla="*/ 2147483647 w 405"/>
                <a:gd name="T47" fmla="*/ 2147483647 h 302"/>
                <a:gd name="T48" fmla="*/ 2147483647 w 405"/>
                <a:gd name="T49" fmla="*/ 2147483647 h 302"/>
                <a:gd name="T50" fmla="*/ 2147483647 w 405"/>
                <a:gd name="T51" fmla="*/ 2147483647 h 302"/>
                <a:gd name="T52" fmla="*/ 2147483647 w 405"/>
                <a:gd name="T53" fmla="*/ 2147483647 h 302"/>
                <a:gd name="T54" fmla="*/ 2147483647 w 405"/>
                <a:gd name="T55" fmla="*/ 2147483647 h 302"/>
                <a:gd name="T56" fmla="*/ 2147483647 w 405"/>
                <a:gd name="T57" fmla="*/ 2147483647 h 302"/>
                <a:gd name="T58" fmla="*/ 2147483647 w 405"/>
                <a:gd name="T59" fmla="*/ 2147483647 h 302"/>
                <a:gd name="T60" fmla="*/ 2147483647 w 405"/>
                <a:gd name="T61" fmla="*/ 2147483647 h 302"/>
                <a:gd name="T62" fmla="*/ 2147483647 w 405"/>
                <a:gd name="T63" fmla="*/ 2147483647 h 302"/>
                <a:gd name="T64" fmla="*/ 2147483647 w 405"/>
                <a:gd name="T65" fmla="*/ 2147483647 h 302"/>
                <a:gd name="T66" fmla="*/ 2147483647 w 405"/>
                <a:gd name="T67" fmla="*/ 2147483647 h 302"/>
                <a:gd name="T68" fmla="*/ 2147483647 w 405"/>
                <a:gd name="T69" fmla="*/ 2147483647 h 302"/>
                <a:gd name="T70" fmla="*/ 2147483647 w 405"/>
                <a:gd name="T71" fmla="*/ 2147483647 h 302"/>
                <a:gd name="T72" fmla="*/ 2147483647 w 405"/>
                <a:gd name="T73" fmla="*/ 2147483647 h 302"/>
                <a:gd name="T74" fmla="*/ 2147483647 w 405"/>
                <a:gd name="T75" fmla="*/ 2147483647 h 302"/>
                <a:gd name="T76" fmla="*/ 2147483647 w 405"/>
                <a:gd name="T77" fmla="*/ 2147483647 h 302"/>
                <a:gd name="T78" fmla="*/ 2147483647 w 405"/>
                <a:gd name="T79" fmla="*/ 2147483647 h 302"/>
                <a:gd name="T80" fmla="*/ 2147483647 w 405"/>
                <a:gd name="T81" fmla="*/ 2147483647 h 302"/>
                <a:gd name="T82" fmla="*/ 2147483647 w 405"/>
                <a:gd name="T83" fmla="*/ 2147483647 h 302"/>
                <a:gd name="T84" fmla="*/ 2147483647 w 405"/>
                <a:gd name="T85" fmla="*/ 2147483647 h 302"/>
                <a:gd name="T86" fmla="*/ 2147483647 w 405"/>
                <a:gd name="T87" fmla="*/ 2147483647 h 302"/>
                <a:gd name="T88" fmla="*/ 2147483647 w 405"/>
                <a:gd name="T89" fmla="*/ 2147483647 h 302"/>
                <a:gd name="T90" fmla="*/ 2147483647 w 405"/>
                <a:gd name="T91" fmla="*/ 2147483647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05"/>
                <a:gd name="T139" fmla="*/ 0 h 302"/>
                <a:gd name="T140" fmla="*/ 405 w 405"/>
                <a:gd name="T141" fmla="*/ 302 h 302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4" name="Freeform 534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7932408" y="2867654"/>
              <a:ext cx="39053" cy="72408"/>
            </a:xfrm>
            <a:custGeom>
              <a:avLst/>
              <a:gdLst>
                <a:gd name="T0" fmla="*/ 2147483647 w 100"/>
                <a:gd name="T1" fmla="*/ 2147483647 h 155"/>
                <a:gd name="T2" fmla="*/ 2147483647 w 100"/>
                <a:gd name="T3" fmla="*/ 2147483647 h 155"/>
                <a:gd name="T4" fmla="*/ 2147483647 w 100"/>
                <a:gd name="T5" fmla="*/ 2147483647 h 155"/>
                <a:gd name="T6" fmla="*/ 2147483647 w 100"/>
                <a:gd name="T7" fmla="*/ 2147483647 h 155"/>
                <a:gd name="T8" fmla="*/ 2147483647 w 100"/>
                <a:gd name="T9" fmla="*/ 2147483647 h 155"/>
                <a:gd name="T10" fmla="*/ 2147483647 w 100"/>
                <a:gd name="T11" fmla="*/ 2147483647 h 155"/>
                <a:gd name="T12" fmla="*/ 2147483647 w 100"/>
                <a:gd name="T13" fmla="*/ 2147483647 h 155"/>
                <a:gd name="T14" fmla="*/ 2147483647 w 100"/>
                <a:gd name="T15" fmla="*/ 2147483647 h 155"/>
                <a:gd name="T16" fmla="*/ 2147483647 w 100"/>
                <a:gd name="T17" fmla="*/ 2147483647 h 155"/>
                <a:gd name="T18" fmla="*/ 2147483647 w 100"/>
                <a:gd name="T19" fmla="*/ 2147483647 h 155"/>
                <a:gd name="T20" fmla="*/ 2147483647 w 100"/>
                <a:gd name="T21" fmla="*/ 2147483647 h 155"/>
                <a:gd name="T22" fmla="*/ 2147483647 w 100"/>
                <a:gd name="T23" fmla="*/ 2147483647 h 155"/>
                <a:gd name="T24" fmla="*/ 2147483647 w 100"/>
                <a:gd name="T25" fmla="*/ 2147483647 h 155"/>
                <a:gd name="T26" fmla="*/ 2147483647 w 100"/>
                <a:gd name="T27" fmla="*/ 2147483647 h 155"/>
                <a:gd name="T28" fmla="*/ 2147483647 w 100"/>
                <a:gd name="T29" fmla="*/ 2147483647 h 155"/>
                <a:gd name="T30" fmla="*/ 2147483647 w 100"/>
                <a:gd name="T31" fmla="*/ 2147483647 h 155"/>
                <a:gd name="T32" fmla="*/ 2147483647 w 100"/>
                <a:gd name="T33" fmla="*/ 2147483647 h 155"/>
                <a:gd name="T34" fmla="*/ 2147483647 w 100"/>
                <a:gd name="T35" fmla="*/ 2147483647 h 155"/>
                <a:gd name="T36" fmla="*/ 2147483647 w 100"/>
                <a:gd name="T37" fmla="*/ 2147483647 h 155"/>
                <a:gd name="T38" fmla="*/ 2147483647 w 100"/>
                <a:gd name="T39" fmla="*/ 2147483647 h 155"/>
                <a:gd name="T40" fmla="*/ 2147483647 w 100"/>
                <a:gd name="T41" fmla="*/ 2147483647 h 155"/>
                <a:gd name="T42" fmla="*/ 2147483647 w 100"/>
                <a:gd name="T43" fmla="*/ 2147483647 h 155"/>
                <a:gd name="T44" fmla="*/ 2147483647 w 100"/>
                <a:gd name="T45" fmla="*/ 2147483647 h 155"/>
                <a:gd name="T46" fmla="*/ 0 w 100"/>
                <a:gd name="T47" fmla="*/ 2147483647 h 155"/>
                <a:gd name="T48" fmla="*/ 0 w 100"/>
                <a:gd name="T49" fmla="*/ 2147483647 h 155"/>
                <a:gd name="T50" fmla="*/ 0 w 100"/>
                <a:gd name="T51" fmla="*/ 2147483647 h 155"/>
                <a:gd name="T52" fmla="*/ 0 w 100"/>
                <a:gd name="T53" fmla="*/ 2147483647 h 155"/>
                <a:gd name="T54" fmla="*/ 0 w 100"/>
                <a:gd name="T55" fmla="*/ 2147483647 h 155"/>
                <a:gd name="T56" fmla="*/ 0 w 100"/>
                <a:gd name="T57" fmla="*/ 2147483647 h 155"/>
                <a:gd name="T58" fmla="*/ 2147483647 w 100"/>
                <a:gd name="T59" fmla="*/ 2147483647 h 155"/>
                <a:gd name="T60" fmla="*/ 2147483647 w 100"/>
                <a:gd name="T61" fmla="*/ 2147483647 h 155"/>
                <a:gd name="T62" fmla="*/ 2147483647 w 100"/>
                <a:gd name="T63" fmla="*/ 2147483647 h 155"/>
                <a:gd name="T64" fmla="*/ 2147483647 w 100"/>
                <a:gd name="T65" fmla="*/ 2147483647 h 155"/>
                <a:gd name="T66" fmla="*/ 2147483647 w 100"/>
                <a:gd name="T67" fmla="*/ 2147483647 h 155"/>
                <a:gd name="T68" fmla="*/ 2147483647 w 100"/>
                <a:gd name="T69" fmla="*/ 2147483647 h 155"/>
                <a:gd name="T70" fmla="*/ 2147483647 w 100"/>
                <a:gd name="T71" fmla="*/ 2147483647 h 155"/>
                <a:gd name="T72" fmla="*/ 2147483647 w 100"/>
                <a:gd name="T73" fmla="*/ 2147483647 h 155"/>
                <a:gd name="T74" fmla="*/ 2147483647 w 100"/>
                <a:gd name="T75" fmla="*/ 2147483647 h 155"/>
                <a:gd name="T76" fmla="*/ 2147483647 w 100"/>
                <a:gd name="T77" fmla="*/ 2147483647 h 155"/>
                <a:gd name="T78" fmla="*/ 2147483647 w 100"/>
                <a:gd name="T79" fmla="*/ 0 h 155"/>
                <a:gd name="T80" fmla="*/ 2147483647 w 100"/>
                <a:gd name="T81" fmla="*/ 0 h 155"/>
                <a:gd name="T82" fmla="*/ 2147483647 w 100"/>
                <a:gd name="T83" fmla="*/ 0 h 155"/>
                <a:gd name="T84" fmla="*/ 2147483647 w 100"/>
                <a:gd name="T85" fmla="*/ 2147483647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00"/>
                <a:gd name="T130" fmla="*/ 0 h 155"/>
                <a:gd name="T131" fmla="*/ 100 w 100"/>
                <a:gd name="T132" fmla="*/ 155 h 15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6" name="Freeform 536"/>
            <p:cNvSpPr>
              <a:spLocks/>
            </p:cNvSpPr>
            <p:nvPr/>
          </p:nvSpPr>
          <p:spPr bwMode="auto">
            <a:xfrm>
              <a:off x="5788801" y="2441433"/>
              <a:ext cx="4845" cy="4311"/>
            </a:xfrm>
            <a:custGeom>
              <a:avLst/>
              <a:gdLst>
                <a:gd name="T0" fmla="*/ 4 w 13"/>
                <a:gd name="T1" fmla="*/ 0 h 7"/>
                <a:gd name="T2" fmla="*/ 4 w 13"/>
                <a:gd name="T3" fmla="*/ 0 h 7"/>
                <a:gd name="T4" fmla="*/ 3 w 13"/>
                <a:gd name="T5" fmla="*/ 1 h 7"/>
                <a:gd name="T6" fmla="*/ 1 w 13"/>
                <a:gd name="T7" fmla="*/ 2 h 7"/>
                <a:gd name="T8" fmla="*/ 0 w 13"/>
                <a:gd name="T9" fmla="*/ 3 h 7"/>
                <a:gd name="T10" fmla="*/ 2 w 13"/>
                <a:gd name="T11" fmla="*/ 1 h 7"/>
                <a:gd name="T12" fmla="*/ 4 w 13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7"/>
                <a:gd name="T23" fmla="*/ 13 w 13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7" name="Freeform 537"/>
            <p:cNvSpPr>
              <a:spLocks/>
            </p:cNvSpPr>
            <p:nvPr/>
          </p:nvSpPr>
          <p:spPr bwMode="auto">
            <a:xfrm>
              <a:off x="5831198" y="2536264"/>
              <a:ext cx="12113" cy="4311"/>
            </a:xfrm>
            <a:custGeom>
              <a:avLst/>
              <a:gdLst>
                <a:gd name="T0" fmla="*/ 0 w 34"/>
                <a:gd name="T1" fmla="*/ 2 h 8"/>
                <a:gd name="T2" fmla="*/ 2 w 34"/>
                <a:gd name="T3" fmla="*/ 2 h 8"/>
                <a:gd name="T4" fmla="*/ 4 w 34"/>
                <a:gd name="T5" fmla="*/ 1 h 8"/>
                <a:gd name="T6" fmla="*/ 7 w 34"/>
                <a:gd name="T7" fmla="*/ 0 h 8"/>
                <a:gd name="T8" fmla="*/ 10 w 34"/>
                <a:gd name="T9" fmla="*/ 0 h 8"/>
                <a:gd name="T10" fmla="*/ 9 w 34"/>
                <a:gd name="T11" fmla="*/ 1 h 8"/>
                <a:gd name="T12" fmla="*/ 8 w 34"/>
                <a:gd name="T13" fmla="*/ 2 h 8"/>
                <a:gd name="T14" fmla="*/ 6 w 34"/>
                <a:gd name="T15" fmla="*/ 2 h 8"/>
                <a:gd name="T16" fmla="*/ 5 w 34"/>
                <a:gd name="T17" fmla="*/ 3 h 8"/>
                <a:gd name="T18" fmla="*/ 4 w 34"/>
                <a:gd name="T19" fmla="*/ 3 h 8"/>
                <a:gd name="T20" fmla="*/ 2 w 34"/>
                <a:gd name="T21" fmla="*/ 3 h 8"/>
                <a:gd name="T22" fmla="*/ 1 w 34"/>
                <a:gd name="T23" fmla="*/ 3 h 8"/>
                <a:gd name="T24" fmla="*/ 0 w 34"/>
                <a:gd name="T25" fmla="*/ 2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4"/>
                <a:gd name="T40" fmla="*/ 0 h 8"/>
                <a:gd name="T41" fmla="*/ 34 w 34"/>
                <a:gd name="T42" fmla="*/ 8 h 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8" name="Freeform 538"/>
            <p:cNvSpPr>
              <a:spLocks/>
            </p:cNvSpPr>
            <p:nvPr/>
          </p:nvSpPr>
          <p:spPr bwMode="auto">
            <a:xfrm>
              <a:off x="5854213" y="2552070"/>
              <a:ext cx="4845" cy="11495"/>
            </a:xfrm>
            <a:custGeom>
              <a:avLst/>
              <a:gdLst>
                <a:gd name="T0" fmla="*/ 0 w 13"/>
                <a:gd name="T1" fmla="*/ 8 h 24"/>
                <a:gd name="T2" fmla="*/ 0 w 13"/>
                <a:gd name="T3" fmla="*/ 0 h 24"/>
                <a:gd name="T4" fmla="*/ 4 w 13"/>
                <a:gd name="T5" fmla="*/ 4 h 24"/>
                <a:gd name="T6" fmla="*/ 0 w 13"/>
                <a:gd name="T7" fmla="*/ 8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"/>
                <a:gd name="T13" fmla="*/ 0 h 24"/>
                <a:gd name="T14" fmla="*/ 13 w 13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9" name="Freeform 539"/>
            <p:cNvSpPr>
              <a:spLocks/>
            </p:cNvSpPr>
            <p:nvPr/>
          </p:nvSpPr>
          <p:spPr bwMode="auto">
            <a:xfrm>
              <a:off x="5817873" y="2388270"/>
              <a:ext cx="41185" cy="33047"/>
            </a:xfrm>
            <a:custGeom>
              <a:avLst/>
              <a:gdLst>
                <a:gd name="T0" fmla="*/ 0 w 107"/>
                <a:gd name="T1" fmla="*/ 4 h 69"/>
                <a:gd name="T2" fmla="*/ 0 w 107"/>
                <a:gd name="T3" fmla="*/ 9 h 69"/>
                <a:gd name="T4" fmla="*/ 0 w 107"/>
                <a:gd name="T5" fmla="*/ 15 h 69"/>
                <a:gd name="T6" fmla="*/ 0 w 107"/>
                <a:gd name="T7" fmla="*/ 21 h 69"/>
                <a:gd name="T8" fmla="*/ 0 w 107"/>
                <a:gd name="T9" fmla="*/ 23 h 69"/>
                <a:gd name="T10" fmla="*/ 5 w 107"/>
                <a:gd name="T11" fmla="*/ 22 h 69"/>
                <a:gd name="T12" fmla="*/ 16 w 107"/>
                <a:gd name="T13" fmla="*/ 19 h 69"/>
                <a:gd name="T14" fmla="*/ 27 w 107"/>
                <a:gd name="T15" fmla="*/ 17 h 69"/>
                <a:gd name="T16" fmla="*/ 34 w 107"/>
                <a:gd name="T17" fmla="*/ 15 h 69"/>
                <a:gd name="T18" fmla="*/ 32 w 107"/>
                <a:gd name="T19" fmla="*/ 13 h 69"/>
                <a:gd name="T20" fmla="*/ 30 w 107"/>
                <a:gd name="T21" fmla="*/ 11 h 69"/>
                <a:gd name="T22" fmla="*/ 27 w 107"/>
                <a:gd name="T23" fmla="*/ 10 h 69"/>
                <a:gd name="T24" fmla="*/ 25 w 107"/>
                <a:gd name="T25" fmla="*/ 9 h 69"/>
                <a:gd name="T26" fmla="*/ 23 w 107"/>
                <a:gd name="T27" fmla="*/ 8 h 69"/>
                <a:gd name="T28" fmla="*/ 21 w 107"/>
                <a:gd name="T29" fmla="*/ 6 h 69"/>
                <a:gd name="T30" fmla="*/ 20 w 107"/>
                <a:gd name="T31" fmla="*/ 5 h 69"/>
                <a:gd name="T32" fmla="*/ 20 w 107"/>
                <a:gd name="T33" fmla="*/ 4 h 69"/>
                <a:gd name="T34" fmla="*/ 19 w 107"/>
                <a:gd name="T35" fmla="*/ 2 h 69"/>
                <a:gd name="T36" fmla="*/ 19 w 107"/>
                <a:gd name="T37" fmla="*/ 0 h 69"/>
                <a:gd name="T38" fmla="*/ 17 w 107"/>
                <a:gd name="T39" fmla="*/ 0 h 69"/>
                <a:gd name="T40" fmla="*/ 12 w 107"/>
                <a:gd name="T41" fmla="*/ 1 h 69"/>
                <a:gd name="T42" fmla="*/ 6 w 107"/>
                <a:gd name="T43" fmla="*/ 3 h 69"/>
                <a:gd name="T44" fmla="*/ 0 w 107"/>
                <a:gd name="T45" fmla="*/ 4 h 6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7"/>
                <a:gd name="T70" fmla="*/ 0 h 69"/>
                <a:gd name="T71" fmla="*/ 107 w 107"/>
                <a:gd name="T72" fmla="*/ 69 h 6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0" name="Freeform 540"/>
            <p:cNvSpPr>
              <a:spLocks/>
            </p:cNvSpPr>
            <p:nvPr/>
          </p:nvSpPr>
          <p:spPr bwMode="auto">
            <a:xfrm>
              <a:off x="5804548" y="2382523"/>
              <a:ext cx="423967" cy="183915"/>
            </a:xfrm>
            <a:custGeom>
              <a:avLst/>
              <a:gdLst>
                <a:gd name="T0" fmla="*/ 324 w 1070"/>
                <a:gd name="T1" fmla="*/ 42 h 382"/>
                <a:gd name="T2" fmla="*/ 317 w 1070"/>
                <a:gd name="T3" fmla="*/ 35 h 382"/>
                <a:gd name="T4" fmla="*/ 315 w 1070"/>
                <a:gd name="T5" fmla="*/ 19 h 382"/>
                <a:gd name="T6" fmla="*/ 306 w 1070"/>
                <a:gd name="T7" fmla="*/ 12 h 382"/>
                <a:gd name="T8" fmla="*/ 267 w 1070"/>
                <a:gd name="T9" fmla="*/ 6 h 382"/>
                <a:gd name="T10" fmla="*/ 237 w 1070"/>
                <a:gd name="T11" fmla="*/ 19 h 382"/>
                <a:gd name="T12" fmla="*/ 222 w 1070"/>
                <a:gd name="T13" fmla="*/ 22 h 382"/>
                <a:gd name="T14" fmla="*/ 207 w 1070"/>
                <a:gd name="T15" fmla="*/ 22 h 382"/>
                <a:gd name="T16" fmla="*/ 200 w 1070"/>
                <a:gd name="T17" fmla="*/ 15 h 382"/>
                <a:gd name="T18" fmla="*/ 183 w 1070"/>
                <a:gd name="T19" fmla="*/ 12 h 382"/>
                <a:gd name="T20" fmla="*/ 172 w 1070"/>
                <a:gd name="T21" fmla="*/ 6 h 382"/>
                <a:gd name="T22" fmla="*/ 158 w 1070"/>
                <a:gd name="T23" fmla="*/ 7 h 382"/>
                <a:gd name="T24" fmla="*/ 152 w 1070"/>
                <a:gd name="T25" fmla="*/ 0 h 382"/>
                <a:gd name="T26" fmla="*/ 128 w 1070"/>
                <a:gd name="T27" fmla="*/ 5 h 382"/>
                <a:gd name="T28" fmla="*/ 98 w 1070"/>
                <a:gd name="T29" fmla="*/ 9 h 382"/>
                <a:gd name="T30" fmla="*/ 84 w 1070"/>
                <a:gd name="T31" fmla="*/ 15 h 382"/>
                <a:gd name="T32" fmla="*/ 45 w 1070"/>
                <a:gd name="T33" fmla="*/ 20 h 382"/>
                <a:gd name="T34" fmla="*/ 57 w 1070"/>
                <a:gd name="T35" fmla="*/ 25 h 382"/>
                <a:gd name="T36" fmla="*/ 54 w 1070"/>
                <a:gd name="T37" fmla="*/ 30 h 382"/>
                <a:gd name="T38" fmla="*/ 37 w 1070"/>
                <a:gd name="T39" fmla="*/ 31 h 382"/>
                <a:gd name="T40" fmla="*/ 14 w 1070"/>
                <a:gd name="T41" fmla="*/ 31 h 382"/>
                <a:gd name="T42" fmla="*/ 3 w 1070"/>
                <a:gd name="T43" fmla="*/ 37 h 382"/>
                <a:gd name="T44" fmla="*/ 0 w 1070"/>
                <a:gd name="T45" fmla="*/ 49 h 382"/>
                <a:gd name="T46" fmla="*/ 5 w 1070"/>
                <a:gd name="T47" fmla="*/ 56 h 382"/>
                <a:gd name="T48" fmla="*/ 7 w 1070"/>
                <a:gd name="T49" fmla="*/ 65 h 382"/>
                <a:gd name="T50" fmla="*/ 7 w 1070"/>
                <a:gd name="T51" fmla="*/ 70 h 382"/>
                <a:gd name="T52" fmla="*/ 16 w 1070"/>
                <a:gd name="T53" fmla="*/ 79 h 382"/>
                <a:gd name="T54" fmla="*/ 18 w 1070"/>
                <a:gd name="T55" fmla="*/ 87 h 382"/>
                <a:gd name="T56" fmla="*/ 24 w 1070"/>
                <a:gd name="T57" fmla="*/ 91 h 382"/>
                <a:gd name="T58" fmla="*/ 31 w 1070"/>
                <a:gd name="T59" fmla="*/ 97 h 382"/>
                <a:gd name="T60" fmla="*/ 67 w 1070"/>
                <a:gd name="T61" fmla="*/ 118 h 382"/>
                <a:gd name="T62" fmla="*/ 83 w 1070"/>
                <a:gd name="T63" fmla="*/ 124 h 382"/>
                <a:gd name="T64" fmla="*/ 87 w 1070"/>
                <a:gd name="T65" fmla="*/ 120 h 382"/>
                <a:gd name="T66" fmla="*/ 91 w 1070"/>
                <a:gd name="T67" fmla="*/ 113 h 382"/>
                <a:gd name="T68" fmla="*/ 97 w 1070"/>
                <a:gd name="T69" fmla="*/ 106 h 382"/>
                <a:gd name="T70" fmla="*/ 109 w 1070"/>
                <a:gd name="T71" fmla="*/ 108 h 382"/>
                <a:gd name="T72" fmla="*/ 118 w 1070"/>
                <a:gd name="T73" fmla="*/ 120 h 382"/>
                <a:gd name="T74" fmla="*/ 131 w 1070"/>
                <a:gd name="T75" fmla="*/ 124 h 382"/>
                <a:gd name="T76" fmla="*/ 146 w 1070"/>
                <a:gd name="T77" fmla="*/ 120 h 382"/>
                <a:gd name="T78" fmla="*/ 161 w 1070"/>
                <a:gd name="T79" fmla="*/ 112 h 382"/>
                <a:gd name="T80" fmla="*/ 172 w 1070"/>
                <a:gd name="T81" fmla="*/ 110 h 382"/>
                <a:gd name="T82" fmla="*/ 184 w 1070"/>
                <a:gd name="T83" fmla="*/ 109 h 382"/>
                <a:gd name="T84" fmla="*/ 185 w 1070"/>
                <a:gd name="T85" fmla="*/ 123 h 382"/>
                <a:gd name="T86" fmla="*/ 193 w 1070"/>
                <a:gd name="T87" fmla="*/ 126 h 382"/>
                <a:gd name="T88" fmla="*/ 201 w 1070"/>
                <a:gd name="T89" fmla="*/ 121 h 382"/>
                <a:gd name="T90" fmla="*/ 212 w 1070"/>
                <a:gd name="T91" fmla="*/ 113 h 382"/>
                <a:gd name="T92" fmla="*/ 246 w 1070"/>
                <a:gd name="T93" fmla="*/ 110 h 382"/>
                <a:gd name="T94" fmla="*/ 272 w 1070"/>
                <a:gd name="T95" fmla="*/ 106 h 382"/>
                <a:gd name="T96" fmla="*/ 300 w 1070"/>
                <a:gd name="T97" fmla="*/ 95 h 382"/>
                <a:gd name="T98" fmla="*/ 316 w 1070"/>
                <a:gd name="T99" fmla="*/ 96 h 382"/>
                <a:gd name="T100" fmla="*/ 329 w 1070"/>
                <a:gd name="T101" fmla="*/ 98 h 382"/>
                <a:gd name="T102" fmla="*/ 345 w 1070"/>
                <a:gd name="T103" fmla="*/ 103 h 382"/>
                <a:gd name="T104" fmla="*/ 345 w 1070"/>
                <a:gd name="T105" fmla="*/ 90 h 382"/>
                <a:gd name="T106" fmla="*/ 336 w 1070"/>
                <a:gd name="T107" fmla="*/ 73 h 382"/>
                <a:gd name="T108" fmla="*/ 333 w 1070"/>
                <a:gd name="T109" fmla="*/ 56 h 38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70"/>
                <a:gd name="T166" fmla="*/ 0 h 382"/>
                <a:gd name="T167" fmla="*/ 1070 w 1070"/>
                <a:gd name="T168" fmla="*/ 382 h 38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1" name="Freeform 541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3956175" y="3433882"/>
              <a:ext cx="91125" cy="111507"/>
            </a:xfrm>
            <a:custGeom>
              <a:avLst/>
              <a:gdLst>
                <a:gd name="T0" fmla="*/ 2147483647 w 226"/>
                <a:gd name="T1" fmla="*/ 2147483647 h 237"/>
                <a:gd name="T2" fmla="*/ 2147483647 w 226"/>
                <a:gd name="T3" fmla="*/ 2147483647 h 237"/>
                <a:gd name="T4" fmla="*/ 2147483647 w 226"/>
                <a:gd name="T5" fmla="*/ 2147483647 h 237"/>
                <a:gd name="T6" fmla="*/ 2147483647 w 226"/>
                <a:gd name="T7" fmla="*/ 2147483647 h 237"/>
                <a:gd name="T8" fmla="*/ 2147483647 w 226"/>
                <a:gd name="T9" fmla="*/ 2147483647 h 237"/>
                <a:gd name="T10" fmla="*/ 2147483647 w 226"/>
                <a:gd name="T11" fmla="*/ 2147483647 h 237"/>
                <a:gd name="T12" fmla="*/ 2147483647 w 226"/>
                <a:gd name="T13" fmla="*/ 2147483647 h 237"/>
                <a:gd name="T14" fmla="*/ 2147483647 w 226"/>
                <a:gd name="T15" fmla="*/ 2147483647 h 237"/>
                <a:gd name="T16" fmla="*/ 2147483647 w 226"/>
                <a:gd name="T17" fmla="*/ 2147483647 h 237"/>
                <a:gd name="T18" fmla="*/ 2147483647 w 226"/>
                <a:gd name="T19" fmla="*/ 2147483647 h 237"/>
                <a:gd name="T20" fmla="*/ 2147483647 w 226"/>
                <a:gd name="T21" fmla="*/ 2147483647 h 237"/>
                <a:gd name="T22" fmla="*/ 2147483647 w 226"/>
                <a:gd name="T23" fmla="*/ 2147483647 h 237"/>
                <a:gd name="T24" fmla="*/ 2147483647 w 226"/>
                <a:gd name="T25" fmla="*/ 2147483647 h 237"/>
                <a:gd name="T26" fmla="*/ 2147483647 w 226"/>
                <a:gd name="T27" fmla="*/ 2147483647 h 237"/>
                <a:gd name="T28" fmla="*/ 2147483647 w 226"/>
                <a:gd name="T29" fmla="*/ 2147483647 h 237"/>
                <a:gd name="T30" fmla="*/ 2147483647 w 226"/>
                <a:gd name="T31" fmla="*/ 2147483647 h 237"/>
                <a:gd name="T32" fmla="*/ 2147483647 w 226"/>
                <a:gd name="T33" fmla="*/ 2147483647 h 237"/>
                <a:gd name="T34" fmla="*/ 2147483647 w 226"/>
                <a:gd name="T35" fmla="*/ 2147483647 h 237"/>
                <a:gd name="T36" fmla="*/ 2147483647 w 226"/>
                <a:gd name="T37" fmla="*/ 2147483647 h 237"/>
                <a:gd name="T38" fmla="*/ 2147483647 w 226"/>
                <a:gd name="T39" fmla="*/ 2147483647 h 237"/>
                <a:gd name="T40" fmla="*/ 2147483647 w 226"/>
                <a:gd name="T41" fmla="*/ 2147483647 h 237"/>
                <a:gd name="T42" fmla="*/ 2147483647 w 226"/>
                <a:gd name="T43" fmla="*/ 2147483647 h 237"/>
                <a:gd name="T44" fmla="*/ 2147483647 w 226"/>
                <a:gd name="T45" fmla="*/ 2147483647 h 237"/>
                <a:gd name="T46" fmla="*/ 2147483647 w 226"/>
                <a:gd name="T47" fmla="*/ 2147483647 h 237"/>
                <a:gd name="T48" fmla="*/ 2147483647 w 226"/>
                <a:gd name="T49" fmla="*/ 2147483647 h 237"/>
                <a:gd name="T50" fmla="*/ 2147483647 w 226"/>
                <a:gd name="T51" fmla="*/ 2147483647 h 237"/>
                <a:gd name="T52" fmla="*/ 2147483647 w 226"/>
                <a:gd name="T53" fmla="*/ 2147483647 h 237"/>
                <a:gd name="T54" fmla="*/ 2147483647 w 226"/>
                <a:gd name="T55" fmla="*/ 2147483647 h 237"/>
                <a:gd name="T56" fmla="*/ 2147483647 w 226"/>
                <a:gd name="T57" fmla="*/ 2147483647 h 237"/>
                <a:gd name="T58" fmla="*/ 0 w 226"/>
                <a:gd name="T59" fmla="*/ 2147483647 h 237"/>
                <a:gd name="T60" fmla="*/ 2147483647 w 226"/>
                <a:gd name="T61" fmla="*/ 2147483647 h 237"/>
                <a:gd name="T62" fmla="*/ 2147483647 w 226"/>
                <a:gd name="T63" fmla="*/ 2147483647 h 237"/>
                <a:gd name="T64" fmla="*/ 2147483647 w 226"/>
                <a:gd name="T65" fmla="*/ 2147483647 h 237"/>
                <a:gd name="T66" fmla="*/ 2147483647 w 226"/>
                <a:gd name="T67" fmla="*/ 2147483647 h 237"/>
                <a:gd name="T68" fmla="*/ 2147483647 w 226"/>
                <a:gd name="T69" fmla="*/ 2147483647 h 237"/>
                <a:gd name="T70" fmla="*/ 2147483647 w 226"/>
                <a:gd name="T71" fmla="*/ 2147483647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26"/>
                <a:gd name="T109" fmla="*/ 0 h 237"/>
                <a:gd name="T110" fmla="*/ 226 w 226"/>
                <a:gd name="T111" fmla="*/ 237 h 23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3" name="Freeform 543"/>
            <p:cNvSpPr>
              <a:spLocks/>
            </p:cNvSpPr>
            <p:nvPr>
              <p:custDataLst>
                <p:tags r:id="rId362"/>
              </p:custDataLst>
            </p:nvPr>
          </p:nvSpPr>
          <p:spPr bwMode="auto">
            <a:xfrm>
              <a:off x="7630104" y="3545390"/>
              <a:ext cx="23143" cy="52134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2147483647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2147483647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0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2147483647 w 59"/>
                <a:gd name="T41" fmla="*/ 0 h 31"/>
                <a:gd name="T42" fmla="*/ 2147483647 w 59"/>
                <a:gd name="T43" fmla="*/ 0 h 31"/>
                <a:gd name="T44" fmla="*/ 2147483647 w 59"/>
                <a:gd name="T45" fmla="*/ 2147483647 h 31"/>
                <a:gd name="T46" fmla="*/ 2147483647 w 59"/>
                <a:gd name="T47" fmla="*/ 2147483647 h 31"/>
                <a:gd name="T48" fmla="*/ 2147483647 w 59"/>
                <a:gd name="T49" fmla="*/ 214748364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9"/>
                <a:gd name="T76" fmla="*/ 0 h 31"/>
                <a:gd name="T77" fmla="*/ 59 w 59"/>
                <a:gd name="T78" fmla="*/ 31 h 3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4" name="Freeform 544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6438247" y="2869102"/>
              <a:ext cx="159107" cy="247634"/>
            </a:xfrm>
            <a:custGeom>
              <a:avLst/>
              <a:gdLst>
                <a:gd name="T0" fmla="*/ 2147483647 w 399"/>
                <a:gd name="T1" fmla="*/ 2147483647 h 518"/>
                <a:gd name="T2" fmla="*/ 2147483647 w 399"/>
                <a:gd name="T3" fmla="*/ 2147483647 h 518"/>
                <a:gd name="T4" fmla="*/ 2147483647 w 399"/>
                <a:gd name="T5" fmla="*/ 2147483647 h 518"/>
                <a:gd name="T6" fmla="*/ 2147483647 w 399"/>
                <a:gd name="T7" fmla="*/ 2147483647 h 518"/>
                <a:gd name="T8" fmla="*/ 2147483647 w 399"/>
                <a:gd name="T9" fmla="*/ 2147483647 h 518"/>
                <a:gd name="T10" fmla="*/ 2147483647 w 399"/>
                <a:gd name="T11" fmla="*/ 2147483647 h 518"/>
                <a:gd name="T12" fmla="*/ 2147483647 w 399"/>
                <a:gd name="T13" fmla="*/ 2147483647 h 518"/>
                <a:gd name="T14" fmla="*/ 2147483647 w 399"/>
                <a:gd name="T15" fmla="*/ 2147483647 h 518"/>
                <a:gd name="T16" fmla="*/ 2147483647 w 399"/>
                <a:gd name="T17" fmla="*/ 2147483647 h 518"/>
                <a:gd name="T18" fmla="*/ 2147483647 w 399"/>
                <a:gd name="T19" fmla="*/ 2147483647 h 518"/>
                <a:gd name="T20" fmla="*/ 2147483647 w 399"/>
                <a:gd name="T21" fmla="*/ 2147483647 h 518"/>
                <a:gd name="T22" fmla="*/ 2147483647 w 399"/>
                <a:gd name="T23" fmla="*/ 2147483647 h 518"/>
                <a:gd name="T24" fmla="*/ 2147483647 w 399"/>
                <a:gd name="T25" fmla="*/ 2147483647 h 518"/>
                <a:gd name="T26" fmla="*/ 2147483647 w 399"/>
                <a:gd name="T27" fmla="*/ 2147483647 h 518"/>
                <a:gd name="T28" fmla="*/ 2147483647 w 399"/>
                <a:gd name="T29" fmla="*/ 2147483647 h 518"/>
                <a:gd name="T30" fmla="*/ 2147483647 w 399"/>
                <a:gd name="T31" fmla="*/ 2147483647 h 518"/>
                <a:gd name="T32" fmla="*/ 2147483647 w 399"/>
                <a:gd name="T33" fmla="*/ 2147483647 h 518"/>
                <a:gd name="T34" fmla="*/ 2147483647 w 399"/>
                <a:gd name="T35" fmla="*/ 2147483647 h 518"/>
                <a:gd name="T36" fmla="*/ 2147483647 w 399"/>
                <a:gd name="T37" fmla="*/ 2147483647 h 518"/>
                <a:gd name="T38" fmla="*/ 2147483647 w 399"/>
                <a:gd name="T39" fmla="*/ 2147483647 h 518"/>
                <a:gd name="T40" fmla="*/ 2147483647 w 399"/>
                <a:gd name="T41" fmla="*/ 2147483647 h 518"/>
                <a:gd name="T42" fmla="*/ 2147483647 w 399"/>
                <a:gd name="T43" fmla="*/ 2147483647 h 518"/>
                <a:gd name="T44" fmla="*/ 2147483647 w 399"/>
                <a:gd name="T45" fmla="*/ 2147483647 h 518"/>
                <a:gd name="T46" fmla="*/ 2147483647 w 399"/>
                <a:gd name="T47" fmla="*/ 2147483647 h 518"/>
                <a:gd name="T48" fmla="*/ 2147483647 w 399"/>
                <a:gd name="T49" fmla="*/ 2147483647 h 518"/>
                <a:gd name="T50" fmla="*/ 2147483647 w 399"/>
                <a:gd name="T51" fmla="*/ 2147483647 h 518"/>
                <a:gd name="T52" fmla="*/ 2147483647 w 399"/>
                <a:gd name="T53" fmla="*/ 2147483647 h 518"/>
                <a:gd name="T54" fmla="*/ 2147483647 w 399"/>
                <a:gd name="T55" fmla="*/ 2147483647 h 518"/>
                <a:gd name="T56" fmla="*/ 2147483647 w 399"/>
                <a:gd name="T57" fmla="*/ 2147483647 h 518"/>
                <a:gd name="T58" fmla="*/ 2147483647 w 399"/>
                <a:gd name="T59" fmla="*/ 2147483647 h 518"/>
                <a:gd name="T60" fmla="*/ 2147483647 w 399"/>
                <a:gd name="T61" fmla="*/ 2147483647 h 518"/>
                <a:gd name="T62" fmla="*/ 2147483647 w 399"/>
                <a:gd name="T63" fmla="*/ 2147483647 h 518"/>
                <a:gd name="T64" fmla="*/ 2147483647 w 399"/>
                <a:gd name="T65" fmla="*/ 2147483647 h 518"/>
                <a:gd name="T66" fmla="*/ 2147483647 w 399"/>
                <a:gd name="T67" fmla="*/ 2147483647 h 518"/>
                <a:gd name="T68" fmla="*/ 2147483647 w 399"/>
                <a:gd name="T69" fmla="*/ 2147483647 h 518"/>
                <a:gd name="T70" fmla="*/ 2147483647 w 399"/>
                <a:gd name="T71" fmla="*/ 2147483647 h 518"/>
                <a:gd name="T72" fmla="*/ 2147483647 w 399"/>
                <a:gd name="T73" fmla="*/ 2147483647 h 518"/>
                <a:gd name="T74" fmla="*/ 2147483647 w 399"/>
                <a:gd name="T75" fmla="*/ 2147483647 h 518"/>
                <a:gd name="T76" fmla="*/ 2147483647 w 399"/>
                <a:gd name="T77" fmla="*/ 2147483647 h 518"/>
                <a:gd name="T78" fmla="*/ 2147483647 w 399"/>
                <a:gd name="T79" fmla="*/ 2147483647 h 518"/>
                <a:gd name="T80" fmla="*/ 2147483647 w 399"/>
                <a:gd name="T81" fmla="*/ 2147483647 h 518"/>
                <a:gd name="T82" fmla="*/ 2147483647 w 399"/>
                <a:gd name="T83" fmla="*/ 2147483647 h 518"/>
                <a:gd name="T84" fmla="*/ 2147483647 w 399"/>
                <a:gd name="T85" fmla="*/ 2147483647 h 518"/>
                <a:gd name="T86" fmla="*/ 0 w 399"/>
                <a:gd name="T87" fmla="*/ 2147483647 h 518"/>
                <a:gd name="T88" fmla="*/ 2147483647 w 399"/>
                <a:gd name="T89" fmla="*/ 2147483647 h 518"/>
                <a:gd name="T90" fmla="*/ 2147483647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399"/>
                <a:gd name="T139" fmla="*/ 0 h 518"/>
                <a:gd name="T140" fmla="*/ 399 w 399"/>
                <a:gd name="T141" fmla="*/ 518 h 51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5" name="Freeform 545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5278211" y="2918340"/>
              <a:ext cx="342804" cy="351901"/>
            </a:xfrm>
            <a:custGeom>
              <a:avLst/>
              <a:gdLst>
                <a:gd name="T0" fmla="*/ 2147483647 w 866"/>
                <a:gd name="T1" fmla="*/ 2147483647 h 740"/>
                <a:gd name="T2" fmla="*/ 2147483647 w 866"/>
                <a:gd name="T3" fmla="*/ 2147483647 h 740"/>
                <a:gd name="T4" fmla="*/ 2147483647 w 866"/>
                <a:gd name="T5" fmla="*/ 2147483647 h 740"/>
                <a:gd name="T6" fmla="*/ 2147483647 w 866"/>
                <a:gd name="T7" fmla="*/ 2147483647 h 740"/>
                <a:gd name="T8" fmla="*/ 2147483647 w 866"/>
                <a:gd name="T9" fmla="*/ 2147483647 h 740"/>
                <a:gd name="T10" fmla="*/ 2147483647 w 866"/>
                <a:gd name="T11" fmla="*/ 2147483647 h 740"/>
                <a:gd name="T12" fmla="*/ 2147483647 w 866"/>
                <a:gd name="T13" fmla="*/ 2147483647 h 740"/>
                <a:gd name="T14" fmla="*/ 2147483647 w 866"/>
                <a:gd name="T15" fmla="*/ 2147483647 h 740"/>
                <a:gd name="T16" fmla="*/ 2147483647 w 866"/>
                <a:gd name="T17" fmla="*/ 2147483647 h 740"/>
                <a:gd name="T18" fmla="*/ 2147483647 w 866"/>
                <a:gd name="T19" fmla="*/ 2147483647 h 740"/>
                <a:gd name="T20" fmla="*/ 2147483647 w 866"/>
                <a:gd name="T21" fmla="*/ 2147483647 h 740"/>
                <a:gd name="T22" fmla="*/ 2147483647 w 866"/>
                <a:gd name="T23" fmla="*/ 2147483647 h 740"/>
                <a:gd name="T24" fmla="*/ 2147483647 w 866"/>
                <a:gd name="T25" fmla="*/ 2147483647 h 740"/>
                <a:gd name="T26" fmla="*/ 2147483647 w 866"/>
                <a:gd name="T27" fmla="*/ 2147483647 h 740"/>
                <a:gd name="T28" fmla="*/ 2147483647 w 866"/>
                <a:gd name="T29" fmla="*/ 2147483647 h 740"/>
                <a:gd name="T30" fmla="*/ 2147483647 w 866"/>
                <a:gd name="T31" fmla="*/ 2147483647 h 740"/>
                <a:gd name="T32" fmla="*/ 2147483647 w 866"/>
                <a:gd name="T33" fmla="*/ 2147483647 h 740"/>
                <a:gd name="T34" fmla="*/ 2147483647 w 866"/>
                <a:gd name="T35" fmla="*/ 2147483647 h 740"/>
                <a:gd name="T36" fmla="*/ 2147483647 w 866"/>
                <a:gd name="T37" fmla="*/ 2147483647 h 740"/>
                <a:gd name="T38" fmla="*/ 2147483647 w 866"/>
                <a:gd name="T39" fmla="*/ 2147483647 h 740"/>
                <a:gd name="T40" fmla="*/ 2147483647 w 866"/>
                <a:gd name="T41" fmla="*/ 2147483647 h 740"/>
                <a:gd name="T42" fmla="*/ 2147483647 w 866"/>
                <a:gd name="T43" fmla="*/ 2147483647 h 740"/>
                <a:gd name="T44" fmla="*/ 2147483647 w 866"/>
                <a:gd name="T45" fmla="*/ 2147483647 h 740"/>
                <a:gd name="T46" fmla="*/ 2147483647 w 866"/>
                <a:gd name="T47" fmla="*/ 2147483647 h 740"/>
                <a:gd name="T48" fmla="*/ 2147483647 w 866"/>
                <a:gd name="T49" fmla="*/ 2147483647 h 740"/>
                <a:gd name="T50" fmla="*/ 2147483647 w 866"/>
                <a:gd name="T51" fmla="*/ 2147483647 h 740"/>
                <a:gd name="T52" fmla="*/ 2147483647 w 866"/>
                <a:gd name="T53" fmla="*/ 2147483647 h 740"/>
                <a:gd name="T54" fmla="*/ 2147483647 w 866"/>
                <a:gd name="T55" fmla="*/ 2147483647 h 740"/>
                <a:gd name="T56" fmla="*/ 2147483647 w 866"/>
                <a:gd name="T57" fmla="*/ 2147483647 h 740"/>
                <a:gd name="T58" fmla="*/ 2147483647 w 866"/>
                <a:gd name="T59" fmla="*/ 2147483647 h 740"/>
                <a:gd name="T60" fmla="*/ 2147483647 w 866"/>
                <a:gd name="T61" fmla="*/ 2147483647 h 740"/>
                <a:gd name="T62" fmla="*/ 2147483647 w 866"/>
                <a:gd name="T63" fmla="*/ 2147483647 h 740"/>
                <a:gd name="T64" fmla="*/ 2147483647 w 866"/>
                <a:gd name="T65" fmla="*/ 2147483647 h 740"/>
                <a:gd name="T66" fmla="*/ 2147483647 w 866"/>
                <a:gd name="T67" fmla="*/ 2147483647 h 740"/>
                <a:gd name="T68" fmla="*/ 2147483647 w 866"/>
                <a:gd name="T69" fmla="*/ 2147483647 h 740"/>
                <a:gd name="T70" fmla="*/ 2147483647 w 866"/>
                <a:gd name="T71" fmla="*/ 2147483647 h 740"/>
                <a:gd name="T72" fmla="*/ 2147483647 w 866"/>
                <a:gd name="T73" fmla="*/ 2147483647 h 740"/>
                <a:gd name="T74" fmla="*/ 2147483647 w 866"/>
                <a:gd name="T75" fmla="*/ 2147483647 h 740"/>
                <a:gd name="T76" fmla="*/ 2147483647 w 866"/>
                <a:gd name="T77" fmla="*/ 2147483647 h 740"/>
                <a:gd name="T78" fmla="*/ 2147483647 w 866"/>
                <a:gd name="T79" fmla="*/ 2147483647 h 740"/>
                <a:gd name="T80" fmla="*/ 2147483647 w 866"/>
                <a:gd name="T81" fmla="*/ 2147483647 h 740"/>
                <a:gd name="T82" fmla="*/ 2147483647 w 866"/>
                <a:gd name="T83" fmla="*/ 2147483647 h 740"/>
                <a:gd name="T84" fmla="*/ 2147483647 w 866"/>
                <a:gd name="T85" fmla="*/ 2147483647 h 740"/>
                <a:gd name="T86" fmla="*/ 2147483647 w 866"/>
                <a:gd name="T87" fmla="*/ 2147483647 h 740"/>
                <a:gd name="T88" fmla="*/ 2147483647 w 866"/>
                <a:gd name="T89" fmla="*/ 2147483647 h 740"/>
                <a:gd name="T90" fmla="*/ 2147483647 w 866"/>
                <a:gd name="T91" fmla="*/ 2147483647 h 740"/>
                <a:gd name="T92" fmla="*/ 2147483647 w 866"/>
                <a:gd name="T93" fmla="*/ 2147483647 h 740"/>
                <a:gd name="T94" fmla="*/ 2147483647 w 866"/>
                <a:gd name="T95" fmla="*/ 2147483647 h 740"/>
                <a:gd name="T96" fmla="*/ 2147483647 w 866"/>
                <a:gd name="T97" fmla="*/ 2147483647 h 740"/>
                <a:gd name="T98" fmla="*/ 2147483647 w 866"/>
                <a:gd name="T99" fmla="*/ 2147483647 h 740"/>
                <a:gd name="T100" fmla="*/ 2147483647 w 866"/>
                <a:gd name="T101" fmla="*/ 2147483647 h 740"/>
                <a:gd name="T102" fmla="*/ 2147483647 w 866"/>
                <a:gd name="T103" fmla="*/ 2147483647 h 740"/>
                <a:gd name="T104" fmla="*/ 2147483647 w 866"/>
                <a:gd name="T105" fmla="*/ 2147483647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866"/>
                <a:gd name="T160" fmla="*/ 0 h 740"/>
                <a:gd name="T161" fmla="*/ 866 w 866"/>
                <a:gd name="T162" fmla="*/ 740 h 74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7" name="Freeform 547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5615229" y="1593279"/>
              <a:ext cx="215517" cy="83993"/>
            </a:xfrm>
            <a:custGeom>
              <a:avLst/>
              <a:gdLst>
                <a:gd name="T0" fmla="*/ 2147483647 w 546"/>
                <a:gd name="T1" fmla="*/ 2147483647 h 173"/>
                <a:gd name="T2" fmla="*/ 2147483647 w 546"/>
                <a:gd name="T3" fmla="*/ 2147483647 h 173"/>
                <a:gd name="T4" fmla="*/ 2147483647 w 546"/>
                <a:gd name="T5" fmla="*/ 2147483647 h 173"/>
                <a:gd name="T6" fmla="*/ 2147483647 w 546"/>
                <a:gd name="T7" fmla="*/ 2147483647 h 173"/>
                <a:gd name="T8" fmla="*/ 2147483647 w 546"/>
                <a:gd name="T9" fmla="*/ 2147483647 h 173"/>
                <a:gd name="T10" fmla="*/ 2147483647 w 546"/>
                <a:gd name="T11" fmla="*/ 2147483647 h 173"/>
                <a:gd name="T12" fmla="*/ 2147483647 w 546"/>
                <a:gd name="T13" fmla="*/ 2147483647 h 173"/>
                <a:gd name="T14" fmla="*/ 2147483647 w 546"/>
                <a:gd name="T15" fmla="*/ 2147483647 h 173"/>
                <a:gd name="T16" fmla="*/ 2147483647 w 546"/>
                <a:gd name="T17" fmla="*/ 2147483647 h 173"/>
                <a:gd name="T18" fmla="*/ 2147483647 w 546"/>
                <a:gd name="T19" fmla="*/ 2147483647 h 173"/>
                <a:gd name="T20" fmla="*/ 2147483647 w 546"/>
                <a:gd name="T21" fmla="*/ 2147483647 h 173"/>
                <a:gd name="T22" fmla="*/ 2147483647 w 546"/>
                <a:gd name="T23" fmla="*/ 2147483647 h 173"/>
                <a:gd name="T24" fmla="*/ 2147483647 w 546"/>
                <a:gd name="T25" fmla="*/ 2147483647 h 173"/>
                <a:gd name="T26" fmla="*/ 2147483647 w 546"/>
                <a:gd name="T27" fmla="*/ 2147483647 h 173"/>
                <a:gd name="T28" fmla="*/ 2147483647 w 546"/>
                <a:gd name="T29" fmla="*/ 0 h 173"/>
                <a:gd name="T30" fmla="*/ 2147483647 w 546"/>
                <a:gd name="T31" fmla="*/ 2147483647 h 173"/>
                <a:gd name="T32" fmla="*/ 2147483647 w 546"/>
                <a:gd name="T33" fmla="*/ 2147483647 h 173"/>
                <a:gd name="T34" fmla="*/ 2147483647 w 546"/>
                <a:gd name="T35" fmla="*/ 2147483647 h 173"/>
                <a:gd name="T36" fmla="*/ 2147483647 w 546"/>
                <a:gd name="T37" fmla="*/ 2147483647 h 173"/>
                <a:gd name="T38" fmla="*/ 2147483647 w 546"/>
                <a:gd name="T39" fmla="*/ 2147483647 h 173"/>
                <a:gd name="T40" fmla="*/ 2147483647 w 546"/>
                <a:gd name="T41" fmla="*/ 2147483647 h 173"/>
                <a:gd name="T42" fmla="*/ 2147483647 w 546"/>
                <a:gd name="T43" fmla="*/ 2147483647 h 173"/>
                <a:gd name="T44" fmla="*/ 2147483647 w 546"/>
                <a:gd name="T45" fmla="*/ 2147483647 h 173"/>
                <a:gd name="T46" fmla="*/ 2147483647 w 546"/>
                <a:gd name="T47" fmla="*/ 2147483647 h 173"/>
                <a:gd name="T48" fmla="*/ 2147483647 w 546"/>
                <a:gd name="T49" fmla="*/ 2147483647 h 173"/>
                <a:gd name="T50" fmla="*/ 2147483647 w 546"/>
                <a:gd name="T51" fmla="*/ 2147483647 h 173"/>
                <a:gd name="T52" fmla="*/ 2147483647 w 546"/>
                <a:gd name="T53" fmla="*/ 2147483647 h 173"/>
                <a:gd name="T54" fmla="*/ 2147483647 w 546"/>
                <a:gd name="T55" fmla="*/ 2147483647 h 173"/>
                <a:gd name="T56" fmla="*/ 2147483647 w 546"/>
                <a:gd name="T57" fmla="*/ 2147483647 h 173"/>
                <a:gd name="T58" fmla="*/ 2147483647 w 546"/>
                <a:gd name="T59" fmla="*/ 2147483647 h 173"/>
                <a:gd name="T60" fmla="*/ 2147483647 w 546"/>
                <a:gd name="T61" fmla="*/ 2147483647 h 173"/>
                <a:gd name="T62" fmla="*/ 2147483647 w 546"/>
                <a:gd name="T63" fmla="*/ 2147483647 h 173"/>
                <a:gd name="T64" fmla="*/ 2147483647 w 546"/>
                <a:gd name="T65" fmla="*/ 2147483647 h 173"/>
                <a:gd name="T66" fmla="*/ 2147483647 w 546"/>
                <a:gd name="T67" fmla="*/ 2147483647 h 173"/>
                <a:gd name="T68" fmla="*/ 2147483647 w 546"/>
                <a:gd name="T69" fmla="*/ 2147483647 h 173"/>
                <a:gd name="T70" fmla="*/ 2147483647 w 546"/>
                <a:gd name="T71" fmla="*/ 2147483647 h 173"/>
                <a:gd name="T72" fmla="*/ 2147483647 w 546"/>
                <a:gd name="T73" fmla="*/ 2147483647 h 173"/>
                <a:gd name="T74" fmla="*/ 2147483647 w 546"/>
                <a:gd name="T75" fmla="*/ 2147483647 h 173"/>
                <a:gd name="T76" fmla="*/ 2147483647 w 546"/>
                <a:gd name="T77" fmla="*/ 2147483647 h 173"/>
                <a:gd name="T78" fmla="*/ 2147483647 w 546"/>
                <a:gd name="T79" fmla="*/ 2147483647 h 173"/>
                <a:gd name="T80" fmla="*/ 2147483647 w 546"/>
                <a:gd name="T81" fmla="*/ 2147483647 h 173"/>
                <a:gd name="T82" fmla="*/ 2147483647 w 546"/>
                <a:gd name="T83" fmla="*/ 2147483647 h 173"/>
                <a:gd name="T84" fmla="*/ 2147483647 w 546"/>
                <a:gd name="T85" fmla="*/ 2147483647 h 173"/>
                <a:gd name="T86" fmla="*/ 2147483647 w 546"/>
                <a:gd name="T87" fmla="*/ 2147483647 h 173"/>
                <a:gd name="T88" fmla="*/ 2147483647 w 546"/>
                <a:gd name="T89" fmla="*/ 2147483647 h 173"/>
                <a:gd name="T90" fmla="*/ 2147483647 w 546"/>
                <a:gd name="T91" fmla="*/ 2147483647 h 173"/>
                <a:gd name="T92" fmla="*/ 2147483647 w 546"/>
                <a:gd name="T93" fmla="*/ 2147483647 h 173"/>
                <a:gd name="T94" fmla="*/ 2147483647 w 546"/>
                <a:gd name="T95" fmla="*/ 2147483647 h 173"/>
                <a:gd name="T96" fmla="*/ 2147483647 w 546"/>
                <a:gd name="T97" fmla="*/ 2147483647 h 173"/>
                <a:gd name="T98" fmla="*/ 2147483647 w 546"/>
                <a:gd name="T99" fmla="*/ 2147483647 h 173"/>
                <a:gd name="T100" fmla="*/ 2147483647 w 546"/>
                <a:gd name="T101" fmla="*/ 214748364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546"/>
                <a:gd name="T154" fmla="*/ 0 h 173"/>
                <a:gd name="T155" fmla="*/ 546 w 546"/>
                <a:gd name="T156" fmla="*/ 173 h 173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8" name="Freeform 548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6080979" y="1578797"/>
              <a:ext cx="98357" cy="55030"/>
            </a:xfrm>
            <a:custGeom>
              <a:avLst/>
              <a:gdLst>
                <a:gd name="T0" fmla="*/ 2147483647 w 246"/>
                <a:gd name="T1" fmla="*/ 2147483647 h 42"/>
                <a:gd name="T2" fmla="*/ 2147483647 w 246"/>
                <a:gd name="T3" fmla="*/ 2147483647 h 42"/>
                <a:gd name="T4" fmla="*/ 2147483647 w 246"/>
                <a:gd name="T5" fmla="*/ 2147483647 h 42"/>
                <a:gd name="T6" fmla="*/ 2147483647 w 246"/>
                <a:gd name="T7" fmla="*/ 2147483647 h 42"/>
                <a:gd name="T8" fmla="*/ 2147483647 w 246"/>
                <a:gd name="T9" fmla="*/ 2147483647 h 42"/>
                <a:gd name="T10" fmla="*/ 2147483647 w 246"/>
                <a:gd name="T11" fmla="*/ 2147483647 h 42"/>
                <a:gd name="T12" fmla="*/ 2147483647 w 246"/>
                <a:gd name="T13" fmla="*/ 2147483647 h 42"/>
                <a:gd name="T14" fmla="*/ 2147483647 w 246"/>
                <a:gd name="T15" fmla="*/ 2147483647 h 42"/>
                <a:gd name="T16" fmla="*/ 2147483647 w 246"/>
                <a:gd name="T17" fmla="*/ 2147483647 h 42"/>
                <a:gd name="T18" fmla="*/ 2147483647 w 246"/>
                <a:gd name="T19" fmla="*/ 2147483647 h 42"/>
                <a:gd name="T20" fmla="*/ 2147483647 w 246"/>
                <a:gd name="T21" fmla="*/ 2147483647 h 42"/>
                <a:gd name="T22" fmla="*/ 2147483647 w 246"/>
                <a:gd name="T23" fmla="*/ 2147483647 h 42"/>
                <a:gd name="T24" fmla="*/ 2147483647 w 246"/>
                <a:gd name="T25" fmla="*/ 2147483647 h 42"/>
                <a:gd name="T26" fmla="*/ 2147483647 w 246"/>
                <a:gd name="T27" fmla="*/ 2147483647 h 42"/>
                <a:gd name="T28" fmla="*/ 2147483647 w 246"/>
                <a:gd name="T29" fmla="*/ 2147483647 h 42"/>
                <a:gd name="T30" fmla="*/ 2147483647 w 246"/>
                <a:gd name="T31" fmla="*/ 2147483647 h 42"/>
                <a:gd name="T32" fmla="*/ 2147483647 w 246"/>
                <a:gd name="T33" fmla="*/ 2147483647 h 42"/>
                <a:gd name="T34" fmla="*/ 2147483647 w 246"/>
                <a:gd name="T35" fmla="*/ 2147483647 h 42"/>
                <a:gd name="T36" fmla="*/ 2147483647 w 246"/>
                <a:gd name="T37" fmla="*/ 2147483647 h 42"/>
                <a:gd name="T38" fmla="*/ 2147483647 w 246"/>
                <a:gd name="T39" fmla="*/ 2147483647 h 42"/>
                <a:gd name="T40" fmla="*/ 2147483647 w 246"/>
                <a:gd name="T41" fmla="*/ 2147483647 h 42"/>
                <a:gd name="T42" fmla="*/ 2147483647 w 246"/>
                <a:gd name="T43" fmla="*/ 2147483647 h 42"/>
                <a:gd name="T44" fmla="*/ 2147483647 w 246"/>
                <a:gd name="T45" fmla="*/ 2147483647 h 42"/>
                <a:gd name="T46" fmla="*/ 2147483647 w 246"/>
                <a:gd name="T47" fmla="*/ 2147483647 h 42"/>
                <a:gd name="T48" fmla="*/ 2147483647 w 246"/>
                <a:gd name="T49" fmla="*/ 2147483647 h 42"/>
                <a:gd name="T50" fmla="*/ 2147483647 w 246"/>
                <a:gd name="T51" fmla="*/ 2147483647 h 42"/>
                <a:gd name="T52" fmla="*/ 2147483647 w 246"/>
                <a:gd name="T53" fmla="*/ 2147483647 h 42"/>
                <a:gd name="T54" fmla="*/ 2147483647 w 246"/>
                <a:gd name="T55" fmla="*/ 2147483647 h 42"/>
                <a:gd name="T56" fmla="*/ 2147483647 w 246"/>
                <a:gd name="T57" fmla="*/ 2147483647 h 42"/>
                <a:gd name="T58" fmla="*/ 2147483647 w 246"/>
                <a:gd name="T59" fmla="*/ 2147483647 h 42"/>
                <a:gd name="T60" fmla="*/ 2147483647 w 246"/>
                <a:gd name="T61" fmla="*/ 2147483647 h 42"/>
                <a:gd name="T62" fmla="*/ 2147483647 w 246"/>
                <a:gd name="T63" fmla="*/ 2147483647 h 42"/>
                <a:gd name="T64" fmla="*/ 2147483647 w 246"/>
                <a:gd name="T65" fmla="*/ 0 h 42"/>
                <a:gd name="T66" fmla="*/ 2147483647 w 246"/>
                <a:gd name="T67" fmla="*/ 2147483647 h 42"/>
                <a:gd name="T68" fmla="*/ 2147483647 w 246"/>
                <a:gd name="T69" fmla="*/ 2147483647 h 42"/>
                <a:gd name="T70" fmla="*/ 2147483647 w 246"/>
                <a:gd name="T71" fmla="*/ 2147483647 h 42"/>
                <a:gd name="T72" fmla="*/ 2147483647 w 246"/>
                <a:gd name="T73" fmla="*/ 2147483647 h 42"/>
                <a:gd name="T74" fmla="*/ 2147483647 w 246"/>
                <a:gd name="T75" fmla="*/ 2147483647 h 42"/>
                <a:gd name="T76" fmla="*/ 2147483647 w 246"/>
                <a:gd name="T77" fmla="*/ 2147483647 h 42"/>
                <a:gd name="T78" fmla="*/ 2147483647 w 246"/>
                <a:gd name="T79" fmla="*/ 2147483647 h 42"/>
                <a:gd name="T80" fmla="*/ 2147483647 w 246"/>
                <a:gd name="T81" fmla="*/ 2147483647 h 42"/>
                <a:gd name="T82" fmla="*/ 2147483647 w 246"/>
                <a:gd name="T83" fmla="*/ 2147483647 h 42"/>
                <a:gd name="T84" fmla="*/ 2147483647 w 246"/>
                <a:gd name="T85" fmla="*/ 2147483647 h 42"/>
                <a:gd name="T86" fmla="*/ 2147483647 w 246"/>
                <a:gd name="T87" fmla="*/ 2147483647 h 42"/>
                <a:gd name="T88" fmla="*/ 2147483647 w 246"/>
                <a:gd name="T89" fmla="*/ 2147483647 h 42"/>
                <a:gd name="T90" fmla="*/ 2147483647 w 246"/>
                <a:gd name="T91" fmla="*/ 2147483647 h 42"/>
                <a:gd name="T92" fmla="*/ 0 w 246"/>
                <a:gd name="T93" fmla="*/ 2147483647 h 42"/>
                <a:gd name="T94" fmla="*/ 2147483647 w 246"/>
                <a:gd name="T95" fmla="*/ 2147483647 h 42"/>
                <a:gd name="T96" fmla="*/ 2147483647 w 246"/>
                <a:gd name="T97" fmla="*/ 2147483647 h 42"/>
                <a:gd name="T98" fmla="*/ 2147483647 w 246"/>
                <a:gd name="T99" fmla="*/ 2147483647 h 42"/>
                <a:gd name="T100" fmla="*/ 2147483647 w 246"/>
                <a:gd name="T101" fmla="*/ 2147483647 h 42"/>
                <a:gd name="T102" fmla="*/ 2147483647 w 246"/>
                <a:gd name="T103" fmla="*/ 2147483647 h 42"/>
                <a:gd name="T104" fmla="*/ 2147483647 w 246"/>
                <a:gd name="T105" fmla="*/ 214748364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46"/>
                <a:gd name="T160" fmla="*/ 0 h 42"/>
                <a:gd name="T161" fmla="*/ 246 w 246"/>
                <a:gd name="T162" fmla="*/ 42 h 4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9" name="Freeform 549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6211158" y="1562868"/>
              <a:ext cx="57857" cy="52134"/>
            </a:xfrm>
            <a:custGeom>
              <a:avLst/>
              <a:gdLst>
                <a:gd name="T0" fmla="*/ 2147483647 w 149"/>
                <a:gd name="T1" fmla="*/ 0 h 61"/>
                <a:gd name="T2" fmla="*/ 2147483647 w 149"/>
                <a:gd name="T3" fmla="*/ 2147483647 h 61"/>
                <a:gd name="T4" fmla="*/ 2147483647 w 149"/>
                <a:gd name="T5" fmla="*/ 2147483647 h 61"/>
                <a:gd name="T6" fmla="*/ 2147483647 w 149"/>
                <a:gd name="T7" fmla="*/ 2147483647 h 61"/>
                <a:gd name="T8" fmla="*/ 2147483647 w 149"/>
                <a:gd name="T9" fmla="*/ 2147483647 h 61"/>
                <a:gd name="T10" fmla="*/ 2147483647 w 149"/>
                <a:gd name="T11" fmla="*/ 2147483647 h 61"/>
                <a:gd name="T12" fmla="*/ 2147483647 w 149"/>
                <a:gd name="T13" fmla="*/ 2147483647 h 61"/>
                <a:gd name="T14" fmla="*/ 2147483647 w 149"/>
                <a:gd name="T15" fmla="*/ 2147483647 h 61"/>
                <a:gd name="T16" fmla="*/ 2147483647 w 149"/>
                <a:gd name="T17" fmla="*/ 2147483647 h 61"/>
                <a:gd name="T18" fmla="*/ 2147483647 w 149"/>
                <a:gd name="T19" fmla="*/ 2147483647 h 61"/>
                <a:gd name="T20" fmla="*/ 2147483647 w 149"/>
                <a:gd name="T21" fmla="*/ 2147483647 h 61"/>
                <a:gd name="T22" fmla="*/ 2147483647 w 149"/>
                <a:gd name="T23" fmla="*/ 2147483647 h 61"/>
                <a:gd name="T24" fmla="*/ 2147483647 w 149"/>
                <a:gd name="T25" fmla="*/ 2147483647 h 61"/>
                <a:gd name="T26" fmla="*/ 2147483647 w 149"/>
                <a:gd name="T27" fmla="*/ 2147483647 h 61"/>
                <a:gd name="T28" fmla="*/ 2147483647 w 149"/>
                <a:gd name="T29" fmla="*/ 2147483647 h 61"/>
                <a:gd name="T30" fmla="*/ 2147483647 w 149"/>
                <a:gd name="T31" fmla="*/ 2147483647 h 61"/>
                <a:gd name="T32" fmla="*/ 2147483647 w 149"/>
                <a:gd name="T33" fmla="*/ 2147483647 h 61"/>
                <a:gd name="T34" fmla="*/ 2147483647 w 149"/>
                <a:gd name="T35" fmla="*/ 2147483647 h 61"/>
                <a:gd name="T36" fmla="*/ 2147483647 w 149"/>
                <a:gd name="T37" fmla="*/ 2147483647 h 61"/>
                <a:gd name="T38" fmla="*/ 2147483647 w 149"/>
                <a:gd name="T39" fmla="*/ 2147483647 h 61"/>
                <a:gd name="T40" fmla="*/ 2147483647 w 149"/>
                <a:gd name="T41" fmla="*/ 2147483647 h 61"/>
                <a:gd name="T42" fmla="*/ 2147483647 w 149"/>
                <a:gd name="T43" fmla="*/ 2147483647 h 61"/>
                <a:gd name="T44" fmla="*/ 2147483647 w 149"/>
                <a:gd name="T45" fmla="*/ 2147483647 h 61"/>
                <a:gd name="T46" fmla="*/ 2147483647 w 149"/>
                <a:gd name="T47" fmla="*/ 2147483647 h 61"/>
                <a:gd name="T48" fmla="*/ 2147483647 w 149"/>
                <a:gd name="T49" fmla="*/ 2147483647 h 61"/>
                <a:gd name="T50" fmla="*/ 2147483647 w 149"/>
                <a:gd name="T51" fmla="*/ 2147483647 h 61"/>
                <a:gd name="T52" fmla="*/ 2147483647 w 149"/>
                <a:gd name="T53" fmla="*/ 2147483647 h 61"/>
                <a:gd name="T54" fmla="*/ 2147483647 w 149"/>
                <a:gd name="T55" fmla="*/ 2147483647 h 61"/>
                <a:gd name="T56" fmla="*/ 2147483647 w 149"/>
                <a:gd name="T57" fmla="*/ 2147483647 h 61"/>
                <a:gd name="T58" fmla="*/ 2147483647 w 149"/>
                <a:gd name="T59" fmla="*/ 2147483647 h 61"/>
                <a:gd name="T60" fmla="*/ 2147483647 w 149"/>
                <a:gd name="T61" fmla="*/ 2147483647 h 61"/>
                <a:gd name="T62" fmla="*/ 2147483647 w 149"/>
                <a:gd name="T63" fmla="*/ 2147483647 h 61"/>
                <a:gd name="T64" fmla="*/ 0 w 149"/>
                <a:gd name="T65" fmla="*/ 2147483647 h 61"/>
                <a:gd name="T66" fmla="*/ 0 w 149"/>
                <a:gd name="T67" fmla="*/ 2147483647 h 61"/>
                <a:gd name="T68" fmla="*/ 2147483647 w 149"/>
                <a:gd name="T69" fmla="*/ 2147483647 h 61"/>
                <a:gd name="T70" fmla="*/ 2147483647 w 149"/>
                <a:gd name="T71" fmla="*/ 2147483647 h 61"/>
                <a:gd name="T72" fmla="*/ 2147483647 w 149"/>
                <a:gd name="T73" fmla="*/ 2147483647 h 61"/>
                <a:gd name="T74" fmla="*/ 2147483647 w 149"/>
                <a:gd name="T75" fmla="*/ 2147483647 h 61"/>
                <a:gd name="T76" fmla="*/ 2147483647 w 149"/>
                <a:gd name="T77" fmla="*/ 2147483647 h 61"/>
                <a:gd name="T78" fmla="*/ 2147483647 w 149"/>
                <a:gd name="T79" fmla="*/ 2147483647 h 61"/>
                <a:gd name="T80" fmla="*/ 2147483647 w 149"/>
                <a:gd name="T81" fmla="*/ 2147483647 h 61"/>
                <a:gd name="T82" fmla="*/ 2147483647 w 149"/>
                <a:gd name="T83" fmla="*/ 2147483647 h 61"/>
                <a:gd name="T84" fmla="*/ 2147483647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49"/>
                <a:gd name="T130" fmla="*/ 0 h 61"/>
                <a:gd name="T131" fmla="*/ 149 w 149"/>
                <a:gd name="T132" fmla="*/ 61 h 61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0" name="Freeform 550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6244425" y="1570108"/>
              <a:ext cx="118607" cy="52134"/>
            </a:xfrm>
            <a:custGeom>
              <a:avLst/>
              <a:gdLst>
                <a:gd name="T0" fmla="*/ 2147483647 w 299"/>
                <a:gd name="T1" fmla="*/ 2147483647 h 74"/>
                <a:gd name="T2" fmla="*/ 2147483647 w 299"/>
                <a:gd name="T3" fmla="*/ 2147483647 h 74"/>
                <a:gd name="T4" fmla="*/ 2147483647 w 299"/>
                <a:gd name="T5" fmla="*/ 2147483647 h 74"/>
                <a:gd name="T6" fmla="*/ 2147483647 w 299"/>
                <a:gd name="T7" fmla="*/ 2147483647 h 74"/>
                <a:gd name="T8" fmla="*/ 2147483647 w 299"/>
                <a:gd name="T9" fmla="*/ 2147483647 h 74"/>
                <a:gd name="T10" fmla="*/ 2147483647 w 299"/>
                <a:gd name="T11" fmla="*/ 2147483647 h 74"/>
                <a:gd name="T12" fmla="*/ 2147483647 w 299"/>
                <a:gd name="T13" fmla="*/ 2147483647 h 74"/>
                <a:gd name="T14" fmla="*/ 2147483647 w 299"/>
                <a:gd name="T15" fmla="*/ 2147483647 h 74"/>
                <a:gd name="T16" fmla="*/ 2147483647 w 299"/>
                <a:gd name="T17" fmla="*/ 2147483647 h 74"/>
                <a:gd name="T18" fmla="*/ 2147483647 w 299"/>
                <a:gd name="T19" fmla="*/ 2147483647 h 74"/>
                <a:gd name="T20" fmla="*/ 2147483647 w 299"/>
                <a:gd name="T21" fmla="*/ 2147483647 h 74"/>
                <a:gd name="T22" fmla="*/ 2147483647 w 299"/>
                <a:gd name="T23" fmla="*/ 2147483647 h 74"/>
                <a:gd name="T24" fmla="*/ 2147483647 w 299"/>
                <a:gd name="T25" fmla="*/ 2147483647 h 74"/>
                <a:gd name="T26" fmla="*/ 2147483647 w 299"/>
                <a:gd name="T27" fmla="*/ 2147483647 h 74"/>
                <a:gd name="T28" fmla="*/ 2147483647 w 299"/>
                <a:gd name="T29" fmla="*/ 2147483647 h 74"/>
                <a:gd name="T30" fmla="*/ 2147483647 w 299"/>
                <a:gd name="T31" fmla="*/ 2147483647 h 74"/>
                <a:gd name="T32" fmla="*/ 2147483647 w 299"/>
                <a:gd name="T33" fmla="*/ 2147483647 h 74"/>
                <a:gd name="T34" fmla="*/ 2147483647 w 299"/>
                <a:gd name="T35" fmla="*/ 2147483647 h 74"/>
                <a:gd name="T36" fmla="*/ 2147483647 w 299"/>
                <a:gd name="T37" fmla="*/ 2147483647 h 74"/>
                <a:gd name="T38" fmla="*/ 2147483647 w 299"/>
                <a:gd name="T39" fmla="*/ 2147483647 h 74"/>
                <a:gd name="T40" fmla="*/ 2147483647 w 299"/>
                <a:gd name="T41" fmla="*/ 2147483647 h 74"/>
                <a:gd name="T42" fmla="*/ 2147483647 w 299"/>
                <a:gd name="T43" fmla="*/ 2147483647 h 74"/>
                <a:gd name="T44" fmla="*/ 2147483647 w 299"/>
                <a:gd name="T45" fmla="*/ 0 h 74"/>
                <a:gd name="T46" fmla="*/ 2147483647 w 299"/>
                <a:gd name="T47" fmla="*/ 2147483647 h 74"/>
                <a:gd name="T48" fmla="*/ 2147483647 w 299"/>
                <a:gd name="T49" fmla="*/ 2147483647 h 74"/>
                <a:gd name="T50" fmla="*/ 2147483647 w 299"/>
                <a:gd name="T51" fmla="*/ 2147483647 h 74"/>
                <a:gd name="T52" fmla="*/ 2147483647 w 299"/>
                <a:gd name="T53" fmla="*/ 2147483647 h 74"/>
                <a:gd name="T54" fmla="*/ 2147483647 w 299"/>
                <a:gd name="T55" fmla="*/ 2147483647 h 74"/>
                <a:gd name="T56" fmla="*/ 2147483647 w 299"/>
                <a:gd name="T57" fmla="*/ 2147483647 h 74"/>
                <a:gd name="T58" fmla="*/ 2147483647 w 299"/>
                <a:gd name="T59" fmla="*/ 2147483647 h 74"/>
                <a:gd name="T60" fmla="*/ 2147483647 w 299"/>
                <a:gd name="T61" fmla="*/ 2147483647 h 74"/>
                <a:gd name="T62" fmla="*/ 2147483647 w 299"/>
                <a:gd name="T63" fmla="*/ 2147483647 h 74"/>
                <a:gd name="T64" fmla="*/ 2147483647 w 299"/>
                <a:gd name="T65" fmla="*/ 2147483647 h 74"/>
                <a:gd name="T66" fmla="*/ 2147483647 w 299"/>
                <a:gd name="T67" fmla="*/ 2147483647 h 74"/>
                <a:gd name="T68" fmla="*/ 2147483647 w 299"/>
                <a:gd name="T69" fmla="*/ 2147483647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99"/>
                <a:gd name="T106" fmla="*/ 0 h 74"/>
                <a:gd name="T107" fmla="*/ 299 w 299"/>
                <a:gd name="T108" fmla="*/ 74 h 7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013" kern="1200">
                <a:solidFill>
                  <a:srgbClr val="E7E6E6">
                    <a:lumMod val="75000"/>
                  </a:srgbClr>
                </a:solidFill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" name="Oval 2"/>
            <p:cNvSpPr/>
            <p:nvPr/>
          </p:nvSpPr>
          <p:spPr bwMode="auto">
            <a:xfrm>
              <a:off x="4250095" y="3688939"/>
              <a:ext cx="171106" cy="172331"/>
            </a:xfrm>
            <a:prstGeom prst="ellipse">
              <a:avLst/>
            </a:prstGeom>
            <a:solidFill>
              <a:srgbClr val="7030A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51435" tIns="25718" rIns="51435" bIns="25718" numCol="1" rtlCol="0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 kern="1200">
                <a:solidFill>
                  <a:srgbClr val="E7E6E6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stian Sans Light" pitchFamily="34" charset="0"/>
                <a:ea typeface="+mn-ea"/>
                <a:cs typeface="+mn-cs"/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8885647" y="4092791"/>
              <a:ext cx="179315" cy="194054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257175"/>
              <a:endParaRPr lang="en-US" sz="1013" kern="1200">
                <a:solidFill>
                  <a:srgbClr val="E7E6E6">
                    <a:lumMod val="75000"/>
                  </a:srgbClr>
                </a:solidFill>
              </a:endParaRPr>
            </a:p>
          </p:txBody>
        </p:sp>
      </p:grpSp>
      <p:sp>
        <p:nvSpPr>
          <p:cNvPr id="9" name="Rectangle 8"/>
          <p:cNvSpPr/>
          <p:nvPr/>
        </p:nvSpPr>
        <p:spPr>
          <a:xfrm>
            <a:off x="5727579" y="124076"/>
            <a:ext cx="3303008" cy="1323439"/>
          </a:xfrm>
          <a:prstGeom prst="rect">
            <a:avLst/>
          </a:prstGeom>
          <a:solidFill>
            <a:schemeClr val="accent1">
              <a:lumMod val="50000"/>
              <a:alpha val="65000"/>
            </a:schemeClr>
          </a:solidFill>
        </p:spPr>
        <p:txBody>
          <a:bodyPr wrap="square">
            <a:spAutoFit/>
          </a:bodyPr>
          <a:lstStyle/>
          <a:p>
            <a:pPr defTabSz="257175"/>
            <a:r>
              <a:rPr lang="en-US" sz="1600" kern="1200" cap="small" dirty="0">
                <a:solidFill>
                  <a:prstClr val="white"/>
                </a:solidFill>
                <a:latin typeface="Gill Sans MT" panose="020B0502020104020203" pitchFamily="34" charset="0"/>
                <a:ea typeface="+mn-ea"/>
                <a:cs typeface="Aharoni" panose="02010803020104030203" pitchFamily="2" charset="-79"/>
              </a:rPr>
              <a:t>Delivering: Energy, water, sanitation, health, education, telecom, solid waste management; Pilot Studies for transport, urban services &amp; housing 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3399594" y="4102096"/>
            <a:ext cx="4333790" cy="762488"/>
            <a:chOff x="6689973" y="4390305"/>
            <a:chExt cx="3825350" cy="1016651"/>
          </a:xfrm>
        </p:grpSpPr>
        <p:sp>
          <p:nvSpPr>
            <p:cNvPr id="5" name="Rectangle 4"/>
            <p:cNvSpPr/>
            <p:nvPr/>
          </p:nvSpPr>
          <p:spPr>
            <a:xfrm>
              <a:off x="6689973" y="4390305"/>
              <a:ext cx="3758464" cy="1004060"/>
            </a:xfrm>
            <a:prstGeom prst="rect">
              <a:avLst/>
            </a:prstGeom>
            <a:solidFill>
              <a:schemeClr val="accent5">
                <a:lumMod val="5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kern="1200">
                <a:solidFill>
                  <a:prstClr val="white"/>
                </a:solidFill>
              </a:endParaRP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6897333" y="4490876"/>
              <a:ext cx="3617990" cy="916080"/>
              <a:chOff x="3954256" y="5266552"/>
              <a:chExt cx="3286383" cy="916080"/>
            </a:xfrm>
          </p:grpSpPr>
          <p:sp>
            <p:nvSpPr>
              <p:cNvPr id="7" name="Rectangle 6"/>
              <p:cNvSpPr/>
              <p:nvPr/>
            </p:nvSpPr>
            <p:spPr>
              <a:xfrm>
                <a:off x="4145839" y="5813300"/>
                <a:ext cx="1582661" cy="369332"/>
              </a:xfrm>
              <a:prstGeom prst="rect">
                <a:avLst/>
              </a:prstGeom>
              <a:ln>
                <a:noFill/>
              </a:ln>
            </p:spPr>
            <p:txBody>
              <a:bodyPr wrap="none">
                <a:spAutoFit/>
              </a:bodyPr>
              <a:lstStyle/>
              <a:p>
                <a:r>
                  <a:rPr lang="en-US" sz="1200" kern="1200" dirty="0" err="1">
                    <a:solidFill>
                      <a:srgbClr val="E7E6E6">
                        <a:lumMod val="20000"/>
                        <a:lumOff val="80000"/>
                      </a:srgbClr>
                    </a:solidFill>
                    <a:latin typeface="Aharoni" panose="02010803020104030203" pitchFamily="2" charset="-79"/>
                    <a:ea typeface="+mn-ea"/>
                    <a:cs typeface="Aharoni" panose="02010803020104030203" pitchFamily="2" charset="-79"/>
                  </a:rPr>
                  <a:t>PforR</a:t>
                </a:r>
                <a:r>
                  <a:rPr lang="en-US" sz="1200" kern="1200" dirty="0">
                    <a:solidFill>
                      <a:srgbClr val="E7E6E6">
                        <a:lumMod val="20000"/>
                        <a:lumOff val="80000"/>
                      </a:srgbClr>
                    </a:solidFill>
                    <a:latin typeface="Aharoni" panose="02010803020104030203" pitchFamily="2" charset="-79"/>
                    <a:ea typeface="+mn-ea"/>
                    <a:cs typeface="Aharoni" panose="02010803020104030203" pitchFamily="2" charset="-79"/>
                  </a:rPr>
                  <a:t> SUPPORT</a:t>
                </a:r>
              </a:p>
            </p:txBody>
          </p:sp>
          <p:sp>
            <p:nvSpPr>
              <p:cNvPr id="528" name="TextBox 527"/>
              <p:cNvSpPr txBox="1"/>
              <p:nvPr/>
            </p:nvSpPr>
            <p:spPr>
              <a:xfrm>
                <a:off x="4136273" y="5266552"/>
                <a:ext cx="3104366" cy="61555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US" sz="1200" kern="1200" dirty="0">
                    <a:solidFill>
                      <a:srgbClr val="E7E6E6">
                        <a:lumMod val="20000"/>
                        <a:lumOff val="80000"/>
                      </a:srgbClr>
                    </a:solidFill>
                    <a:latin typeface="Aharoni" panose="02010803020104030203" pitchFamily="2" charset="-79"/>
                    <a:ea typeface="+mn-ea"/>
                    <a:cs typeface="Aharoni" panose="02010803020104030203" pitchFamily="2" charset="-79"/>
                  </a:rPr>
                  <a:t>SUBSIDY PORTFOLIO (</a:t>
                </a:r>
                <a:r>
                  <a:rPr lang="en-US" sz="1200" kern="1200" dirty="0" err="1">
                    <a:solidFill>
                      <a:srgbClr val="E7E6E6">
                        <a:lumMod val="20000"/>
                        <a:lumOff val="80000"/>
                      </a:srgbClr>
                    </a:solidFill>
                    <a:latin typeface="Aharoni" panose="02010803020104030203" pitchFamily="2" charset="-79"/>
                    <a:ea typeface="+mn-ea"/>
                    <a:cs typeface="Aharoni" panose="02010803020104030203" pitchFamily="2" charset="-79"/>
                  </a:rPr>
                  <a:t>active+closed</a:t>
                </a:r>
                <a:r>
                  <a:rPr lang="en-US" sz="1200" kern="1200" dirty="0">
                    <a:solidFill>
                      <a:srgbClr val="E7E6E6">
                        <a:lumMod val="20000"/>
                        <a:lumOff val="80000"/>
                      </a:srgbClr>
                    </a:solidFill>
                    <a:latin typeface="Aharoni" panose="02010803020104030203" pitchFamily="2" charset="-79"/>
                    <a:ea typeface="+mn-ea"/>
                    <a:cs typeface="Aharoni" panose="02010803020104030203" pitchFamily="2" charset="-79"/>
                  </a:rPr>
                  <a:t>)</a:t>
                </a:r>
              </a:p>
            </p:txBody>
          </p:sp>
          <p:sp>
            <p:nvSpPr>
              <p:cNvPr id="684" name="Rectangle 683"/>
              <p:cNvSpPr/>
              <p:nvPr/>
            </p:nvSpPr>
            <p:spPr bwMode="auto">
              <a:xfrm>
                <a:off x="3967041" y="5324973"/>
                <a:ext cx="214682" cy="154322"/>
              </a:xfrm>
              <a:prstGeom prst="rect">
                <a:avLst/>
              </a:prstGeom>
              <a:solidFill>
                <a:srgbClr val="CC0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51435" tIns="25718" rIns="51435" bIns="25718" numCol="1" rtlCol="0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kern="12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haroni" panose="02010803020104030203" pitchFamily="2" charset="-79"/>
                  <a:ea typeface="+mn-ea"/>
                  <a:cs typeface="Aharoni" panose="02010803020104030203" pitchFamily="2" charset="-79"/>
                </a:endParaRPr>
              </a:p>
            </p:txBody>
          </p:sp>
          <p:sp>
            <p:nvSpPr>
              <p:cNvPr id="755" name="Rectangle 754"/>
              <p:cNvSpPr/>
              <p:nvPr/>
            </p:nvSpPr>
            <p:spPr bwMode="auto">
              <a:xfrm>
                <a:off x="3954256" y="5592247"/>
                <a:ext cx="234295" cy="149424"/>
              </a:xfrm>
              <a:prstGeom prst="rect">
                <a:avLst/>
              </a:prstGeom>
              <a:solidFill>
                <a:srgbClr val="92D05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51435" tIns="25718" rIns="51435" bIns="25718" numCol="1" rtlCol="0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kern="12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haroni" panose="02010803020104030203" pitchFamily="2" charset="-79"/>
                  <a:ea typeface="+mn-ea"/>
                  <a:cs typeface="Aharoni" panose="02010803020104030203" pitchFamily="2" charset="-79"/>
                </a:endParaRPr>
              </a:p>
            </p:txBody>
          </p:sp>
          <p:sp>
            <p:nvSpPr>
              <p:cNvPr id="759" name="Rectangle 758"/>
              <p:cNvSpPr/>
              <p:nvPr/>
            </p:nvSpPr>
            <p:spPr bwMode="auto">
              <a:xfrm>
                <a:off x="3961683" y="5855025"/>
                <a:ext cx="226868" cy="150344"/>
              </a:xfrm>
              <a:prstGeom prst="rect">
                <a:avLst/>
              </a:prstGeom>
              <a:solidFill>
                <a:srgbClr val="7030A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51435" tIns="25718" rIns="51435" bIns="25718" numCol="1" rtlCol="0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kern="120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haroni" panose="02010803020104030203" pitchFamily="2" charset="-79"/>
                  <a:ea typeface="+mn-ea"/>
                  <a:cs typeface="Aharoni" panose="02010803020104030203" pitchFamily="2" charset="-79"/>
                </a:endParaRPr>
              </a:p>
            </p:txBody>
          </p:sp>
          <p:sp>
            <p:nvSpPr>
              <p:cNvPr id="774" name="Rectangle 773"/>
              <p:cNvSpPr/>
              <p:nvPr/>
            </p:nvSpPr>
            <p:spPr>
              <a:xfrm>
                <a:off x="4131514" y="5535519"/>
                <a:ext cx="2322351" cy="369332"/>
              </a:xfrm>
              <a:prstGeom prst="rect">
                <a:avLst/>
              </a:prstGeom>
              <a:ln>
                <a:noFill/>
              </a:ln>
            </p:spPr>
            <p:txBody>
              <a:bodyPr wrap="none">
                <a:spAutoFit/>
              </a:bodyPr>
              <a:lstStyle/>
              <a:p>
                <a:r>
                  <a:rPr lang="en-US" sz="1200" kern="1200" dirty="0">
                    <a:solidFill>
                      <a:srgbClr val="E7E6E6">
                        <a:lumMod val="20000"/>
                        <a:lumOff val="80000"/>
                      </a:srgbClr>
                    </a:solidFill>
                    <a:latin typeface="Aharoni" panose="02010803020104030203" pitchFamily="2" charset="-79"/>
                    <a:ea typeface="+mn-ea"/>
                    <a:cs typeface="Aharoni" panose="02010803020104030203" pitchFamily="2" charset="-79"/>
                  </a:rPr>
                  <a:t>TECHNICAL ASSISTANCE</a:t>
                </a:r>
              </a:p>
            </p:txBody>
          </p:sp>
        </p:grpSp>
      </p:grpSp>
      <p:sp>
        <p:nvSpPr>
          <p:cNvPr id="520" name="Rectangle 519"/>
          <p:cNvSpPr/>
          <p:nvPr/>
        </p:nvSpPr>
        <p:spPr>
          <a:xfrm>
            <a:off x="7830191" y="2701557"/>
            <a:ext cx="191508" cy="19688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57175"/>
            <a:endParaRPr lang="en-US" sz="1013" kern="1200">
              <a:solidFill>
                <a:srgbClr val="E7E6E6">
                  <a:lumMod val="75000"/>
                </a:srgbClr>
              </a:solidFill>
            </a:endParaRPr>
          </a:p>
        </p:txBody>
      </p:sp>
      <p:sp>
        <p:nvSpPr>
          <p:cNvPr id="521" name="Rectangle 520"/>
          <p:cNvSpPr/>
          <p:nvPr/>
        </p:nvSpPr>
        <p:spPr>
          <a:xfrm>
            <a:off x="5132143" y="2738714"/>
            <a:ext cx="191508" cy="196888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257175"/>
            <a:endParaRPr lang="en-US" sz="1013" kern="1200">
              <a:solidFill>
                <a:srgbClr val="E7E6E6">
                  <a:lumMod val="75000"/>
                </a:srgbClr>
              </a:solidFill>
            </a:endParaRPr>
          </a:p>
        </p:txBody>
      </p:sp>
      <p:sp>
        <p:nvSpPr>
          <p:cNvPr id="524" name="TextBox 523"/>
          <p:cNvSpPr txBox="1"/>
          <p:nvPr/>
        </p:nvSpPr>
        <p:spPr>
          <a:xfrm>
            <a:off x="179430" y="99173"/>
            <a:ext cx="5562893" cy="549176"/>
          </a:xfrm>
          <a:prstGeom prst="rect">
            <a:avLst/>
          </a:prstGeom>
          <a:noFill/>
        </p:spPr>
        <p:txBody>
          <a:bodyPr anchor="ctr">
            <a:noAutofit/>
          </a:bodyPr>
          <a:lstStyle/>
          <a:p>
            <a:pPr>
              <a:defRPr/>
            </a:pPr>
            <a:r>
              <a:rPr lang="en-US" sz="3200" b="1" kern="1200" dirty="0">
                <a:solidFill>
                  <a:schemeClr val="bg1"/>
                </a:solidFill>
                <a:latin typeface="Nixie One" panose="020B0604020202020204" charset="0"/>
                <a:ea typeface="+mn-ea"/>
                <a:cs typeface="Aharoni" panose="02010803020104030203" pitchFamily="2" charset="-79"/>
              </a:rPr>
              <a:t>GPOBA’s GLOBAL REACH</a:t>
            </a:r>
          </a:p>
        </p:txBody>
      </p:sp>
      <p:sp>
        <p:nvSpPr>
          <p:cNvPr id="672" name="TextBox 671"/>
          <p:cNvSpPr txBox="1"/>
          <p:nvPr/>
        </p:nvSpPr>
        <p:spPr>
          <a:xfrm>
            <a:off x="3523442" y="4809323"/>
            <a:ext cx="1955164" cy="230832"/>
          </a:xfrm>
          <a:prstGeom prst="rect">
            <a:avLst/>
          </a:prstGeom>
          <a:solidFill>
            <a:schemeClr val="accent5">
              <a:lumMod val="50000"/>
              <a:alpha val="67000"/>
            </a:schemeClr>
          </a:solidFill>
        </p:spPr>
        <p:txBody>
          <a:bodyPr wrap="square" rtlCol="0">
            <a:spAutoFit/>
          </a:bodyPr>
          <a:lstStyle/>
          <a:p>
            <a:pPr defTabSz="257175"/>
            <a:r>
              <a:rPr lang="en-US" sz="900" i="1" kern="1200" dirty="0">
                <a:solidFill>
                  <a:srgbClr val="FFFF00"/>
                </a:solidFill>
                <a:latin typeface="Gill Sans MT" panose="020B0502020104020203" pitchFamily="34" charset="0"/>
                <a:ea typeface="+mn-ea"/>
                <a:cs typeface="Estrangelo Edessa" panose="03080600000000000000" pitchFamily="66" charset="0"/>
              </a:rPr>
              <a:t>*amounts committed/allocated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201901" y="823065"/>
            <a:ext cx="4229816" cy="4459421"/>
            <a:chOff x="201901" y="823065"/>
            <a:chExt cx="4229816" cy="4459421"/>
          </a:xfrm>
        </p:grpSpPr>
        <p:grpSp>
          <p:nvGrpSpPr>
            <p:cNvPr id="8" name="Group 7"/>
            <p:cNvGrpSpPr/>
            <p:nvPr/>
          </p:nvGrpSpPr>
          <p:grpSpPr>
            <a:xfrm>
              <a:off x="201901" y="823065"/>
              <a:ext cx="4229816" cy="1250636"/>
              <a:chOff x="3858951" y="5295956"/>
              <a:chExt cx="5639754" cy="1263374"/>
            </a:xfrm>
          </p:grpSpPr>
          <p:sp>
            <p:nvSpPr>
              <p:cNvPr id="788" name="TextBox 787"/>
              <p:cNvSpPr txBox="1"/>
              <p:nvPr/>
            </p:nvSpPr>
            <p:spPr>
              <a:xfrm>
                <a:off x="3867115" y="5595506"/>
                <a:ext cx="4179034" cy="963824"/>
              </a:xfrm>
              <a:prstGeom prst="rect">
                <a:avLst/>
              </a:prstGeom>
              <a:solidFill>
                <a:schemeClr val="accent5">
                  <a:lumMod val="50000"/>
                  <a:alpha val="67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defTabSz="257175"/>
                <a:r>
                  <a:rPr lang="en-US" kern="1200" dirty="0">
                    <a:solidFill>
                      <a:prstClr val="white">
                        <a:lumMod val="95000"/>
                      </a:prstClr>
                    </a:solidFill>
                    <a:latin typeface="Gill Sans MT" panose="020B0502020104020203" pitchFamily="34" charset="0"/>
                    <a:ea typeface="+mn-ea"/>
                    <a:cs typeface="Estrangelo Edessa" panose="03080600000000000000" pitchFamily="66" charset="0"/>
                  </a:rPr>
                  <a:t>Total Funds: </a:t>
                </a:r>
                <a:r>
                  <a:rPr lang="en-US" kern="1200" dirty="0">
                    <a:solidFill>
                      <a:srgbClr val="FFFF00"/>
                    </a:solidFill>
                    <a:latin typeface="Gill Sans MT" panose="020B0502020104020203" pitchFamily="34" charset="0"/>
                    <a:ea typeface="+mn-ea"/>
                    <a:cs typeface="Estrangelo Edessa" panose="03080600000000000000" pitchFamily="66" charset="0"/>
                  </a:rPr>
                  <a:t>$338m</a:t>
                </a:r>
                <a:endParaRPr lang="en-US" kern="1200" dirty="0">
                  <a:solidFill>
                    <a:prstClr val="white">
                      <a:lumMod val="95000"/>
                    </a:prstClr>
                  </a:solidFill>
                  <a:latin typeface="Gill Sans MT" panose="020B0502020104020203" pitchFamily="34" charset="0"/>
                  <a:ea typeface="+mn-ea"/>
                  <a:cs typeface="Estrangelo Edessa" panose="03080600000000000000" pitchFamily="66" charset="0"/>
                </a:endParaRPr>
              </a:p>
              <a:p>
                <a:pPr defTabSz="257175"/>
                <a:r>
                  <a:rPr lang="en-US" kern="1200" dirty="0">
                    <a:solidFill>
                      <a:prstClr val="white">
                        <a:lumMod val="95000"/>
                      </a:prstClr>
                    </a:solidFill>
                    <a:latin typeface="Gill Sans MT" panose="020B0502020104020203" pitchFamily="34" charset="0"/>
                    <a:ea typeface="+mn-ea"/>
                    <a:cs typeface="Estrangelo Edessa" panose="03080600000000000000" pitchFamily="66" charset="0"/>
                  </a:rPr>
                  <a:t>Subsidy pilots: </a:t>
                </a:r>
                <a:r>
                  <a:rPr lang="en-US" b="1" kern="1200" dirty="0">
                    <a:solidFill>
                      <a:srgbClr val="FFFF00"/>
                    </a:solidFill>
                    <a:latin typeface="Gill Sans MT" panose="020B0502020104020203" pitchFamily="34" charset="0"/>
                    <a:ea typeface="+mn-ea"/>
                    <a:cs typeface="Estrangelo Edessa" panose="03080600000000000000" pitchFamily="66" charset="0"/>
                  </a:rPr>
                  <a:t>47</a:t>
                </a:r>
                <a:r>
                  <a:rPr lang="en-US" kern="1200" dirty="0">
                    <a:solidFill>
                      <a:prstClr val="white">
                        <a:lumMod val="95000"/>
                      </a:prstClr>
                    </a:solidFill>
                    <a:latin typeface="Gill Sans MT" panose="020B0502020104020203" pitchFamily="34" charset="0"/>
                    <a:ea typeface="+mn-ea"/>
                    <a:cs typeface="Estrangelo Edessa" panose="03080600000000000000" pitchFamily="66" charset="0"/>
                  </a:rPr>
                  <a:t> (</a:t>
                </a:r>
                <a:r>
                  <a:rPr lang="en-US" kern="1200" dirty="0">
                    <a:solidFill>
                      <a:srgbClr val="FFFF00"/>
                    </a:solidFill>
                    <a:latin typeface="Gill Sans MT" panose="020B0502020104020203" pitchFamily="34" charset="0"/>
                    <a:ea typeface="+mn-ea"/>
                    <a:cs typeface="Estrangelo Edessa" panose="03080600000000000000" pitchFamily="66" charset="0"/>
                  </a:rPr>
                  <a:t>$236m*</a:t>
                </a:r>
                <a:r>
                  <a:rPr lang="en-US" kern="1200" dirty="0">
                    <a:solidFill>
                      <a:prstClr val="white">
                        <a:lumMod val="95000"/>
                      </a:prstClr>
                    </a:solidFill>
                    <a:latin typeface="Gill Sans MT" panose="020B0502020104020203" pitchFamily="34" charset="0"/>
                    <a:ea typeface="+mn-ea"/>
                    <a:cs typeface="Estrangelo Edessa" panose="03080600000000000000" pitchFamily="66" charset="0"/>
                  </a:rPr>
                  <a:t>)</a:t>
                </a:r>
              </a:p>
              <a:p>
                <a:pPr defTabSz="257175"/>
                <a:r>
                  <a:rPr lang="en-US" kern="1200" dirty="0">
                    <a:solidFill>
                      <a:prstClr val="white">
                        <a:lumMod val="95000"/>
                      </a:prstClr>
                    </a:solidFill>
                    <a:latin typeface="Gill Sans MT" panose="020B0502020104020203" pitchFamily="34" charset="0"/>
                    <a:ea typeface="+mn-ea"/>
                    <a:cs typeface="Estrangelo Edessa" panose="03080600000000000000" pitchFamily="66" charset="0"/>
                  </a:rPr>
                  <a:t>Planned Direct Beneficiaries:  &gt; </a:t>
                </a:r>
                <a:r>
                  <a:rPr lang="en-US" b="1" kern="1200" dirty="0">
                    <a:solidFill>
                      <a:srgbClr val="FFFF00"/>
                    </a:solidFill>
                    <a:latin typeface="Gill Sans MT" panose="020B0502020104020203" pitchFamily="34" charset="0"/>
                    <a:ea typeface="+mn-ea"/>
                    <a:cs typeface="Estrangelo Edessa" panose="03080600000000000000" pitchFamily="66" charset="0"/>
                  </a:rPr>
                  <a:t>10</a:t>
                </a:r>
                <a:r>
                  <a:rPr lang="en-US" kern="1200" dirty="0">
                    <a:solidFill>
                      <a:srgbClr val="FFFF00"/>
                    </a:solidFill>
                    <a:latin typeface="Gill Sans MT" panose="020B0502020104020203" pitchFamily="34" charset="0"/>
                    <a:ea typeface="+mn-ea"/>
                    <a:cs typeface="Estrangelo Edessa" panose="03080600000000000000" pitchFamily="66" charset="0"/>
                  </a:rPr>
                  <a:t>m</a:t>
                </a:r>
              </a:p>
              <a:p>
                <a:pPr defTabSz="257175"/>
                <a:r>
                  <a:rPr lang="en-US" kern="1200" dirty="0">
                    <a:solidFill>
                      <a:prstClr val="white">
                        <a:lumMod val="95000"/>
                      </a:prstClr>
                    </a:solidFill>
                    <a:latin typeface="Gill Sans MT" panose="020B0502020104020203" pitchFamily="34" charset="0"/>
                    <a:ea typeface="+mn-ea"/>
                    <a:cs typeface="Estrangelo Edessa" panose="03080600000000000000" pitchFamily="66" charset="0"/>
                  </a:rPr>
                  <a:t>TA/dissemination activities:  </a:t>
                </a:r>
                <a:r>
                  <a:rPr lang="en-US" kern="1200" dirty="0">
                    <a:solidFill>
                      <a:srgbClr val="FFFF00"/>
                    </a:solidFill>
                    <a:latin typeface="Gill Sans MT" panose="020B0502020104020203" pitchFamily="34" charset="0"/>
                    <a:ea typeface="+mn-ea"/>
                    <a:cs typeface="Estrangelo Edessa" panose="03080600000000000000" pitchFamily="66" charset="0"/>
                  </a:rPr>
                  <a:t>177</a:t>
                </a:r>
                <a:r>
                  <a:rPr lang="en-US" kern="1200" dirty="0">
                    <a:solidFill>
                      <a:prstClr val="white">
                        <a:lumMod val="95000"/>
                      </a:prstClr>
                    </a:solidFill>
                    <a:latin typeface="Gill Sans MT" panose="020B0502020104020203" pitchFamily="34" charset="0"/>
                    <a:ea typeface="+mn-ea"/>
                    <a:cs typeface="Estrangelo Edessa" panose="03080600000000000000" pitchFamily="66" charset="0"/>
                  </a:rPr>
                  <a:t> (</a:t>
                </a:r>
                <a:r>
                  <a:rPr lang="en-US" kern="1200" dirty="0">
                    <a:solidFill>
                      <a:srgbClr val="FFFF00"/>
                    </a:solidFill>
                    <a:latin typeface="Gill Sans MT" panose="020B0502020104020203" pitchFamily="34" charset="0"/>
                    <a:ea typeface="+mn-ea"/>
                    <a:cs typeface="Estrangelo Edessa" panose="03080600000000000000" pitchFamily="66" charset="0"/>
                  </a:rPr>
                  <a:t>$35m*</a:t>
                </a:r>
                <a:r>
                  <a:rPr lang="en-US" kern="1200" dirty="0">
                    <a:solidFill>
                      <a:prstClr val="white">
                        <a:lumMod val="95000"/>
                      </a:prstClr>
                    </a:solidFill>
                    <a:latin typeface="Gill Sans MT" panose="020B0502020104020203" pitchFamily="34" charset="0"/>
                    <a:ea typeface="+mn-ea"/>
                    <a:cs typeface="Estrangelo Edessa" panose="03080600000000000000" pitchFamily="66" charset="0"/>
                  </a:rPr>
                  <a:t>)</a:t>
                </a:r>
              </a:p>
            </p:txBody>
          </p:sp>
          <p:sp>
            <p:nvSpPr>
              <p:cNvPr id="526" name="TextBox 525"/>
              <p:cNvSpPr txBox="1"/>
              <p:nvPr/>
            </p:nvSpPr>
            <p:spPr>
              <a:xfrm>
                <a:off x="6774137" y="5549875"/>
                <a:ext cx="2724568" cy="528549"/>
              </a:xfrm>
              <a:prstGeom prst="rect">
                <a:avLst/>
              </a:prstGeom>
              <a:solidFill>
                <a:schemeClr val="accent5">
                  <a:lumMod val="50000"/>
                  <a:alpha val="67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defTabSz="257175"/>
                <a:r>
                  <a:rPr lang="en-US" kern="1200" dirty="0">
                    <a:solidFill>
                      <a:prstClr val="white">
                        <a:lumMod val="95000"/>
                      </a:prstClr>
                    </a:solidFill>
                    <a:latin typeface="Gill Sans MT" panose="020B0502020104020203" pitchFamily="34" charset="0"/>
                    <a:ea typeface="+mn-ea"/>
                    <a:cs typeface="Estrangelo Edessa" panose="03080600000000000000" pitchFamily="66" charset="0"/>
                  </a:rPr>
                  <a:t>Evaluation and analysis</a:t>
                </a:r>
              </a:p>
              <a:p>
                <a:pPr defTabSz="257175"/>
                <a:r>
                  <a:rPr lang="en-US" kern="1200" dirty="0">
                    <a:solidFill>
                      <a:prstClr val="white">
                        <a:lumMod val="95000"/>
                      </a:prstClr>
                    </a:solidFill>
                    <a:latin typeface="Gill Sans MT" panose="020B0502020104020203" pitchFamily="34" charset="0"/>
                    <a:ea typeface="+mn-ea"/>
                    <a:cs typeface="Estrangelo Edessa" panose="03080600000000000000" pitchFamily="66" charset="0"/>
                  </a:rPr>
                  <a:t>Knowledge dissemination</a:t>
                </a:r>
              </a:p>
            </p:txBody>
          </p:sp>
          <p:sp>
            <p:nvSpPr>
              <p:cNvPr id="617" name="TextBox 616"/>
              <p:cNvSpPr txBox="1"/>
              <p:nvPr/>
            </p:nvSpPr>
            <p:spPr>
              <a:xfrm>
                <a:off x="3858951" y="5295956"/>
                <a:ext cx="4579349" cy="310911"/>
              </a:xfrm>
              <a:prstGeom prst="rect">
                <a:avLst/>
              </a:prstGeom>
              <a:solidFill>
                <a:schemeClr val="accent5">
                  <a:lumMod val="50000"/>
                  <a:alpha val="67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defTabSz="257175"/>
                <a:r>
                  <a:rPr lang="en-US" b="1" kern="1200" dirty="0">
                    <a:solidFill>
                      <a:prstClr val="white">
                        <a:lumMod val="95000"/>
                      </a:prstClr>
                    </a:solidFill>
                    <a:latin typeface="Gill Sans MT" panose="020B0502020104020203" pitchFamily="34" charset="0"/>
                    <a:ea typeface="+mn-ea"/>
                    <a:cs typeface="Estrangelo Edessa" panose="03080600000000000000" pitchFamily="66" charset="0"/>
                  </a:rPr>
                  <a:t>KEY ACHIEVEMENTS </a:t>
                </a:r>
                <a:r>
                  <a:rPr lang="en-US" kern="1200" dirty="0">
                    <a:solidFill>
                      <a:prstClr val="white">
                        <a:lumMod val="95000"/>
                      </a:prstClr>
                    </a:solidFill>
                    <a:latin typeface="Gill Sans MT" panose="020B0502020104020203" pitchFamily="34" charset="0"/>
                    <a:ea typeface="+mn-ea"/>
                    <a:cs typeface="Estrangelo Edessa" panose="03080600000000000000" pitchFamily="66" charset="0"/>
                  </a:rPr>
                  <a:t>(as of 12/31/16):</a:t>
                </a:r>
              </a:p>
            </p:txBody>
          </p:sp>
        </p:grpSp>
        <p:sp>
          <p:nvSpPr>
            <p:cNvPr id="518" name="TextBox 517"/>
            <p:cNvSpPr txBox="1"/>
            <p:nvPr/>
          </p:nvSpPr>
          <p:spPr>
            <a:xfrm>
              <a:off x="231686" y="2500110"/>
              <a:ext cx="2129814" cy="1377300"/>
            </a:xfrm>
            <a:prstGeom prst="rect">
              <a:avLst/>
            </a:prstGeom>
            <a:solidFill>
              <a:schemeClr val="accent5">
                <a:lumMod val="50000"/>
                <a:alpha val="67000"/>
              </a:schemeClr>
            </a:solidFill>
          </p:spPr>
          <p:txBody>
            <a:bodyPr wrap="square" rtlCol="0">
              <a:spAutoFit/>
            </a:bodyPr>
            <a:lstStyle/>
            <a:p>
              <a:pPr defTabSz="257175"/>
              <a:r>
                <a:rPr lang="en-US" sz="1350" b="1" kern="1200" dirty="0">
                  <a:solidFill>
                    <a:srgbClr val="FFC000"/>
                  </a:solidFill>
                  <a:latin typeface="Gill Sans MT" panose="020B0502020104020203" pitchFamily="34" charset="0"/>
                  <a:ea typeface="+mn-ea"/>
                  <a:cs typeface="Estrangelo Edessa" panose="03080600000000000000" pitchFamily="66" charset="0"/>
                </a:rPr>
                <a:t>DONORS</a:t>
              </a:r>
            </a:p>
            <a:p>
              <a:pPr defTabSz="257175"/>
              <a:r>
                <a:rPr lang="en-US" kern="1200" dirty="0">
                  <a:solidFill>
                    <a:prstClr val="white">
                      <a:lumMod val="95000"/>
                    </a:prstClr>
                  </a:solidFill>
                  <a:latin typeface="Gill Sans MT" panose="020B0502020104020203" pitchFamily="34" charset="0"/>
                  <a:ea typeface="+mn-ea"/>
                  <a:cs typeface="Estrangelo Edessa" panose="03080600000000000000" pitchFamily="66" charset="0"/>
                </a:rPr>
                <a:t>United Kingdom:  DFID</a:t>
              </a:r>
            </a:p>
            <a:p>
              <a:pPr defTabSz="257175"/>
              <a:r>
                <a:rPr lang="en-US" kern="1200" dirty="0">
                  <a:solidFill>
                    <a:prstClr val="white">
                      <a:lumMod val="95000"/>
                    </a:prstClr>
                  </a:solidFill>
                  <a:latin typeface="Gill Sans MT" panose="020B0502020104020203" pitchFamily="34" charset="0"/>
                  <a:ea typeface="+mn-ea"/>
                  <a:cs typeface="Estrangelo Edessa" panose="03080600000000000000" pitchFamily="66" charset="0"/>
                </a:rPr>
                <a:t>Sweden:  </a:t>
              </a:r>
              <a:r>
                <a:rPr lang="en-US" kern="1200" dirty="0" err="1">
                  <a:solidFill>
                    <a:prstClr val="white">
                      <a:lumMod val="95000"/>
                    </a:prstClr>
                  </a:solidFill>
                  <a:latin typeface="Gill Sans MT" panose="020B0502020104020203" pitchFamily="34" charset="0"/>
                  <a:ea typeface="+mn-ea"/>
                  <a:cs typeface="Estrangelo Edessa" panose="03080600000000000000" pitchFamily="66" charset="0"/>
                </a:rPr>
                <a:t>Sida</a:t>
              </a:r>
              <a:endParaRPr lang="en-US" kern="1200" dirty="0">
                <a:solidFill>
                  <a:prstClr val="white">
                    <a:lumMod val="95000"/>
                  </a:prstClr>
                </a:solidFill>
                <a:latin typeface="Gill Sans MT" panose="020B0502020104020203" pitchFamily="34" charset="0"/>
                <a:ea typeface="+mn-ea"/>
                <a:cs typeface="Estrangelo Edessa" panose="03080600000000000000" pitchFamily="66" charset="0"/>
              </a:endParaRPr>
            </a:p>
            <a:p>
              <a:pPr defTabSz="257175"/>
              <a:r>
                <a:rPr lang="en-US" kern="1200" dirty="0">
                  <a:solidFill>
                    <a:prstClr val="white">
                      <a:lumMod val="95000"/>
                    </a:prstClr>
                  </a:solidFill>
                  <a:latin typeface="Gill Sans MT" panose="020B0502020104020203" pitchFamily="34" charset="0"/>
                  <a:ea typeface="+mn-ea"/>
                  <a:cs typeface="Estrangelo Edessa" panose="03080600000000000000" pitchFamily="66" charset="0"/>
                </a:rPr>
                <a:t>Australia:   DFAT</a:t>
              </a:r>
            </a:p>
            <a:p>
              <a:pPr defTabSz="257175"/>
              <a:r>
                <a:rPr lang="en-US" kern="1200" dirty="0">
                  <a:solidFill>
                    <a:prstClr val="white">
                      <a:lumMod val="95000"/>
                    </a:prstClr>
                  </a:solidFill>
                  <a:latin typeface="Gill Sans MT" panose="020B0502020104020203" pitchFamily="34" charset="0"/>
                  <a:ea typeface="+mn-ea"/>
                  <a:cs typeface="Estrangelo Edessa" panose="03080600000000000000" pitchFamily="66" charset="0"/>
                </a:rPr>
                <a:t>Netherlands:  DGIS</a:t>
              </a:r>
            </a:p>
            <a:p>
              <a:pPr defTabSz="257175"/>
              <a:r>
                <a:rPr lang="en-US" kern="1200" dirty="0">
                  <a:solidFill>
                    <a:prstClr val="white">
                      <a:lumMod val="95000"/>
                    </a:prstClr>
                  </a:solidFill>
                  <a:latin typeface="Gill Sans MT" panose="020B0502020104020203" pitchFamily="34" charset="0"/>
                  <a:ea typeface="+mn-ea"/>
                  <a:cs typeface="Estrangelo Edessa" panose="03080600000000000000" pitchFamily="66" charset="0"/>
                </a:rPr>
                <a:t>International Finance Corp</a:t>
              </a:r>
            </a:p>
          </p:txBody>
        </p:sp>
        <p:sp>
          <p:nvSpPr>
            <p:cNvPr id="519" name="TextBox 518"/>
            <p:cNvSpPr txBox="1"/>
            <p:nvPr/>
          </p:nvSpPr>
          <p:spPr>
            <a:xfrm>
              <a:off x="242890" y="4151407"/>
              <a:ext cx="2629037" cy="1131079"/>
            </a:xfrm>
            <a:prstGeom prst="rect">
              <a:avLst/>
            </a:prstGeom>
            <a:solidFill>
              <a:schemeClr val="accent5">
                <a:lumMod val="50000"/>
                <a:alpha val="67000"/>
              </a:schemeClr>
            </a:solidFill>
          </p:spPr>
          <p:txBody>
            <a:bodyPr wrap="square" numCol="2" rtlCol="0">
              <a:spAutoFit/>
            </a:bodyPr>
            <a:lstStyle/>
            <a:p>
              <a:pPr defTabSz="257175"/>
              <a:r>
                <a:rPr lang="en-US" sz="1350" kern="1200" dirty="0">
                  <a:solidFill>
                    <a:prstClr val="white">
                      <a:lumMod val="95000"/>
                    </a:prstClr>
                  </a:solidFill>
                  <a:latin typeface="Gill Sans MT" panose="020B0502020104020203" pitchFamily="34" charset="0"/>
                  <a:ea typeface="+mn-ea"/>
                  <a:cs typeface="Estrangelo Edessa" panose="03080600000000000000" pitchFamily="66" charset="0"/>
                </a:rPr>
                <a:t>European Union</a:t>
              </a:r>
            </a:p>
            <a:p>
              <a:pPr defTabSz="257175"/>
              <a:r>
                <a:rPr lang="en-US" sz="1350" kern="1200" dirty="0" err="1">
                  <a:solidFill>
                    <a:prstClr val="white">
                      <a:lumMod val="95000"/>
                    </a:prstClr>
                  </a:solidFill>
                  <a:latin typeface="Gill Sans MT" panose="020B0502020104020203" pitchFamily="34" charset="0"/>
                  <a:ea typeface="+mn-ea"/>
                  <a:cs typeface="Estrangelo Edessa" panose="03080600000000000000" pitchFamily="66" charset="0"/>
                </a:rPr>
                <a:t>KfW</a:t>
              </a:r>
              <a:endParaRPr lang="en-US" sz="1350" kern="1200" dirty="0">
                <a:solidFill>
                  <a:prstClr val="white">
                    <a:lumMod val="95000"/>
                  </a:prstClr>
                </a:solidFill>
                <a:latin typeface="Gill Sans MT" panose="020B0502020104020203" pitchFamily="34" charset="0"/>
                <a:ea typeface="+mn-ea"/>
                <a:cs typeface="Estrangelo Edessa" panose="03080600000000000000" pitchFamily="66" charset="0"/>
              </a:endParaRPr>
            </a:p>
            <a:p>
              <a:pPr defTabSz="257175"/>
              <a:r>
                <a:rPr lang="en-US" sz="1350" kern="1200" dirty="0">
                  <a:solidFill>
                    <a:prstClr val="white">
                      <a:lumMod val="95000"/>
                    </a:prstClr>
                  </a:solidFill>
                  <a:latin typeface="Gill Sans MT" panose="020B0502020104020203" pitchFamily="34" charset="0"/>
                  <a:ea typeface="+mn-ea"/>
                  <a:cs typeface="Estrangelo Edessa" panose="03080600000000000000" pitchFamily="66" charset="0"/>
                </a:rPr>
                <a:t>ADB</a:t>
              </a:r>
            </a:p>
            <a:p>
              <a:pPr defTabSz="257175"/>
              <a:endParaRPr lang="en-US" sz="1350" kern="1200" dirty="0">
                <a:solidFill>
                  <a:prstClr val="white">
                    <a:lumMod val="95000"/>
                  </a:prstClr>
                </a:solidFill>
                <a:latin typeface="Gill Sans MT" panose="020B0502020104020203" pitchFamily="34" charset="0"/>
                <a:ea typeface="+mn-ea"/>
                <a:cs typeface="Estrangelo Edessa" panose="03080600000000000000" pitchFamily="66" charset="0"/>
              </a:endParaRPr>
            </a:p>
            <a:p>
              <a:pPr defTabSz="257175"/>
              <a:endParaRPr lang="en-US" sz="1350" kern="1200" dirty="0">
                <a:solidFill>
                  <a:prstClr val="white">
                    <a:lumMod val="95000"/>
                  </a:prstClr>
                </a:solidFill>
                <a:latin typeface="Gill Sans MT" panose="020B0502020104020203" pitchFamily="34" charset="0"/>
                <a:ea typeface="+mn-ea"/>
                <a:cs typeface="Estrangelo Edessa" panose="03080600000000000000" pitchFamily="66" charset="0"/>
              </a:endParaRPr>
            </a:p>
            <a:p>
              <a:pPr defTabSz="257175"/>
              <a:r>
                <a:rPr lang="en-US" sz="1350" kern="1200" dirty="0">
                  <a:solidFill>
                    <a:prstClr val="white">
                      <a:lumMod val="95000"/>
                    </a:prstClr>
                  </a:solidFill>
                  <a:latin typeface="Gill Sans MT" panose="020B0502020104020203" pitchFamily="34" charset="0"/>
                  <a:ea typeface="+mn-ea"/>
                  <a:cs typeface="Estrangelo Edessa" panose="03080600000000000000" pitchFamily="66" charset="0"/>
                </a:rPr>
                <a:t>MCC</a:t>
              </a:r>
            </a:p>
            <a:p>
              <a:pPr defTabSz="257175"/>
              <a:r>
                <a:rPr lang="en-US" sz="1350" kern="1200" dirty="0">
                  <a:solidFill>
                    <a:prstClr val="white">
                      <a:lumMod val="95000"/>
                    </a:prstClr>
                  </a:solidFill>
                  <a:latin typeface="Gill Sans MT" panose="020B0502020104020203" pitchFamily="34" charset="0"/>
                  <a:ea typeface="+mn-ea"/>
                  <a:cs typeface="Estrangelo Edessa" panose="03080600000000000000" pitchFamily="66" charset="0"/>
                </a:rPr>
                <a:t>USAID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202109" y="3829429"/>
              <a:ext cx="265226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257175"/>
              <a:r>
                <a:rPr lang="en-US" b="1" kern="1200" dirty="0">
                  <a:solidFill>
                    <a:srgbClr val="FFC000"/>
                  </a:solidFill>
                  <a:latin typeface="Gill Sans MT" panose="020B0502020104020203" pitchFamily="34" charset="0"/>
                  <a:cs typeface="Estrangelo Edessa" panose="03080600000000000000" pitchFamily="66" charset="0"/>
                </a:rPr>
                <a:t>Other Development Partne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298213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Shape 1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ape 1520"/>
          <p:cNvSpPr txBox="1">
            <a:spLocks noGrp="1"/>
          </p:cNvSpPr>
          <p:nvPr>
            <p:ph type="body" idx="1"/>
          </p:nvPr>
        </p:nvSpPr>
        <p:spPr>
          <a:xfrm>
            <a:off x="6234811" y="1688709"/>
            <a:ext cx="2214214" cy="57708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lvl="0">
              <a:lnSpc>
                <a:spcPts val="1500"/>
              </a:lnSpc>
              <a:buNone/>
            </a:pPr>
            <a:r>
              <a:rPr lang="en-US" dirty="0">
                <a:solidFill>
                  <a:srgbClr val="EDECF8"/>
                </a:solidFill>
                <a:latin typeface="Gill Sans MT" panose="020B0502020104020203" pitchFamily="34" charset="0"/>
              </a:rPr>
              <a:t>Poor people in urban, peri-urban, and rural areas lack access to basic service</a:t>
            </a:r>
            <a:endParaRPr lang="en" dirty="0">
              <a:solidFill>
                <a:srgbClr val="EDECF8"/>
              </a:solidFill>
              <a:latin typeface="Gill Sans MT" panose="020B0502020104020203" pitchFamily="34" charset="0"/>
            </a:endParaRPr>
          </a:p>
        </p:txBody>
      </p:sp>
      <p:sp>
        <p:nvSpPr>
          <p:cNvPr id="6" name="Shape 1554"/>
          <p:cNvSpPr txBox="1">
            <a:spLocks/>
          </p:cNvSpPr>
          <p:nvPr/>
        </p:nvSpPr>
        <p:spPr>
          <a:xfrm>
            <a:off x="794479" y="53213"/>
            <a:ext cx="7694427" cy="1169521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ct val="100000"/>
              <a:buFont typeface="Nixie One"/>
              <a:buNone/>
              <a:defRPr sz="40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1pPr>
            <a:lvl2pPr lvl="1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2pPr>
            <a:lvl3pPr lvl="2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3pPr>
            <a:lvl4pPr lvl="3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4pPr>
            <a:lvl5pPr lvl="4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5pPr>
            <a:lvl6pPr lvl="5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6pPr>
            <a:lvl7pPr lvl="6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7pPr>
            <a:lvl8pPr lvl="7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8pPr>
            <a:lvl9pPr lvl="8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9pPr>
          </a:lstStyle>
          <a:p>
            <a:r>
              <a:rPr lang="en-US" sz="3200" b="1" dirty="0">
                <a:solidFill>
                  <a:schemeClr val="accent5">
                    <a:lumMod val="20000"/>
                    <a:lumOff val="80000"/>
                  </a:schemeClr>
                </a:solidFill>
              </a:rPr>
              <a:t>Key Output Based Aid Principles to Address Development Challenges</a:t>
            </a:r>
            <a:endParaRPr lang="en" sz="3200" b="1" dirty="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51064" y="1637166"/>
            <a:ext cx="1960473" cy="215444"/>
          </a:xfrm>
        </p:spPr>
        <p:txBody>
          <a:bodyPr wrap="none" lIns="0" tIns="0" rIns="0" bIns="0">
            <a:spAutoFit/>
          </a:bodyPr>
          <a:lstStyle/>
          <a:p>
            <a:r>
              <a:rPr lang="en-US" dirty="0">
                <a:solidFill>
                  <a:srgbClr val="EDECF8"/>
                </a:solidFill>
              </a:rPr>
              <a:t>Targeting of Payment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2043569" y="2118411"/>
            <a:ext cx="1231106" cy="215444"/>
          </a:xfrm>
        </p:spPr>
        <p:txBody>
          <a:bodyPr wrap="none" lIns="0" tIns="0" rIns="0" bIns="0">
            <a:spAutoFit/>
          </a:bodyPr>
          <a:lstStyle/>
          <a:p>
            <a:r>
              <a:rPr lang="en-US" dirty="0">
                <a:solidFill>
                  <a:srgbClr val="EDECF8"/>
                </a:solidFill>
              </a:rPr>
              <a:t>Accountability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2028577" y="2513189"/>
            <a:ext cx="1441645" cy="430887"/>
          </a:xfrm>
        </p:spPr>
        <p:txBody>
          <a:bodyPr wrap="square" lIns="0" tIns="0" rIns="0" bIns="0">
            <a:spAutoFit/>
          </a:bodyPr>
          <a:lstStyle/>
          <a:p>
            <a:r>
              <a:rPr lang="en-US" dirty="0">
                <a:solidFill>
                  <a:srgbClr val="EDECF8"/>
                </a:solidFill>
              </a:rPr>
              <a:t>Innovation and Efficiency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2036074" y="3066694"/>
            <a:ext cx="1630254" cy="430887"/>
          </a:xfrm>
        </p:spPr>
        <p:txBody>
          <a:bodyPr wrap="none" lIns="0" tIns="0" rIns="0" bIns="0">
            <a:spAutoFit/>
          </a:bodyPr>
          <a:lstStyle/>
          <a:p>
            <a:r>
              <a:rPr lang="en-US" dirty="0">
                <a:solidFill>
                  <a:srgbClr val="EDECF8"/>
                </a:solidFill>
              </a:rPr>
              <a:t>Using Incentives to</a:t>
            </a:r>
          </a:p>
          <a:p>
            <a:r>
              <a:rPr lang="en-US" dirty="0">
                <a:solidFill>
                  <a:srgbClr val="EDECF8"/>
                </a:solidFill>
              </a:rPr>
              <a:t>Serve the Poor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>
          <a:xfrm>
            <a:off x="2036074" y="3605210"/>
            <a:ext cx="1647887" cy="430887"/>
          </a:xfrm>
        </p:spPr>
        <p:txBody>
          <a:bodyPr wrap="none" lIns="0" tIns="0" rIns="0" bIns="0">
            <a:spAutoFit/>
          </a:bodyPr>
          <a:lstStyle/>
          <a:p>
            <a:r>
              <a:rPr lang="en-US" dirty="0">
                <a:solidFill>
                  <a:srgbClr val="EDECF8"/>
                </a:solidFill>
              </a:rPr>
              <a:t>Output Verification</a:t>
            </a:r>
          </a:p>
          <a:p>
            <a:r>
              <a:rPr lang="en-US" dirty="0">
                <a:solidFill>
                  <a:srgbClr val="EDECF8"/>
                </a:solidFill>
              </a:rPr>
              <a:t>and Monitor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"/>
          </p:nvPr>
        </p:nvSpPr>
        <p:spPr>
          <a:xfrm>
            <a:off x="2043569" y="4179051"/>
            <a:ext cx="1158972" cy="215444"/>
          </a:xfrm>
        </p:spPr>
        <p:txBody>
          <a:bodyPr wrap="none" lIns="0" tIns="0" rIns="0" bIns="0">
            <a:spAutoFit/>
          </a:bodyPr>
          <a:lstStyle/>
          <a:p>
            <a:r>
              <a:rPr lang="en-US" dirty="0">
                <a:solidFill>
                  <a:srgbClr val="EDECF8"/>
                </a:solidFill>
              </a:rPr>
              <a:t>Sustainability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9722" y="2411662"/>
            <a:ext cx="1156263" cy="870475"/>
          </a:xfrm>
          <a:prstGeom prst="rect">
            <a:avLst/>
          </a:prstGeom>
        </p:spPr>
      </p:pic>
      <p:sp>
        <p:nvSpPr>
          <p:cNvPr id="16" name="Shape 1520"/>
          <p:cNvSpPr txBox="1">
            <a:spLocks noGrp="1"/>
          </p:cNvSpPr>
          <p:nvPr>
            <p:ph type="body" idx="1"/>
          </p:nvPr>
        </p:nvSpPr>
        <p:spPr>
          <a:xfrm>
            <a:off x="6234811" y="2425090"/>
            <a:ext cx="2214214" cy="57708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lvl="0">
              <a:lnSpc>
                <a:spcPts val="1500"/>
              </a:lnSpc>
              <a:buNone/>
            </a:pPr>
            <a:r>
              <a:rPr lang="en-US" dirty="0">
                <a:solidFill>
                  <a:srgbClr val="EDECF8"/>
                </a:solidFill>
                <a:latin typeface="Gill Sans MT" panose="020B0502020104020203" pitchFamily="34" charset="0"/>
              </a:rPr>
              <a:t>Public and private service providers lack incentives to serve the poor</a:t>
            </a:r>
            <a:endParaRPr lang="en" dirty="0">
              <a:solidFill>
                <a:srgbClr val="EDECF8"/>
              </a:solidFill>
              <a:latin typeface="Gill Sans MT" panose="020B0502020104020203" pitchFamily="34" charset="0"/>
            </a:endParaRPr>
          </a:p>
        </p:txBody>
      </p:sp>
      <p:sp>
        <p:nvSpPr>
          <p:cNvPr id="17" name="Shape 1520"/>
          <p:cNvSpPr txBox="1">
            <a:spLocks noGrp="1"/>
          </p:cNvSpPr>
          <p:nvPr>
            <p:ph type="body" idx="1"/>
          </p:nvPr>
        </p:nvSpPr>
        <p:spPr>
          <a:xfrm>
            <a:off x="6234810" y="3261186"/>
            <a:ext cx="2564419" cy="3847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lvl="0">
              <a:lnSpc>
                <a:spcPts val="1500"/>
              </a:lnSpc>
              <a:buNone/>
            </a:pPr>
            <a:r>
              <a:rPr lang="en-US" dirty="0">
                <a:solidFill>
                  <a:srgbClr val="EDECF8"/>
                </a:solidFill>
                <a:latin typeface="Gill Sans MT" panose="020B0502020104020203" pitchFamily="34" charset="0"/>
              </a:rPr>
              <a:t>“Gap” between the cost of service and user’s ability to pay</a:t>
            </a:r>
            <a:endParaRPr lang="en" dirty="0">
              <a:solidFill>
                <a:srgbClr val="EDECF8"/>
              </a:solidFill>
              <a:latin typeface="Gill Sans MT" panose="020B0502020104020203" pitchFamily="34" charset="0"/>
            </a:endParaRPr>
          </a:p>
        </p:txBody>
      </p:sp>
      <p:sp>
        <p:nvSpPr>
          <p:cNvPr id="18" name="Shape 1520"/>
          <p:cNvSpPr txBox="1">
            <a:spLocks noGrp="1"/>
          </p:cNvSpPr>
          <p:nvPr>
            <p:ph type="body" idx="1"/>
          </p:nvPr>
        </p:nvSpPr>
        <p:spPr>
          <a:xfrm>
            <a:off x="6234810" y="4053843"/>
            <a:ext cx="2349156" cy="21544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pPr lvl="0">
              <a:buNone/>
            </a:pPr>
            <a:r>
              <a:rPr lang="en-US" dirty="0">
                <a:solidFill>
                  <a:srgbClr val="EDECF8"/>
                </a:solidFill>
                <a:latin typeface="Gill Sans MT" panose="020B0502020104020203" pitchFamily="34" charset="0"/>
              </a:rPr>
              <a:t>No accountability for results</a:t>
            </a:r>
            <a:endParaRPr lang="en" dirty="0">
              <a:solidFill>
                <a:srgbClr val="EDECF8"/>
              </a:solidFill>
              <a:latin typeface="Gill Sans MT" panose="020B0502020104020203" pitchFamily="34" charset="0"/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1451731" y="1505911"/>
            <a:ext cx="496990" cy="2980108"/>
            <a:chOff x="1732699" y="1678296"/>
            <a:chExt cx="408453" cy="2807723"/>
          </a:xfrm>
        </p:grpSpPr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36160" y="4059687"/>
              <a:ext cx="401530" cy="426332"/>
            </a:xfrm>
            <a:prstGeom prst="rect">
              <a:avLst/>
            </a:prstGeom>
          </p:spPr>
        </p:pic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32699" y="1678296"/>
              <a:ext cx="408453" cy="426332"/>
            </a:xfrm>
            <a:prstGeom prst="rect">
              <a:avLst/>
            </a:prstGeom>
          </p:spPr>
        </p:pic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36160" y="2154574"/>
              <a:ext cx="401530" cy="426332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32699" y="2630852"/>
              <a:ext cx="408453" cy="426332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32699" y="3107130"/>
              <a:ext cx="408453" cy="426332"/>
            </a:xfrm>
            <a:prstGeom prst="rect">
              <a:avLst/>
            </a:prstGeom>
          </p:spPr>
        </p:pic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32699" y="3583408"/>
              <a:ext cx="408453" cy="426332"/>
            </a:xfrm>
            <a:prstGeom prst="rect">
              <a:avLst/>
            </a:prstGeom>
          </p:spPr>
        </p:pic>
      </p:grpSp>
      <p:pic>
        <p:nvPicPr>
          <p:cNvPr id="26" name="Picture 2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24140" y="1678296"/>
            <a:ext cx="584100" cy="599333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524140" y="2404092"/>
            <a:ext cx="584100" cy="609667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524140" y="3140222"/>
            <a:ext cx="584100" cy="609667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534040" y="3876352"/>
            <a:ext cx="574200" cy="609667"/>
          </a:xfrm>
          <a:prstGeom prst="rect">
            <a:avLst/>
          </a:prstGeom>
        </p:spPr>
      </p:pic>
      <p:sp>
        <p:nvSpPr>
          <p:cNvPr id="31" name="Shape 1554"/>
          <p:cNvSpPr txBox="1">
            <a:spLocks/>
          </p:cNvSpPr>
          <p:nvPr/>
        </p:nvSpPr>
        <p:spPr>
          <a:xfrm rot="16200000">
            <a:off x="-98104" y="2784792"/>
            <a:ext cx="2277868" cy="36933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ct val="100000"/>
              <a:buFont typeface="Nixie One"/>
              <a:buNone/>
              <a:defRPr sz="40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1pPr>
            <a:lvl2pPr lvl="1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2pPr>
            <a:lvl3pPr lvl="2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3pPr>
            <a:lvl4pPr lvl="3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4pPr>
            <a:lvl5pPr lvl="4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5pPr>
            <a:lvl6pPr lvl="5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6pPr>
            <a:lvl7pPr lvl="6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7pPr>
            <a:lvl8pPr lvl="7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8pPr>
            <a:lvl9pPr lvl="8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9pPr>
          </a:lstStyle>
          <a:p>
            <a:r>
              <a:rPr lang="en-US" sz="2400" b="1" dirty="0">
                <a:solidFill>
                  <a:schemeClr val="bg1"/>
                </a:solidFill>
              </a:rPr>
              <a:t>OBA Principles</a:t>
            </a:r>
            <a:endParaRPr lang="en" sz="2400" b="1" dirty="0">
              <a:solidFill>
                <a:schemeClr val="bg1"/>
              </a:solidFill>
            </a:endParaRPr>
          </a:p>
        </p:txBody>
      </p:sp>
      <p:sp>
        <p:nvSpPr>
          <p:cNvPr id="32" name="Shape 1554"/>
          <p:cNvSpPr txBox="1">
            <a:spLocks/>
          </p:cNvSpPr>
          <p:nvPr/>
        </p:nvSpPr>
        <p:spPr>
          <a:xfrm>
            <a:off x="4004483" y="3375804"/>
            <a:ext cx="1146148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ct val="100000"/>
              <a:buFont typeface="Nixie One"/>
              <a:buNone/>
              <a:defRPr sz="40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1pPr>
            <a:lvl2pPr lvl="1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2pPr>
            <a:lvl3pPr lvl="2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3pPr>
            <a:lvl4pPr lvl="3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4pPr>
            <a:lvl5pPr lvl="4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5pPr>
            <a:lvl6pPr lvl="5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6pPr>
            <a:lvl7pPr lvl="6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7pPr>
            <a:lvl8pPr lvl="7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8pPr>
            <a:lvl9pPr lvl="8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</a:rPr>
              <a:t>To Address...</a:t>
            </a:r>
            <a:endParaRPr lang="en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8376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Shape 16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9" name="Shape 1619"/>
          <p:cNvSpPr txBox="1">
            <a:spLocks noGrp="1"/>
          </p:cNvSpPr>
          <p:nvPr>
            <p:ph type="body" idx="1"/>
          </p:nvPr>
        </p:nvSpPr>
        <p:spPr>
          <a:xfrm>
            <a:off x="907626" y="1433523"/>
            <a:ext cx="6300894" cy="430857"/>
          </a:xfrm>
          <a:prstGeom prst="rect">
            <a:avLst/>
          </a:prstGeom>
        </p:spPr>
        <p:txBody>
          <a:bodyPr wrap="square" lIns="91425" tIns="91425" rIns="91425" bIns="91425" anchor="t" anchorCtr="0">
            <a:spAutoFit/>
          </a:bodyPr>
          <a:lstStyle/>
          <a:p>
            <a:pPr lvl="0">
              <a:buNone/>
            </a:pPr>
            <a:r>
              <a:rPr lang="en-US" sz="1600" b="1" dirty="0">
                <a:solidFill>
                  <a:schemeClr val="accent5">
                    <a:lumMod val="40000"/>
                    <a:lumOff val="60000"/>
                  </a:schemeClr>
                </a:solidFill>
                <a:latin typeface="Gill Sans MT" panose="020B0502020104020203" pitchFamily="34" charset="0"/>
              </a:rPr>
              <a:t>LGDP SUCCESSFULLY DEMONSTRATES:</a:t>
            </a:r>
            <a:endParaRPr lang="en" sz="1600" b="1" dirty="0">
              <a:solidFill>
                <a:schemeClr val="accent5">
                  <a:lumMod val="40000"/>
                  <a:lumOff val="6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1622" name="Shape 1622"/>
          <p:cNvSpPr txBox="1">
            <a:spLocks noGrp="1"/>
          </p:cNvSpPr>
          <p:nvPr>
            <p:ph type="body" idx="1"/>
          </p:nvPr>
        </p:nvSpPr>
        <p:spPr>
          <a:xfrm>
            <a:off x="6317927" y="1940202"/>
            <a:ext cx="2252803" cy="923299"/>
          </a:xfrm>
          <a:prstGeom prst="rect">
            <a:avLst/>
          </a:prstGeom>
        </p:spPr>
        <p:txBody>
          <a:bodyPr wrap="square" lIns="91425" tIns="91425" rIns="91425" bIns="91425" anchor="t" anchorCtr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  <a:latin typeface="Gill Sans MT" panose="020B0502020104020203" pitchFamily="34" charset="0"/>
              </a:rPr>
              <a:t>Improved</a:t>
            </a:r>
            <a:r>
              <a:rPr lang="en-US" sz="1600" dirty="0">
                <a:solidFill>
                  <a:srgbClr val="FF0000"/>
                </a:solidFill>
                <a:latin typeface="Gill Sans MT" panose="020B0502020104020203" pitchFamily="34" charset="0"/>
              </a:rPr>
              <a:t> </a:t>
            </a:r>
            <a:r>
              <a:rPr lang="en-US" sz="1600" dirty="0">
                <a:solidFill>
                  <a:srgbClr val="FFC000"/>
                </a:solidFill>
                <a:latin typeface="Gill Sans MT" panose="020B0502020104020203" pitchFamily="34" charset="0"/>
              </a:rPr>
              <a:t>Accountability</a:t>
            </a:r>
            <a:r>
              <a:rPr lang="en-US" sz="1600" dirty="0">
                <a:solidFill>
                  <a:schemeClr val="accent5">
                    <a:lumMod val="20000"/>
                    <a:lumOff val="80000"/>
                  </a:schemeClr>
                </a:solidFill>
                <a:latin typeface="Gill Sans MT" panose="020B0502020104020203" pitchFamily="34" charset="0"/>
              </a:rPr>
              <a:t> of intergovernmental transfer system</a:t>
            </a:r>
            <a:endParaRPr lang="en" sz="1600" dirty="0">
              <a:solidFill>
                <a:schemeClr val="accent5">
                  <a:lumMod val="20000"/>
                  <a:lumOff val="80000"/>
                </a:schemeClr>
              </a:solidFill>
              <a:latin typeface="Gill Sans MT" panose="020B0502020104020203" pitchFamily="34" charset="0"/>
            </a:endParaRPr>
          </a:p>
        </p:txBody>
      </p:sp>
      <p:sp>
        <p:nvSpPr>
          <p:cNvPr id="8" name="Shape 1554"/>
          <p:cNvSpPr txBox="1">
            <a:spLocks/>
          </p:cNvSpPr>
          <p:nvPr/>
        </p:nvSpPr>
        <p:spPr>
          <a:xfrm>
            <a:off x="767917" y="89826"/>
            <a:ext cx="9191413" cy="67707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ct val="100000"/>
              <a:buFont typeface="Nixie One"/>
              <a:buNone/>
              <a:defRPr sz="40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1pPr>
            <a:lvl2pPr lvl="1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2pPr>
            <a:lvl3pPr lvl="2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3pPr>
            <a:lvl4pPr lvl="3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4pPr>
            <a:lvl5pPr lvl="4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5pPr>
            <a:lvl6pPr lvl="5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6pPr>
            <a:lvl7pPr lvl="6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7pPr>
            <a:lvl8pPr lvl="7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8pPr>
            <a:lvl9pPr lvl="8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9pPr>
          </a:lstStyle>
          <a:p>
            <a:r>
              <a:rPr lang="en-US" sz="3200" b="1" dirty="0">
                <a:solidFill>
                  <a:schemeClr val="accent5">
                    <a:lumMod val="20000"/>
                    <a:lumOff val="80000"/>
                  </a:schemeClr>
                </a:solidFill>
              </a:rPr>
              <a:t>LGDP Uses 4 Key OBA Principles</a:t>
            </a:r>
            <a:endParaRPr lang="en" sz="3200" b="1" dirty="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13" name="Shape 1622"/>
          <p:cNvSpPr txBox="1">
            <a:spLocks noGrp="1"/>
          </p:cNvSpPr>
          <p:nvPr>
            <p:ph type="body" idx="1"/>
          </p:nvPr>
        </p:nvSpPr>
        <p:spPr>
          <a:xfrm>
            <a:off x="537376" y="2682475"/>
            <a:ext cx="2814961" cy="1015632"/>
          </a:xfrm>
          <a:prstGeom prst="rect">
            <a:avLst/>
          </a:prstGeom>
        </p:spPr>
        <p:txBody>
          <a:bodyPr wrap="square" lIns="91425" tIns="91425" rIns="91425" bIns="91425" anchor="t" anchorCtr="0">
            <a:spAutoFit/>
          </a:bodyPr>
          <a:lstStyle/>
          <a:p>
            <a:r>
              <a:rPr lang="en-US" sz="1800" dirty="0">
                <a:solidFill>
                  <a:srgbClr val="FFC000"/>
                </a:solidFill>
                <a:latin typeface="Gill Sans MT" panose="020B0502020104020203" pitchFamily="34" charset="0"/>
              </a:rPr>
              <a:t>Sustainability</a:t>
            </a:r>
            <a:r>
              <a:rPr lang="en-US" sz="1800" dirty="0">
                <a:solidFill>
                  <a:schemeClr val="accent5">
                    <a:lumMod val="20000"/>
                    <a:lumOff val="80000"/>
                  </a:schemeClr>
                </a:solidFill>
                <a:latin typeface="Gill Sans MT" panose="020B0502020104020203" pitchFamily="34" charset="0"/>
              </a:rPr>
              <a:t> using independent auditor (BPKP) for </a:t>
            </a:r>
            <a:r>
              <a:rPr lang="en-US" sz="1800" dirty="0">
                <a:solidFill>
                  <a:srgbClr val="FFC000"/>
                </a:solidFill>
                <a:latin typeface="Gill Sans MT" panose="020B0502020104020203" pitchFamily="34" charset="0"/>
              </a:rPr>
              <a:t>Verification</a:t>
            </a:r>
            <a:endParaRPr lang="en" sz="1800" dirty="0">
              <a:solidFill>
                <a:srgbClr val="FFC000"/>
              </a:solidFill>
              <a:latin typeface="Gill Sans MT" panose="020B0502020104020203" pitchFamily="34" charset="0"/>
            </a:endParaRPr>
          </a:p>
        </p:txBody>
      </p:sp>
      <p:sp>
        <p:nvSpPr>
          <p:cNvPr id="14" name="Shape 1622"/>
          <p:cNvSpPr txBox="1">
            <a:spLocks noGrp="1"/>
          </p:cNvSpPr>
          <p:nvPr>
            <p:ph type="body" idx="1"/>
          </p:nvPr>
        </p:nvSpPr>
        <p:spPr>
          <a:xfrm>
            <a:off x="6200890" y="3667345"/>
            <a:ext cx="2357910" cy="923299"/>
          </a:xfrm>
          <a:prstGeom prst="rect">
            <a:avLst/>
          </a:prstGeom>
        </p:spPr>
        <p:txBody>
          <a:bodyPr wrap="square" lIns="91425" tIns="91425" rIns="91425" bIns="91425" anchor="t" anchorCtr="0">
            <a:spAutoFit/>
          </a:bodyPr>
          <a:lstStyle/>
          <a:p>
            <a:r>
              <a:rPr lang="en-US" sz="1600" dirty="0">
                <a:solidFill>
                  <a:srgbClr val="FFC000"/>
                </a:solidFill>
                <a:latin typeface="Gill Sans MT" panose="020B0502020104020203" pitchFamily="34" charset="0"/>
              </a:rPr>
              <a:t>Innovation</a:t>
            </a:r>
            <a:r>
              <a:rPr lang="en-US" sz="1600" dirty="0">
                <a:solidFill>
                  <a:schemeClr val="accent5">
                    <a:lumMod val="20000"/>
                    <a:lumOff val="80000"/>
                  </a:schemeClr>
                </a:solidFill>
                <a:latin typeface="Gill Sans MT" panose="020B0502020104020203" pitchFamily="34" charset="0"/>
              </a:rPr>
              <a:t>: institutionalizes reforms through M&amp;E system</a:t>
            </a:r>
            <a:endParaRPr lang="en" sz="1600" dirty="0">
              <a:solidFill>
                <a:schemeClr val="accent5">
                  <a:lumMod val="20000"/>
                  <a:lumOff val="80000"/>
                </a:schemeClr>
              </a:solidFill>
              <a:latin typeface="Gill Sans MT" panose="020B0502020104020203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541182">
            <a:off x="3510558" y="1718919"/>
            <a:ext cx="2632557" cy="2245732"/>
          </a:xfrm>
          <a:prstGeom prst="rect">
            <a:avLst/>
          </a:prstGeom>
        </p:spPr>
      </p:pic>
      <p:sp>
        <p:nvSpPr>
          <p:cNvPr id="23" name="円/楕円 10"/>
          <p:cNvSpPr/>
          <p:nvPr/>
        </p:nvSpPr>
        <p:spPr>
          <a:xfrm flipH="1">
            <a:off x="5113020" y="2188076"/>
            <a:ext cx="1075986" cy="1115022"/>
          </a:xfrm>
          <a:prstGeom prst="ellipse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27000" cmpd="sng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1200"/>
          </a:p>
        </p:txBody>
      </p:sp>
      <p:grpSp>
        <p:nvGrpSpPr>
          <p:cNvPr id="26" name="Group 25"/>
          <p:cNvGrpSpPr/>
          <p:nvPr/>
        </p:nvGrpSpPr>
        <p:grpSpPr>
          <a:xfrm>
            <a:off x="3238840" y="2629650"/>
            <a:ext cx="2432479" cy="2715942"/>
            <a:chOff x="3238840" y="2629650"/>
            <a:chExt cx="2432479" cy="2715942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5404866">
              <a:off x="3154916" y="2829188"/>
              <a:ext cx="2715942" cy="2316865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38840" y="2753207"/>
              <a:ext cx="1347105" cy="1310532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3318390" y="3275967"/>
            <a:ext cx="2699421" cy="2236562"/>
            <a:chOff x="3131412" y="3824794"/>
            <a:chExt cx="2699421" cy="2236562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07900">
              <a:off x="3131412" y="3824794"/>
              <a:ext cx="2621807" cy="2236562"/>
            </a:xfrm>
            <a:prstGeom prst="rect">
              <a:avLst/>
            </a:prstGeom>
          </p:spPr>
        </p:pic>
        <p:sp>
          <p:nvSpPr>
            <p:cNvPr id="20" name="円/楕円 10"/>
            <p:cNvSpPr/>
            <p:nvPr/>
          </p:nvSpPr>
          <p:spPr>
            <a:xfrm flipH="1">
              <a:off x="4689045" y="4345436"/>
              <a:ext cx="1141788" cy="1112797"/>
            </a:xfrm>
            <a:prstGeom prst="ellipse">
              <a:avLst/>
            </a:prstGeom>
            <a:blipFill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127000" cmpd="sng">
              <a:solidFill>
                <a:srgbClr val="00E1C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0960" tIns="30480" rIns="60960" bIns="3048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1200"/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Shape 1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1554"/>
          <p:cNvSpPr txBox="1">
            <a:spLocks/>
          </p:cNvSpPr>
          <p:nvPr/>
        </p:nvSpPr>
        <p:spPr>
          <a:xfrm>
            <a:off x="822787" y="255778"/>
            <a:ext cx="6749384" cy="67707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ct val="100000"/>
              <a:buFont typeface="Nixie One"/>
              <a:buNone/>
              <a:defRPr sz="40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1pPr>
            <a:lvl2pPr lvl="1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2pPr>
            <a:lvl3pPr lvl="2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3pPr>
            <a:lvl4pPr lvl="3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4pPr>
            <a:lvl5pPr lvl="4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5pPr>
            <a:lvl6pPr lvl="5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6pPr>
            <a:lvl7pPr lvl="6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7pPr>
            <a:lvl8pPr lvl="7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8pPr>
            <a:lvl9pPr lvl="8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9pPr>
          </a:lstStyle>
          <a:p>
            <a:r>
              <a:rPr lang="en-US" sz="3200" b="1" dirty="0">
                <a:solidFill>
                  <a:schemeClr val="accent5">
                    <a:lumMod val="20000"/>
                    <a:lumOff val="80000"/>
                  </a:schemeClr>
                </a:solidFill>
              </a:rPr>
              <a:t>Selected OBA Projects in Asia</a:t>
            </a:r>
            <a:endParaRPr lang="en" sz="3200" b="1" dirty="0">
              <a:solidFill>
                <a:schemeClr val="accent5">
                  <a:lumMod val="20000"/>
                  <a:lumOff val="80000"/>
                </a:schemeClr>
              </a:solidFill>
            </a:endParaRPr>
          </a:p>
        </p:txBody>
      </p:sp>
      <p:grpSp>
        <p:nvGrpSpPr>
          <p:cNvPr id="81" name="Group 80"/>
          <p:cNvGrpSpPr/>
          <p:nvPr/>
        </p:nvGrpSpPr>
        <p:grpSpPr>
          <a:xfrm>
            <a:off x="1753867" y="1455160"/>
            <a:ext cx="1800113" cy="3067506"/>
            <a:chOff x="1424082" y="1200771"/>
            <a:chExt cx="1649784" cy="3067506"/>
          </a:xfrm>
        </p:grpSpPr>
        <p:sp>
          <p:nvSpPr>
            <p:cNvPr id="42" name="Oval 41"/>
            <p:cNvSpPr>
              <a:spLocks noChangeArrowheads="1"/>
            </p:cNvSpPr>
            <p:nvPr/>
          </p:nvSpPr>
          <p:spPr bwMode="auto">
            <a:xfrm>
              <a:off x="1484361" y="3142578"/>
              <a:ext cx="320040" cy="320040"/>
            </a:xfrm>
            <a:prstGeom prst="ellipse">
              <a:avLst/>
            </a:prstGeom>
            <a:solidFill>
              <a:srgbClr val="C00000"/>
            </a:solidFill>
            <a:ln w="50800">
              <a:noFill/>
              <a:round/>
              <a:headEnd/>
              <a:tailEnd/>
            </a:ln>
          </p:spPr>
          <p:txBody>
            <a:bodyPr rot="0" vert="horz" wrap="square" lIns="68580" tIns="34290" rIns="68580" bIns="34290" anchor="t" anchorCtr="0" upright="1">
              <a:noAutofit/>
            </a:bodyPr>
            <a:lstStyle/>
            <a:p>
              <a:endParaRPr lang="en-US" sz="2000">
                <a:latin typeface="Gill Sans MT" panose="020B0502020104020203" pitchFamily="34" charset="0"/>
              </a:endParaRPr>
            </a:p>
          </p:txBody>
        </p:sp>
        <p:grpSp>
          <p:nvGrpSpPr>
            <p:cNvPr id="80" name="Group 79"/>
            <p:cNvGrpSpPr/>
            <p:nvPr/>
          </p:nvGrpSpPr>
          <p:grpSpPr>
            <a:xfrm>
              <a:off x="1424082" y="1200771"/>
              <a:ext cx="1649784" cy="3067506"/>
              <a:chOff x="861892" y="1858912"/>
              <a:chExt cx="1649784" cy="3067506"/>
            </a:xfrm>
          </p:grpSpPr>
          <p:sp>
            <p:nvSpPr>
              <p:cNvPr id="5" name="Rectangle 4"/>
              <p:cNvSpPr/>
              <p:nvPr/>
            </p:nvSpPr>
            <p:spPr>
              <a:xfrm>
                <a:off x="861892" y="1858912"/>
                <a:ext cx="1649784" cy="3067506"/>
              </a:xfrm>
              <a:prstGeom prst="rect">
                <a:avLst/>
              </a:prstGeom>
            </p:spPr>
            <p:txBody>
              <a:bodyPr wrap="square" numCol="1">
                <a:spAutoFit/>
              </a:bodyPr>
              <a:lstStyle/>
              <a:p>
                <a:pPr lvl="0">
                  <a:lnSpc>
                    <a:spcPts val="2900"/>
                  </a:lnSpc>
                  <a:buClr>
                    <a:srgbClr val="19BBD5"/>
                  </a:buClr>
                </a:pPr>
                <a:r>
                  <a:rPr lang="en-US" sz="2400" u="sng" dirty="0">
                    <a:solidFill>
                      <a:srgbClr val="FFC000"/>
                    </a:solidFill>
                    <a:latin typeface="Gill Sans MT" panose="020B0502020104020203" pitchFamily="34" charset="0"/>
                    <a:sym typeface="Muli"/>
                  </a:rPr>
                  <a:t>7 Sectors</a:t>
                </a:r>
              </a:p>
              <a:p>
                <a:pPr marL="457200" lvl="0">
                  <a:lnSpc>
                    <a:spcPts val="2900"/>
                  </a:lnSpc>
                  <a:buClr>
                    <a:srgbClr val="19BBD5"/>
                  </a:buClr>
                </a:pPr>
                <a:r>
                  <a:rPr lang="en-US" sz="2000" dirty="0">
                    <a:solidFill>
                      <a:schemeClr val="accent5">
                        <a:lumMod val="20000"/>
                        <a:lumOff val="80000"/>
                      </a:schemeClr>
                    </a:solidFill>
                    <a:latin typeface="Gill Sans MT" panose="020B0502020104020203" pitchFamily="34" charset="0"/>
                    <a:sym typeface="Muli"/>
                  </a:rPr>
                  <a:t>Energy</a:t>
                </a:r>
              </a:p>
              <a:p>
                <a:pPr marL="457200" lvl="0">
                  <a:lnSpc>
                    <a:spcPts val="2900"/>
                  </a:lnSpc>
                  <a:buClr>
                    <a:srgbClr val="19BBD5"/>
                  </a:buClr>
                </a:pPr>
                <a:r>
                  <a:rPr lang="en-US" sz="2000" dirty="0">
                    <a:solidFill>
                      <a:schemeClr val="accent5">
                        <a:lumMod val="20000"/>
                        <a:lumOff val="80000"/>
                      </a:schemeClr>
                    </a:solidFill>
                    <a:latin typeface="Gill Sans MT" panose="020B0502020104020203" pitchFamily="34" charset="0"/>
                    <a:sym typeface="Muli"/>
                  </a:rPr>
                  <a:t>Water</a:t>
                </a:r>
              </a:p>
              <a:p>
                <a:pPr marL="457200" lvl="0">
                  <a:lnSpc>
                    <a:spcPts val="2900"/>
                  </a:lnSpc>
                  <a:buClr>
                    <a:srgbClr val="19BBD5"/>
                  </a:buClr>
                </a:pPr>
                <a:r>
                  <a:rPr lang="en-US" sz="2000" dirty="0">
                    <a:solidFill>
                      <a:schemeClr val="accent5">
                        <a:lumMod val="20000"/>
                        <a:lumOff val="80000"/>
                      </a:schemeClr>
                    </a:solidFill>
                    <a:latin typeface="Gill Sans MT" panose="020B0502020104020203" pitchFamily="34" charset="0"/>
                    <a:sym typeface="Muli"/>
                  </a:rPr>
                  <a:t>Sanitation</a:t>
                </a:r>
              </a:p>
              <a:p>
                <a:pPr marL="457200" lvl="0">
                  <a:lnSpc>
                    <a:spcPts val="2900"/>
                  </a:lnSpc>
                  <a:buClr>
                    <a:srgbClr val="19BBD5"/>
                  </a:buClr>
                </a:pPr>
                <a:r>
                  <a:rPr lang="en-US" sz="2000" dirty="0">
                    <a:solidFill>
                      <a:schemeClr val="accent5">
                        <a:lumMod val="20000"/>
                        <a:lumOff val="80000"/>
                      </a:schemeClr>
                    </a:solidFill>
                    <a:latin typeface="Gill Sans MT" panose="020B0502020104020203" pitchFamily="34" charset="0"/>
                    <a:sym typeface="Muli"/>
                  </a:rPr>
                  <a:t>SW Mgmt.</a:t>
                </a:r>
              </a:p>
              <a:p>
                <a:pPr marL="457200" lvl="0">
                  <a:lnSpc>
                    <a:spcPts val="2900"/>
                  </a:lnSpc>
                  <a:buClr>
                    <a:srgbClr val="19BBD5"/>
                  </a:buClr>
                </a:pPr>
                <a:r>
                  <a:rPr lang="en-US" sz="2000" dirty="0">
                    <a:solidFill>
                      <a:schemeClr val="accent5">
                        <a:lumMod val="20000"/>
                        <a:lumOff val="80000"/>
                      </a:schemeClr>
                    </a:solidFill>
                    <a:latin typeface="Gill Sans MT" panose="020B0502020104020203" pitchFamily="34" charset="0"/>
                    <a:sym typeface="Muli"/>
                  </a:rPr>
                  <a:t>Health</a:t>
                </a:r>
              </a:p>
              <a:p>
                <a:pPr marL="457200" lvl="0">
                  <a:lnSpc>
                    <a:spcPts val="2900"/>
                  </a:lnSpc>
                  <a:buClr>
                    <a:srgbClr val="19BBD5"/>
                  </a:buClr>
                </a:pPr>
                <a:r>
                  <a:rPr lang="en-US" sz="2000" dirty="0">
                    <a:solidFill>
                      <a:schemeClr val="accent5">
                        <a:lumMod val="20000"/>
                        <a:lumOff val="80000"/>
                      </a:schemeClr>
                    </a:solidFill>
                    <a:latin typeface="Gill Sans MT" panose="020B0502020104020203" pitchFamily="34" charset="0"/>
                    <a:sym typeface="Muli"/>
                  </a:rPr>
                  <a:t>Education</a:t>
                </a:r>
              </a:p>
              <a:p>
                <a:pPr marL="457200" lvl="0">
                  <a:lnSpc>
                    <a:spcPts val="2900"/>
                  </a:lnSpc>
                  <a:buClr>
                    <a:srgbClr val="19BBD5"/>
                  </a:buClr>
                </a:pPr>
                <a:r>
                  <a:rPr lang="en-US" sz="2000" dirty="0">
                    <a:solidFill>
                      <a:schemeClr val="accent5">
                        <a:lumMod val="20000"/>
                        <a:lumOff val="80000"/>
                      </a:schemeClr>
                    </a:solidFill>
                    <a:latin typeface="Gill Sans MT" panose="020B0502020104020203" pitchFamily="34" charset="0"/>
                    <a:sym typeface="Muli"/>
                  </a:rPr>
                  <a:t>Telecom</a:t>
                </a:r>
              </a:p>
            </p:txBody>
          </p:sp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22386" y="2698247"/>
                <a:ext cx="307683" cy="307683"/>
              </a:xfrm>
              <a:prstGeom prst="rect">
                <a:avLst/>
              </a:prstGeom>
            </p:spPr>
          </p:pic>
          <p:grpSp>
            <p:nvGrpSpPr>
              <p:cNvPr id="29" name="Group 28"/>
              <p:cNvGrpSpPr/>
              <p:nvPr/>
            </p:nvGrpSpPr>
            <p:grpSpPr>
              <a:xfrm>
                <a:off x="922386" y="2312174"/>
                <a:ext cx="320040" cy="320040"/>
                <a:chOff x="7257230" y="1762277"/>
                <a:chExt cx="1292304" cy="1248726"/>
              </a:xfrm>
            </p:grpSpPr>
            <p:sp>
              <p:nvSpPr>
                <p:cNvPr id="27" name="Oval 26"/>
                <p:cNvSpPr>
                  <a:spLocks noChangeArrowheads="1"/>
                </p:cNvSpPr>
                <p:nvPr/>
              </p:nvSpPr>
              <p:spPr bwMode="auto">
                <a:xfrm>
                  <a:off x="7257230" y="1762277"/>
                  <a:ext cx="1292304" cy="1248726"/>
                </a:xfrm>
                <a:prstGeom prst="ellipse">
                  <a:avLst/>
                </a:prstGeom>
                <a:solidFill>
                  <a:srgbClr val="FF6600"/>
                </a:solidFill>
                <a:ln w="50800">
                  <a:noFill/>
                  <a:round/>
                  <a:headEnd/>
                  <a:tailEnd/>
                </a:ln>
              </p:spPr>
              <p:txBody>
                <a:bodyPr rot="0" vert="horz" wrap="square" lIns="68580" tIns="34290" rIns="68580" bIns="34290" anchor="t" anchorCtr="0" upright="1">
                  <a:noAutofit/>
                </a:bodyPr>
                <a:lstStyle/>
                <a:p>
                  <a:endParaRPr lang="en-US" sz="2000">
                    <a:latin typeface="Gill Sans MT" panose="020B0502020104020203" pitchFamily="34" charset="0"/>
                  </a:endParaRPr>
                </a:p>
              </p:txBody>
            </p:sp>
            <p:pic>
              <p:nvPicPr>
                <p:cNvPr id="28" name="Picture 30" descr="Image result for plug icon flat png"/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287712" y="1812832"/>
                  <a:ext cx="1187927" cy="1136366"/>
                </a:xfrm>
                <a:prstGeom prst="rect">
                  <a:avLst/>
                </a:prstGeom>
                <a:noFill/>
                <a:ln>
                  <a:noFill/>
                </a:ln>
                <a:extLst/>
              </p:spPr>
            </p:pic>
          </p:grpSp>
          <p:pic>
            <p:nvPicPr>
              <p:cNvPr id="31" name="Picture 30"/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27100" y="3085046"/>
                <a:ext cx="286537" cy="286537"/>
              </a:xfrm>
              <a:prstGeom prst="rect">
                <a:avLst/>
              </a:prstGeom>
            </p:spPr>
          </p:pic>
          <p:pic>
            <p:nvPicPr>
              <p:cNvPr id="32" name="Picture 31"/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80604" y="4503084"/>
                <a:ext cx="347502" cy="335309"/>
              </a:xfrm>
              <a:prstGeom prst="rect">
                <a:avLst/>
              </a:prstGeom>
            </p:spPr>
          </p:pic>
          <p:grpSp>
            <p:nvGrpSpPr>
              <p:cNvPr id="36" name="Group 35"/>
              <p:cNvGrpSpPr/>
              <p:nvPr/>
            </p:nvGrpSpPr>
            <p:grpSpPr>
              <a:xfrm>
                <a:off x="918579" y="4167635"/>
                <a:ext cx="284253" cy="285318"/>
                <a:chOff x="931279" y="4167635"/>
                <a:chExt cx="284253" cy="285318"/>
              </a:xfrm>
            </p:grpSpPr>
            <p:sp>
              <p:nvSpPr>
                <p:cNvPr id="24" name="Oval 23"/>
                <p:cNvSpPr/>
                <p:nvPr/>
              </p:nvSpPr>
              <p:spPr>
                <a:xfrm>
                  <a:off x="931279" y="4169063"/>
                  <a:ext cx="284253" cy="283890"/>
                </a:xfrm>
                <a:prstGeom prst="ellipse">
                  <a:avLst/>
                </a:prstGeom>
                <a:solidFill>
                  <a:srgbClr val="52929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>
                    <a:latin typeface="Gill Sans MT" panose="020B0502020104020203" pitchFamily="34" charset="0"/>
                  </a:endParaRPr>
                </a:p>
              </p:txBody>
            </p:sp>
            <p:pic>
              <p:nvPicPr>
                <p:cNvPr id="35" name="Picture 44" descr="Image result for education icon flat png"/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extLst>
                    <a:ext uri="{BEBA8EAE-BF5A-486C-A8C5-ECC9F3942E4B}">
                      <a14:imgProps xmlns:a14="http://schemas.microsoft.com/office/drawing/2010/main">
                        <a14:imgLayer r:embed="rId8">
                          <a14:imgEffect>
                            <a14:brightnessContrast bright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53023" y="4167635"/>
                  <a:ext cx="257199" cy="26000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38" name="Picture 37"/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02790" y="3447025"/>
                <a:ext cx="348480" cy="306507"/>
              </a:xfrm>
              <a:prstGeom prst="rect">
                <a:avLst/>
              </a:prstGeom>
            </p:spPr>
          </p:pic>
          <p:pic>
            <p:nvPicPr>
              <p:cNvPr id="39" name="Picture 32" descr="Image result for clinic icon flat png"/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65669" y="3842987"/>
                <a:ext cx="221115" cy="21530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67" name="Rectangle 66"/>
          <p:cNvSpPr/>
          <p:nvPr/>
        </p:nvSpPr>
        <p:spPr>
          <a:xfrm>
            <a:off x="4152900" y="1467506"/>
            <a:ext cx="4137660" cy="2989995"/>
          </a:xfrm>
          <a:prstGeom prst="rect">
            <a:avLst/>
          </a:prstGeom>
          <a:solidFill>
            <a:schemeClr val="tx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cxnSp>
        <p:nvCxnSpPr>
          <p:cNvPr id="76" name="Straight Connector 75"/>
          <p:cNvCxnSpPr/>
          <p:nvPr/>
        </p:nvCxnSpPr>
        <p:spPr>
          <a:xfrm>
            <a:off x="6075047" y="2755900"/>
            <a:ext cx="1936685" cy="14067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/>
        </p:nvCxnSpPr>
        <p:spPr>
          <a:xfrm>
            <a:off x="6062519" y="3129407"/>
            <a:ext cx="1949213" cy="11668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>
            <a:off x="6066845" y="3478401"/>
            <a:ext cx="1951574" cy="1611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/>
          <p:nvPr/>
        </p:nvCxnSpPr>
        <p:spPr>
          <a:xfrm flipV="1">
            <a:off x="6054317" y="3822301"/>
            <a:ext cx="1957415" cy="14367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/>
          <p:cNvSpPr txBox="1"/>
          <p:nvPr/>
        </p:nvSpPr>
        <p:spPr>
          <a:xfrm>
            <a:off x="6060158" y="2373540"/>
            <a:ext cx="3385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FFC000"/>
                </a:solidFill>
                <a:latin typeface="Gill Sans MT" panose="020B0502020104020203" pitchFamily="34" charset="0"/>
              </a:rPr>
              <a:t>3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6916536" y="2371187"/>
            <a:ext cx="3385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FFC000"/>
                </a:solidFill>
                <a:latin typeface="Gill Sans MT" panose="020B0502020104020203" pitchFamily="34" charset="0"/>
              </a:rPr>
              <a:t>1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6520883" y="3080353"/>
            <a:ext cx="3385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FFC000"/>
                </a:solidFill>
                <a:latin typeface="Gill Sans MT" panose="020B0502020104020203" pitchFamily="34" charset="0"/>
              </a:rPr>
              <a:t>2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6523486" y="2740548"/>
            <a:ext cx="3385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FFC000"/>
                </a:solidFill>
                <a:latin typeface="Gill Sans MT" panose="020B0502020104020203" pitchFamily="34" charset="0"/>
              </a:rPr>
              <a:t>1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6066845" y="2734026"/>
            <a:ext cx="3385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FFC000"/>
                </a:solidFill>
                <a:latin typeface="Gill Sans MT" panose="020B0502020104020203" pitchFamily="34" charset="0"/>
              </a:rPr>
              <a:t>1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7763864" y="3098302"/>
            <a:ext cx="3385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FFC000"/>
                </a:solidFill>
                <a:latin typeface="Gill Sans MT" panose="020B0502020104020203" pitchFamily="34" charset="0"/>
              </a:rPr>
              <a:t>1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6060115" y="3428018"/>
            <a:ext cx="3385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FFC000"/>
                </a:solidFill>
                <a:latin typeface="Gill Sans MT" panose="020B0502020104020203" pitchFamily="34" charset="0"/>
              </a:rPr>
              <a:t>1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7354979" y="3440301"/>
            <a:ext cx="3385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FFC000"/>
                </a:solidFill>
                <a:latin typeface="Gill Sans MT" panose="020B0502020104020203" pitchFamily="34" charset="0"/>
              </a:rPr>
              <a:t>1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6916536" y="3789834"/>
            <a:ext cx="3385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FFC000"/>
                </a:solidFill>
                <a:latin typeface="Gill Sans MT" panose="020B0502020104020203" pitchFamily="34" charset="0"/>
              </a:rPr>
              <a:t>1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4280140" y="1637156"/>
            <a:ext cx="3795850" cy="444674"/>
            <a:chOff x="4280140" y="1781936"/>
            <a:chExt cx="3795850" cy="444674"/>
          </a:xfrm>
        </p:grpSpPr>
        <p:sp>
          <p:nvSpPr>
            <p:cNvPr id="98" name="Rectangle 97"/>
            <p:cNvSpPr/>
            <p:nvPr/>
          </p:nvSpPr>
          <p:spPr>
            <a:xfrm>
              <a:off x="4280140" y="1781936"/>
              <a:ext cx="1438214" cy="44467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>
                <a:lnSpc>
                  <a:spcPts val="2900"/>
                </a:lnSpc>
                <a:buClr>
                  <a:srgbClr val="19BBD5"/>
                </a:buClr>
              </a:pPr>
              <a:r>
                <a:rPr lang="en-US" sz="2400" u="sng" dirty="0">
                  <a:solidFill>
                    <a:srgbClr val="FFC000"/>
                  </a:solidFill>
                  <a:latin typeface="Gill Sans MT" panose="020B0502020104020203" pitchFamily="34" charset="0"/>
                  <a:sym typeface="Muli"/>
                </a:rPr>
                <a:t>Countries</a:t>
              </a:r>
            </a:p>
          </p:txBody>
        </p:sp>
        <p:grpSp>
          <p:nvGrpSpPr>
            <p:cNvPr id="13" name="Group 12"/>
            <p:cNvGrpSpPr/>
            <p:nvPr/>
          </p:nvGrpSpPr>
          <p:grpSpPr>
            <a:xfrm>
              <a:off x="6067498" y="1818697"/>
              <a:ext cx="2008492" cy="369610"/>
              <a:chOff x="6067498" y="1818697"/>
              <a:chExt cx="2008492" cy="369610"/>
            </a:xfrm>
          </p:grpSpPr>
          <p:grpSp>
            <p:nvGrpSpPr>
              <p:cNvPr id="72" name="Group 71"/>
              <p:cNvGrpSpPr/>
              <p:nvPr/>
            </p:nvGrpSpPr>
            <p:grpSpPr>
              <a:xfrm>
                <a:off x="6067498" y="1836896"/>
                <a:ext cx="320040" cy="320040"/>
                <a:chOff x="7257230" y="1762277"/>
                <a:chExt cx="1292304" cy="1248726"/>
              </a:xfrm>
            </p:grpSpPr>
            <p:sp>
              <p:nvSpPr>
                <p:cNvPr id="99" name="Oval 98"/>
                <p:cNvSpPr>
                  <a:spLocks noChangeArrowheads="1"/>
                </p:cNvSpPr>
                <p:nvPr/>
              </p:nvSpPr>
              <p:spPr bwMode="auto">
                <a:xfrm>
                  <a:off x="7257230" y="1762277"/>
                  <a:ext cx="1292304" cy="1248726"/>
                </a:xfrm>
                <a:prstGeom prst="ellipse">
                  <a:avLst/>
                </a:prstGeom>
                <a:solidFill>
                  <a:srgbClr val="FF6600"/>
                </a:solidFill>
                <a:ln w="50800">
                  <a:noFill/>
                  <a:round/>
                  <a:headEnd/>
                  <a:tailEnd/>
                </a:ln>
              </p:spPr>
              <p:txBody>
                <a:bodyPr rot="0" vert="horz" wrap="square" lIns="68580" tIns="34290" rIns="68580" bIns="34290" anchor="t" anchorCtr="0" upright="1">
                  <a:noAutofit/>
                </a:bodyPr>
                <a:lstStyle/>
                <a:p>
                  <a:endParaRPr lang="en-US"/>
                </a:p>
              </p:txBody>
            </p:sp>
            <p:pic>
              <p:nvPicPr>
                <p:cNvPr id="100" name="Picture 30" descr="Image result for plug icon flat png"/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287712" y="1812832"/>
                  <a:ext cx="1187927" cy="1136366"/>
                </a:xfrm>
                <a:prstGeom prst="rect">
                  <a:avLst/>
                </a:prstGeom>
                <a:noFill/>
                <a:ln>
                  <a:noFill/>
                </a:ln>
                <a:extLst/>
              </p:spPr>
            </p:pic>
          </p:grpSp>
          <p:pic>
            <p:nvPicPr>
              <p:cNvPr id="73" name="Picture 72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527031" y="1856203"/>
                <a:ext cx="297594" cy="297594"/>
              </a:xfrm>
              <a:prstGeom prst="rect">
                <a:avLst/>
              </a:prstGeom>
            </p:spPr>
          </p:pic>
          <p:pic>
            <p:nvPicPr>
              <p:cNvPr id="74" name="Picture 73"/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924594" y="1861731"/>
                <a:ext cx="300608" cy="300608"/>
              </a:xfrm>
              <a:prstGeom prst="rect">
                <a:avLst/>
              </a:prstGeom>
            </p:spPr>
          </p:pic>
          <p:pic>
            <p:nvPicPr>
              <p:cNvPr id="75" name="Picture 74"/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21966" y="1855832"/>
                <a:ext cx="348480" cy="306507"/>
              </a:xfrm>
              <a:prstGeom prst="rect">
                <a:avLst/>
              </a:prstGeom>
            </p:spPr>
          </p:pic>
          <p:pic>
            <p:nvPicPr>
              <p:cNvPr id="71" name="Picture 70"/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692940" y="1818697"/>
                <a:ext cx="383050" cy="369610"/>
              </a:xfrm>
              <a:prstGeom prst="rect">
                <a:avLst/>
              </a:prstGeom>
            </p:spPr>
          </p:pic>
        </p:grpSp>
      </p:grpSp>
      <p:sp>
        <p:nvSpPr>
          <p:cNvPr id="68" name="Shape 1520"/>
          <p:cNvSpPr txBox="1">
            <a:spLocks noGrp="1"/>
          </p:cNvSpPr>
          <p:nvPr>
            <p:ph type="body" idx="1"/>
          </p:nvPr>
        </p:nvSpPr>
        <p:spPr>
          <a:xfrm>
            <a:off x="4321248" y="2353864"/>
            <a:ext cx="1418244" cy="1966675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2" algn="r">
              <a:lnSpc>
                <a:spcPts val="2700"/>
              </a:lnSpc>
              <a:buNone/>
            </a:pPr>
            <a:r>
              <a:rPr lang="en-US" sz="2000" dirty="0">
                <a:solidFill>
                  <a:schemeClr val="bg1"/>
                </a:solidFill>
                <a:latin typeface="Gill Sans MT" panose="020B0502020104020203" pitchFamily="34" charset="0"/>
              </a:rPr>
              <a:t>Bangladesh </a:t>
            </a:r>
          </a:p>
          <a:p>
            <a:pPr lvl="2" algn="r">
              <a:lnSpc>
                <a:spcPts val="2700"/>
              </a:lnSpc>
              <a:buNone/>
            </a:pPr>
            <a:r>
              <a:rPr lang="en-US" sz="2000" dirty="0">
                <a:solidFill>
                  <a:schemeClr val="bg1"/>
                </a:solidFill>
                <a:latin typeface="Gill Sans MT" panose="020B0502020104020203" pitchFamily="34" charset="0"/>
              </a:rPr>
              <a:t>India </a:t>
            </a:r>
          </a:p>
          <a:p>
            <a:pPr lvl="2" algn="r">
              <a:lnSpc>
                <a:spcPts val="2700"/>
              </a:lnSpc>
              <a:buNone/>
            </a:pPr>
            <a:r>
              <a:rPr lang="en-US" sz="2000" dirty="0">
                <a:solidFill>
                  <a:schemeClr val="bg1"/>
                </a:solidFill>
                <a:latin typeface="Gill Sans MT" panose="020B0502020104020203" pitchFamily="34" charset="0"/>
              </a:rPr>
              <a:t>Indonesia </a:t>
            </a:r>
          </a:p>
          <a:p>
            <a:pPr lvl="2" algn="r">
              <a:lnSpc>
                <a:spcPts val="2700"/>
              </a:lnSpc>
              <a:buNone/>
            </a:pPr>
            <a:r>
              <a:rPr lang="en-US" sz="2000" dirty="0">
                <a:solidFill>
                  <a:schemeClr val="bg1"/>
                </a:solidFill>
                <a:latin typeface="Gill Sans MT" panose="020B0502020104020203" pitchFamily="34" charset="0"/>
              </a:rPr>
              <a:t>Nepal</a:t>
            </a:r>
          </a:p>
          <a:p>
            <a:pPr lvl="2" algn="r">
              <a:lnSpc>
                <a:spcPts val="2700"/>
              </a:lnSpc>
              <a:buNone/>
            </a:pPr>
            <a:r>
              <a:rPr lang="en-US" sz="2000" dirty="0">
                <a:solidFill>
                  <a:schemeClr val="bg1"/>
                </a:solidFill>
                <a:latin typeface="Gill Sans MT" panose="020B0502020104020203" pitchFamily="34" charset="0"/>
              </a:rPr>
              <a:t>Sri Lanka</a:t>
            </a:r>
            <a:endParaRPr lang="en" sz="2000" dirty="0">
              <a:solidFill>
                <a:schemeClr val="bg1"/>
              </a:solidFill>
              <a:latin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92025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-8466" y="-1234"/>
            <a:ext cx="4580466" cy="2428803"/>
            <a:chOff x="-8466" y="-1234"/>
            <a:chExt cx="4580466" cy="2428803"/>
          </a:xfrm>
        </p:grpSpPr>
        <p:grpSp>
          <p:nvGrpSpPr>
            <p:cNvPr id="7" name="Group 6"/>
            <p:cNvGrpSpPr/>
            <p:nvPr/>
          </p:nvGrpSpPr>
          <p:grpSpPr>
            <a:xfrm>
              <a:off x="-8466" y="-1234"/>
              <a:ext cx="4580466" cy="2428803"/>
              <a:chOff x="0" y="-11238"/>
              <a:chExt cx="4580466" cy="2428803"/>
            </a:xfrm>
          </p:grpSpPr>
          <p:sp>
            <p:nvSpPr>
              <p:cNvPr id="36" name="Rectangle 35"/>
              <p:cNvSpPr/>
              <p:nvPr/>
            </p:nvSpPr>
            <p:spPr>
              <a:xfrm>
                <a:off x="0" y="-11238"/>
                <a:ext cx="4580466" cy="1600292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0" tIns="182880" rIns="457200" rtlCol="0" anchor="ctr"/>
              <a:lstStyle/>
              <a:p>
                <a:pPr lvl="0"/>
                <a:r>
                  <a:rPr lang="en-US" sz="2800" b="1" dirty="0">
                    <a:solidFill>
                      <a:srgbClr val="184769"/>
                    </a:solidFill>
                    <a:latin typeface="Nixie One" panose="02000503080000020004" pitchFamily="2" charset="0"/>
                  </a:rPr>
                  <a:t>BPKP</a:t>
                </a:r>
                <a:br>
                  <a:rPr lang="en-US" sz="2800" b="1" dirty="0">
                    <a:solidFill>
                      <a:srgbClr val="184769"/>
                    </a:solidFill>
                    <a:latin typeface="Nixie One" panose="02000503080000020004" pitchFamily="2" charset="0"/>
                  </a:rPr>
                </a:br>
                <a:r>
                  <a:rPr lang="en-US" sz="2800" b="1" dirty="0">
                    <a:solidFill>
                      <a:srgbClr val="184769"/>
                    </a:solidFill>
                    <a:latin typeface="Nixie One" panose="02000503080000020004" pitchFamily="2" charset="0"/>
                  </a:rPr>
                  <a:t>Technical </a:t>
                </a:r>
              </a:p>
              <a:p>
                <a:pPr lvl="0"/>
                <a:r>
                  <a:rPr lang="en-US" sz="2800" b="1" dirty="0">
                    <a:solidFill>
                      <a:srgbClr val="184769"/>
                    </a:solidFill>
                    <a:latin typeface="Nixie One" panose="02000503080000020004" pitchFamily="2" charset="0"/>
                  </a:rPr>
                  <a:t>Training</a:t>
                </a:r>
              </a:p>
              <a:p>
                <a:pPr lvl="0"/>
                <a:endParaRPr lang="en-US" sz="800" b="1" dirty="0">
                  <a:solidFill>
                    <a:srgbClr val="184769"/>
                  </a:solidFill>
                  <a:latin typeface="Nixie One" panose="02000503080000020004" pitchFamily="2" charset="0"/>
                </a:endParaRPr>
              </a:p>
            </p:txBody>
          </p:sp>
          <p:sp>
            <p:nvSpPr>
              <p:cNvPr id="3" name="Rectangle 2"/>
              <p:cNvSpPr/>
              <p:nvPr/>
            </p:nvSpPr>
            <p:spPr>
              <a:xfrm>
                <a:off x="0" y="1486541"/>
                <a:ext cx="4580466" cy="931024"/>
              </a:xfrm>
              <a:prstGeom prst="rect">
                <a:avLst/>
              </a:prstGeom>
              <a:solidFill>
                <a:srgbClr val="FFC000"/>
              </a:solidFill>
            </p:spPr>
            <p:txBody>
              <a:bodyPr wrap="square">
                <a:spAutoFit/>
              </a:bodyPr>
              <a:lstStyle/>
              <a:p>
                <a:pPr marL="342900" lvl="0" indent="-228600">
                  <a:buClrTx/>
                  <a:buFont typeface="Arial" panose="020B0604020202020204" pitchFamily="34" charset="0"/>
                  <a:buChar char="•"/>
                </a:pPr>
                <a:r>
                  <a:rPr lang="en-US" sz="1350" dirty="0">
                    <a:solidFill>
                      <a:srgbClr val="184769"/>
                    </a:solidFill>
                    <a:latin typeface="Gill Sans MT" panose="020B0502020104020203" pitchFamily="34" charset="0"/>
                  </a:rPr>
                  <a:t>2 series of training</a:t>
                </a:r>
              </a:p>
              <a:p>
                <a:pPr marL="342900" lvl="0" indent="-228600">
                  <a:buClrTx/>
                  <a:buFont typeface="Arial" panose="020B0604020202020204" pitchFamily="34" charset="0"/>
                  <a:buChar char="•"/>
                </a:pPr>
                <a:r>
                  <a:rPr lang="en-US" sz="1350" dirty="0">
                    <a:solidFill>
                      <a:srgbClr val="184769"/>
                    </a:solidFill>
                    <a:latin typeface="Gill Sans MT" panose="020B0502020104020203" pitchFamily="34" charset="0"/>
                  </a:rPr>
                  <a:t>350 trainees</a:t>
                </a:r>
              </a:p>
              <a:p>
                <a:pPr marL="342900" lvl="0" indent="-228600">
                  <a:buClrTx/>
                  <a:buFont typeface="Arial" panose="020B0604020202020204" pitchFamily="34" charset="0"/>
                  <a:buChar char="•"/>
                </a:pPr>
                <a:r>
                  <a:rPr lang="en-US" sz="1350" dirty="0">
                    <a:solidFill>
                      <a:srgbClr val="184769"/>
                    </a:solidFill>
                    <a:latin typeface="Gill Sans MT" panose="020B0502020104020203" pitchFamily="34" charset="0"/>
                  </a:rPr>
                  <a:t>1 package of face to face training and e-learning modules</a:t>
                </a:r>
              </a:p>
              <a:p>
                <a:pPr lvl="0">
                  <a:buClrTx/>
                </a:pPr>
                <a:endParaRPr lang="en" dirty="0">
                  <a:solidFill>
                    <a:srgbClr val="184769"/>
                  </a:solidFill>
                  <a:latin typeface="Gill Sans MT" panose="020B0502020104020203" pitchFamily="34" charset="0"/>
                </a:endParaRPr>
              </a:p>
            </p:txBody>
          </p:sp>
        </p:grpSp>
        <p:sp>
          <p:nvSpPr>
            <p:cNvPr id="56" name="Rectangle 55"/>
            <p:cNvSpPr/>
            <p:nvPr/>
          </p:nvSpPr>
          <p:spPr>
            <a:xfrm>
              <a:off x="2712721" y="201089"/>
              <a:ext cx="1719940" cy="1285451"/>
            </a:xfrm>
            <a:prstGeom prst="rect">
              <a:avLst/>
            </a:prstGeom>
            <a:blipFill rotWithShape="1"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10" name="Group 9"/>
          <p:cNvGrpSpPr/>
          <p:nvPr/>
        </p:nvGrpSpPr>
        <p:grpSpPr>
          <a:xfrm>
            <a:off x="0" y="2908701"/>
            <a:ext cx="4580466" cy="2234800"/>
            <a:chOff x="0" y="2908701"/>
            <a:chExt cx="4580466" cy="2270648"/>
          </a:xfrm>
        </p:grpSpPr>
        <p:grpSp>
          <p:nvGrpSpPr>
            <p:cNvPr id="9" name="Group 8"/>
            <p:cNvGrpSpPr/>
            <p:nvPr/>
          </p:nvGrpSpPr>
          <p:grpSpPr>
            <a:xfrm>
              <a:off x="0" y="2908701"/>
              <a:ext cx="4580466" cy="2270648"/>
              <a:chOff x="0" y="2908701"/>
              <a:chExt cx="4580466" cy="2270648"/>
            </a:xfrm>
          </p:grpSpPr>
          <p:sp>
            <p:nvSpPr>
              <p:cNvPr id="17" name="Rectangle 16"/>
              <p:cNvSpPr/>
              <p:nvPr/>
            </p:nvSpPr>
            <p:spPr>
              <a:xfrm>
                <a:off x="0" y="3752270"/>
                <a:ext cx="4580466" cy="1427079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0" tIns="182880" rIns="457200" rtlCol="0" anchor="ctr"/>
              <a:lstStyle/>
              <a:p>
                <a:pPr lvl="0"/>
                <a:endParaRPr lang="en-US" sz="800" b="1" dirty="0">
                  <a:solidFill>
                    <a:srgbClr val="184769"/>
                  </a:solidFill>
                  <a:latin typeface="Nixie One" panose="02000503080000020004" pitchFamily="2" charset="0"/>
                </a:endParaRPr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0" y="2908701"/>
                <a:ext cx="4580466" cy="1427079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0" tIns="182880" rIns="457200" rtlCol="0" anchor="ctr"/>
              <a:lstStyle/>
              <a:p>
                <a:pPr lvl="0"/>
                <a:r>
                  <a:rPr lang="en-US" sz="2400" b="1" dirty="0">
                    <a:solidFill>
                      <a:srgbClr val="184769"/>
                    </a:solidFill>
                    <a:latin typeface="Nixie One" panose="02000503080000020004" pitchFamily="2" charset="0"/>
                  </a:rPr>
                  <a:t>M&amp;E</a:t>
                </a:r>
                <a:br>
                  <a:rPr lang="en-US" sz="2400" b="1" dirty="0">
                    <a:solidFill>
                      <a:srgbClr val="184769"/>
                    </a:solidFill>
                    <a:latin typeface="Nixie One" panose="02000503080000020004" pitchFamily="2" charset="0"/>
                  </a:rPr>
                </a:br>
                <a:r>
                  <a:rPr lang="en-US" sz="2400" b="1" dirty="0">
                    <a:solidFill>
                      <a:srgbClr val="184769"/>
                    </a:solidFill>
                    <a:latin typeface="Nixie One" panose="02000503080000020004" pitchFamily="2" charset="0"/>
                  </a:rPr>
                  <a:t>Activities </a:t>
                </a:r>
              </a:p>
              <a:p>
                <a:pPr lvl="0"/>
                <a:r>
                  <a:rPr lang="en-US" sz="2400" b="1" dirty="0">
                    <a:solidFill>
                      <a:srgbClr val="184769"/>
                    </a:solidFill>
                    <a:latin typeface="Nixie One" panose="02000503080000020004" pitchFamily="2" charset="0"/>
                  </a:rPr>
                  <a:t>Support</a:t>
                </a:r>
              </a:p>
              <a:p>
                <a:pPr lvl="0"/>
                <a:endParaRPr lang="en-US" sz="800" b="1" dirty="0">
                  <a:solidFill>
                    <a:srgbClr val="184769"/>
                  </a:solidFill>
                  <a:latin typeface="Nixie One" panose="02000503080000020004" pitchFamily="2" charset="0"/>
                </a:endParaRPr>
              </a:p>
            </p:txBody>
          </p:sp>
          <p:sp>
            <p:nvSpPr>
              <p:cNvPr id="5" name="Rectangle 4"/>
              <p:cNvSpPr/>
              <p:nvPr/>
            </p:nvSpPr>
            <p:spPr>
              <a:xfrm>
                <a:off x="243152" y="4214047"/>
                <a:ext cx="4263411" cy="83099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12713" lvl="0" indent="-112713">
                  <a:buClrTx/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rgbClr val="0E293C"/>
                    </a:solidFill>
                    <a:latin typeface="Muli" panose="02000503000000000000" pitchFamily="2" charset="0"/>
                  </a:rPr>
                  <a:t>3 series of training: Basic M&amp;E, Impact Evaluation, Results-Based M&amp;E</a:t>
                </a:r>
              </a:p>
              <a:p>
                <a:pPr marL="112713" lvl="0" indent="-112713">
                  <a:buClrTx/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rgbClr val="0E293C"/>
                    </a:solidFill>
                    <a:latin typeface="Muli" panose="02000503000000000000" pitchFamily="2" charset="0"/>
                  </a:rPr>
                  <a:t>130 trainees from 5 Indonesia ministries</a:t>
                </a:r>
              </a:p>
              <a:p>
                <a:pPr marL="112713" lvl="0" indent="-112713">
                  <a:buClrTx/>
                  <a:buFont typeface="Arial" panose="020B0604020202020204" pitchFamily="34" charset="0"/>
                  <a:buChar char="•"/>
                </a:pPr>
                <a:r>
                  <a:rPr lang="en-US" sz="1200" dirty="0">
                    <a:solidFill>
                      <a:srgbClr val="0E293C"/>
                    </a:solidFill>
                    <a:latin typeface="Muli" panose="02000503000000000000" pitchFamily="2" charset="0"/>
                  </a:rPr>
                  <a:t>Formulation of M&amp;E handbook for LG</a:t>
                </a:r>
                <a:endParaRPr lang="en" sz="1200" dirty="0">
                  <a:solidFill>
                    <a:srgbClr val="0E293C"/>
                  </a:solidFill>
                  <a:latin typeface="Muli" panose="02000503000000000000" pitchFamily="2" charset="0"/>
                </a:endParaRPr>
              </a:p>
            </p:txBody>
          </p:sp>
        </p:grpSp>
        <p:sp>
          <p:nvSpPr>
            <p:cNvPr id="57" name="Rectangle 56"/>
            <p:cNvSpPr/>
            <p:nvPr/>
          </p:nvSpPr>
          <p:spPr>
            <a:xfrm>
              <a:off x="2545927" y="3035730"/>
              <a:ext cx="1719940" cy="1081580"/>
            </a:xfrm>
            <a:prstGeom prst="rect">
              <a:avLst/>
            </a:prstGeom>
            <a:blipFill rotWithShape="1">
              <a:blip r:embed="rId4" cstate="email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rightnessContrast bright="3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4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6" name="Shape 1554"/>
          <p:cNvSpPr txBox="1">
            <a:spLocks/>
          </p:cNvSpPr>
          <p:nvPr/>
        </p:nvSpPr>
        <p:spPr>
          <a:xfrm>
            <a:off x="0" y="2293178"/>
            <a:ext cx="9144000" cy="6155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25" tIns="91425" rIns="91425" bIns="91425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9BBD5"/>
              </a:buClr>
              <a:buSzPct val="100000"/>
              <a:buFont typeface="Nixie One"/>
              <a:buNone/>
              <a:defRPr sz="4000" b="0" i="0" u="none" strike="noStrike" cap="none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1pPr>
            <a:lvl2pPr lvl="1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2pPr>
            <a:lvl3pPr lvl="2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3pPr>
            <a:lvl4pPr lvl="3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4pPr>
            <a:lvl5pPr lvl="4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5pPr>
            <a:lvl6pPr lvl="5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6pPr>
            <a:lvl7pPr lvl="6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7pPr>
            <a:lvl8pPr lvl="7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8pPr>
            <a:lvl9pPr lvl="8">
              <a:spcBef>
                <a:spcPts val="0"/>
              </a:spcBef>
              <a:buClr>
                <a:srgbClr val="19BBD5"/>
              </a:buClr>
              <a:buSzPct val="100000"/>
              <a:buFont typeface="Nixie One"/>
              <a:buNone/>
              <a:defRPr sz="4000">
                <a:solidFill>
                  <a:srgbClr val="19BBD5"/>
                </a:solidFill>
                <a:latin typeface="Nixie One"/>
                <a:ea typeface="Nixie One"/>
                <a:cs typeface="Nixie One"/>
                <a:sym typeface="Nixie One"/>
              </a:defRPr>
            </a:lvl9pPr>
          </a:lstStyle>
          <a:p>
            <a:pPr algn="ctr"/>
            <a:r>
              <a:rPr lang="en-US" sz="2800" b="1" dirty="0">
                <a:solidFill>
                  <a:srgbClr val="184769"/>
                </a:solidFill>
                <a:latin typeface="Nirmala UI" panose="020B0502040204020203" pitchFamily="34" charset="0"/>
                <a:cs typeface="Nirmala UI" panose="020B0502040204020203" pitchFamily="34" charset="0"/>
              </a:rPr>
              <a:t>Key Activities &amp; Results</a:t>
            </a:r>
            <a:endParaRPr lang="en" sz="2800" b="1" dirty="0">
              <a:solidFill>
                <a:srgbClr val="184769"/>
              </a:solidFill>
              <a:latin typeface="Nirmala UI" panose="020B0502040204020203" pitchFamily="34" charset="0"/>
              <a:cs typeface="Nirmala UI" panose="020B0502040204020203" pitchFamily="34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4572846" y="-1"/>
            <a:ext cx="4579620" cy="2290827"/>
            <a:chOff x="4580466" y="-1"/>
            <a:chExt cx="4563534" cy="2290827"/>
          </a:xfrm>
        </p:grpSpPr>
        <p:sp>
          <p:nvSpPr>
            <p:cNvPr id="26" name="Rectangle 25"/>
            <p:cNvSpPr/>
            <p:nvPr/>
          </p:nvSpPr>
          <p:spPr>
            <a:xfrm>
              <a:off x="4580466" y="-1"/>
              <a:ext cx="4563534" cy="1486541"/>
            </a:xfrm>
            <a:prstGeom prst="rect">
              <a:avLst/>
            </a:prstGeom>
            <a:solidFill>
              <a:srgbClr val="00E1C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5760" tIns="182880" rIns="1554480" rtlCol="0" anchor="ctr"/>
            <a:lstStyle/>
            <a:p>
              <a:pPr lvl="0"/>
              <a:r>
                <a:rPr lang="en-US" sz="2800" b="1" dirty="0">
                  <a:solidFill>
                    <a:srgbClr val="0E293C"/>
                  </a:solidFill>
                  <a:latin typeface="Nixie One" panose="02000503080000020004" pitchFamily="2" charset="0"/>
                </a:rPr>
                <a:t>Verification</a:t>
              </a:r>
              <a:br>
                <a:rPr lang="en-US" sz="2800" b="1" dirty="0">
                  <a:solidFill>
                    <a:srgbClr val="0E293C"/>
                  </a:solidFill>
                  <a:latin typeface="Nixie One" panose="02000503080000020004" pitchFamily="2" charset="0"/>
                </a:rPr>
              </a:br>
              <a:r>
                <a:rPr lang="en-US" sz="2800" b="1" dirty="0">
                  <a:solidFill>
                    <a:srgbClr val="0E293C"/>
                  </a:solidFill>
                  <a:latin typeface="Nixie One" panose="02000503080000020004" pitchFamily="2" charset="0"/>
                </a:rPr>
                <a:t>Handbook</a:t>
              </a:r>
            </a:p>
            <a:p>
              <a:pPr lvl="0"/>
              <a:endParaRPr lang="en-US" sz="800" b="1" dirty="0">
                <a:solidFill>
                  <a:srgbClr val="0E293C"/>
                </a:solidFill>
                <a:latin typeface="Nixie One" panose="02000503080000020004" pitchFamily="2" charset="0"/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4580466" y="1336719"/>
              <a:ext cx="4563534" cy="954107"/>
            </a:xfrm>
            <a:prstGeom prst="rect">
              <a:avLst/>
            </a:prstGeom>
            <a:solidFill>
              <a:srgbClr val="00E1C6"/>
            </a:solidFill>
          </p:spPr>
          <p:txBody>
            <a:bodyPr wrap="square">
              <a:spAutoFit/>
            </a:bodyPr>
            <a:lstStyle/>
            <a:p>
              <a:pPr marL="403225" lvl="0" indent="-174625"/>
              <a:r>
                <a:rPr lang="en-US" dirty="0">
                  <a:solidFill>
                    <a:srgbClr val="0E293C"/>
                  </a:solidFill>
                  <a:latin typeface="Muli" panose="02000503000000000000" pitchFamily="2" charset="0"/>
                </a:rPr>
                <a:t>Guidance for good and bad </a:t>
              </a:r>
            </a:p>
            <a:p>
              <a:pPr marL="403225" lvl="0" indent="-174625"/>
              <a:r>
                <a:rPr lang="en-US" dirty="0">
                  <a:solidFill>
                    <a:srgbClr val="0E293C"/>
                  </a:solidFill>
                  <a:latin typeface="Muli" panose="02000503000000000000" pitchFamily="2" charset="0"/>
                </a:rPr>
                <a:t>infrastructure quality</a:t>
              </a:r>
            </a:p>
            <a:p>
              <a:pPr marL="403225" lvl="0" indent="-174625">
                <a:buClrTx/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184769"/>
                  </a:solidFill>
                  <a:latin typeface="Muli" panose="02000503000000000000" pitchFamily="2" charset="0"/>
                </a:rPr>
                <a:t>For BPKP</a:t>
              </a:r>
            </a:p>
            <a:p>
              <a:pPr marL="403225" lvl="0" indent="-174625">
                <a:buClrTx/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rgbClr val="184769"/>
                  </a:solidFill>
                  <a:latin typeface="Muli" panose="02000503000000000000" pitchFamily="2" charset="0"/>
                </a:rPr>
                <a:t>For LG</a:t>
              </a:r>
              <a:endParaRPr lang="en" dirty="0">
                <a:solidFill>
                  <a:srgbClr val="184769"/>
                </a:solidFill>
                <a:latin typeface="Muli" panose="02000503000000000000" pitchFamily="2" charset="0"/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7526770" y="243516"/>
              <a:ext cx="1183299" cy="1438164"/>
            </a:xfrm>
            <a:prstGeom prst="rect">
              <a:avLst/>
            </a:prstGeom>
            <a:blipFill rotWithShape="1"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14" name="Group 13"/>
          <p:cNvGrpSpPr/>
          <p:nvPr/>
        </p:nvGrpSpPr>
        <p:grpSpPr>
          <a:xfrm>
            <a:off x="4647052" y="3035730"/>
            <a:ext cx="4431208" cy="2085251"/>
            <a:chOff x="4647052" y="3035730"/>
            <a:chExt cx="4431208" cy="2085251"/>
          </a:xfrm>
        </p:grpSpPr>
        <p:sp>
          <p:nvSpPr>
            <p:cNvPr id="12" name="Rectangle 11"/>
            <p:cNvSpPr/>
            <p:nvPr/>
          </p:nvSpPr>
          <p:spPr>
            <a:xfrm>
              <a:off x="4647052" y="3951430"/>
              <a:ext cx="4431208" cy="1169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lvl="0" indent="-171450">
                <a:buClrTx/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bg1"/>
                  </a:solidFill>
                  <a:latin typeface="Muli" panose="02000503000000000000" pitchFamily="2" charset="0"/>
                </a:rPr>
                <a:t>75 participants from 5 countries </a:t>
              </a:r>
            </a:p>
            <a:p>
              <a:pPr marL="171450" lvl="0" indent="-171450">
                <a:buClrTx/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bg1"/>
                  </a:solidFill>
                  <a:latin typeface="Muli" panose="02000503000000000000" pitchFamily="2" charset="0"/>
                </a:rPr>
                <a:t>Cross-learning event on leveraging performance-based grant</a:t>
              </a:r>
            </a:p>
            <a:p>
              <a:pPr marL="171450" lvl="0" indent="-171450">
                <a:buClrTx/>
                <a:buFont typeface="Arial" panose="020B0604020202020204" pitchFamily="34" charset="0"/>
                <a:buChar char="•"/>
              </a:pPr>
              <a:r>
                <a:rPr lang="en-US" dirty="0">
                  <a:solidFill>
                    <a:schemeClr val="bg1"/>
                  </a:solidFill>
                  <a:latin typeface="Muli" panose="02000503000000000000" pitchFamily="2" charset="0"/>
                </a:rPr>
                <a:t>Ongoing Exchange through OBA/RBF Community of Practice</a:t>
              </a:r>
              <a:endParaRPr lang="en" dirty="0">
                <a:solidFill>
                  <a:schemeClr val="bg1"/>
                </a:solidFill>
                <a:latin typeface="Muli" panose="02000503000000000000" pitchFamily="2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4794860" y="3035730"/>
              <a:ext cx="3432350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defTabSz="3429000"/>
              <a:r>
                <a:rPr lang="en-US" sz="2400" b="1" dirty="0">
                  <a:solidFill>
                    <a:schemeClr val="bg1"/>
                  </a:solidFill>
                  <a:latin typeface="Nixie One" panose="02000503080000020004" pitchFamily="2" charset="0"/>
                </a:rPr>
                <a:t>South-South </a:t>
              </a:r>
            </a:p>
            <a:p>
              <a:pPr lvl="0" defTabSz="3429000"/>
              <a:r>
                <a:rPr lang="en-US" sz="2400" b="1" dirty="0">
                  <a:solidFill>
                    <a:schemeClr val="bg1"/>
                  </a:solidFill>
                  <a:latin typeface="Nixie One" panose="02000503080000020004" pitchFamily="2" charset="0"/>
                </a:rPr>
                <a:t>Knowledge Exchang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662380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Shape 14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1669"/>
          <p:cNvSpPr txBox="1">
            <a:spLocks noGrp="1"/>
          </p:cNvSpPr>
          <p:nvPr>
            <p:ph type="ctrTitle" idx="4294967295"/>
          </p:nvPr>
        </p:nvSpPr>
        <p:spPr>
          <a:xfrm>
            <a:off x="1348287" y="890727"/>
            <a:ext cx="7360920" cy="1159799"/>
          </a:xfrm>
          <a:prstGeom prst="rect">
            <a:avLst/>
          </a:prstGeom>
        </p:spPr>
        <p:txBody>
          <a:bodyPr lIns="91425" tIns="91425" rIns="91425" bIns="91425" anchor="b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br>
              <a:rPr lang="en" sz="2000" b="1" dirty="0">
                <a:solidFill>
                  <a:schemeClr val="bg1"/>
                </a:solidFill>
              </a:rPr>
            </a:br>
            <a:r>
              <a:rPr lang="en" sz="2000" b="1" dirty="0">
                <a:solidFill>
                  <a:schemeClr val="bg1"/>
                </a:solidFill>
              </a:rPr>
              <a:t>To Continue the Collaboration……</a:t>
            </a:r>
            <a:br>
              <a:rPr lang="en" sz="2000" b="1" dirty="0">
                <a:solidFill>
                  <a:schemeClr val="bg1"/>
                </a:solidFill>
              </a:rPr>
            </a:br>
            <a:endParaRPr lang="en" sz="2000" b="1" dirty="0">
              <a:solidFill>
                <a:schemeClr val="bg1"/>
              </a:solidFill>
            </a:endParaRPr>
          </a:p>
        </p:txBody>
      </p:sp>
      <p:sp>
        <p:nvSpPr>
          <p:cNvPr id="10" name="Shape 1670"/>
          <p:cNvSpPr txBox="1">
            <a:spLocks/>
          </p:cNvSpPr>
          <p:nvPr/>
        </p:nvSpPr>
        <p:spPr>
          <a:xfrm>
            <a:off x="2449773" y="3307266"/>
            <a:ext cx="5994937" cy="79293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9BBD5"/>
              </a:buClr>
              <a:buFont typeface="Muli"/>
              <a:buChar char="◇"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1pPr>
            <a:lvl2pPr marR="0" lvl="1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19BBD5"/>
              </a:buClr>
              <a:buFont typeface="Muli"/>
              <a:buChar char="￭"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19BBD5"/>
              </a:buClr>
              <a:buFont typeface="Muli"/>
              <a:buChar char="￮"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3pPr>
            <a:lvl4pPr marR="0" lvl="3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19BBD5"/>
              </a:buClr>
              <a:buFont typeface="Muli"/>
              <a:buNone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19BBD5"/>
              </a:buClr>
              <a:buFont typeface="Muli"/>
              <a:buNone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5pPr>
            <a:lvl6pPr marR="0" lvl="5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C6DAEC"/>
              </a:buClr>
              <a:buFont typeface="Muli"/>
              <a:buNone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6pPr>
            <a:lvl7pPr marR="0" lvl="6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C6DAEC"/>
              </a:buClr>
              <a:buFont typeface="Muli"/>
              <a:buNone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7pPr>
            <a:lvl8pPr marR="0" lvl="7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C6DAEC"/>
              </a:buClr>
              <a:buFont typeface="Muli"/>
              <a:buNone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8pPr>
            <a:lvl9pPr marR="0" lvl="8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C6DAEC"/>
              </a:buClr>
              <a:buFont typeface="Muli"/>
              <a:buNone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9pPr>
          </a:lstStyle>
          <a:p>
            <a:pPr>
              <a:spcBef>
                <a:spcPts val="0"/>
              </a:spcBef>
              <a:buNone/>
            </a:pPr>
            <a:r>
              <a:rPr lang="en-US" sz="2400" dirty="0">
                <a:solidFill>
                  <a:schemeClr val="accent5">
                    <a:lumMod val="20000"/>
                    <a:lumOff val="80000"/>
                  </a:schemeClr>
                </a:solidFill>
                <a:latin typeface="Gill Sans MT" panose="020B0502020104020203" pitchFamily="34" charset="0"/>
              </a:rPr>
              <a:t>for </a:t>
            </a:r>
            <a:r>
              <a:rPr lang="en-US" sz="2400" dirty="0">
                <a:solidFill>
                  <a:schemeClr val="accent5">
                    <a:lumMod val="20000"/>
                    <a:lumOff val="80000"/>
                  </a:schemeClr>
                </a:solidFill>
                <a:latin typeface="Gill Sans MT" panose="020B0502020104020203" pitchFamily="34" charset="0"/>
                <a:cs typeface="Microsoft Tai Le" panose="020B0502040204020203" pitchFamily="34" charset="0"/>
              </a:rPr>
              <a:t>further</a:t>
            </a:r>
            <a:r>
              <a:rPr lang="en-US" sz="2400" dirty="0">
                <a:solidFill>
                  <a:schemeClr val="accent5">
                    <a:lumMod val="20000"/>
                    <a:lumOff val="80000"/>
                  </a:schemeClr>
                </a:solidFill>
                <a:latin typeface="Gill Sans MT" panose="020B0502020104020203" pitchFamily="34" charset="0"/>
              </a:rPr>
              <a:t> information visit our website:  </a:t>
            </a:r>
            <a:r>
              <a:rPr lang="en-US" sz="2400" dirty="0">
                <a:solidFill>
                  <a:srgbClr val="FFC000"/>
                </a:solidFill>
                <a:latin typeface="Gill Sans MT" panose="020B0502020104020203" pitchFamily="34" charset="0"/>
              </a:rPr>
              <a:t>www.gpoba.org</a:t>
            </a:r>
          </a:p>
          <a:p>
            <a:pPr>
              <a:spcBef>
                <a:spcPts val="0"/>
              </a:spcBef>
              <a:buNone/>
            </a:pPr>
            <a:endParaRPr lang="en" sz="2400" dirty="0">
              <a:latin typeface="Gill Sans MT" panose="020B0502020104020203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449773" y="4254804"/>
            <a:ext cx="334899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FFC000"/>
                </a:solidFill>
                <a:latin typeface="Gill Sans MT" panose="020B0502020104020203" pitchFamily="34" charset="0"/>
              </a:rPr>
              <a:t>cofarrell@worldbank.org</a:t>
            </a:r>
          </a:p>
        </p:txBody>
      </p:sp>
      <p:sp>
        <p:nvSpPr>
          <p:cNvPr id="5" name="Shape 1670"/>
          <p:cNvSpPr txBox="1">
            <a:spLocks/>
          </p:cNvSpPr>
          <p:nvPr/>
        </p:nvSpPr>
        <p:spPr>
          <a:xfrm>
            <a:off x="2449773" y="2282428"/>
            <a:ext cx="5520697" cy="792936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9BBD5"/>
              </a:buClr>
              <a:buFont typeface="Muli"/>
              <a:buChar char="◇"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1pPr>
            <a:lvl2pPr marR="0" lvl="1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19BBD5"/>
              </a:buClr>
              <a:buFont typeface="Muli"/>
              <a:buChar char="￭"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2pPr>
            <a:lvl3pPr marR="0" lvl="2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rgbClr val="19BBD5"/>
              </a:buClr>
              <a:buFont typeface="Muli"/>
              <a:buChar char="￮"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3pPr>
            <a:lvl4pPr marR="0" lvl="3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19BBD5"/>
              </a:buClr>
              <a:buFont typeface="Muli"/>
              <a:buNone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4pPr>
            <a:lvl5pPr marR="0" lvl="4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19BBD5"/>
              </a:buClr>
              <a:buFont typeface="Muli"/>
              <a:buNone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5pPr>
            <a:lvl6pPr marR="0" lvl="5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C6DAEC"/>
              </a:buClr>
              <a:buFont typeface="Muli"/>
              <a:buNone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6pPr>
            <a:lvl7pPr marR="0" lvl="6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C6DAEC"/>
              </a:buClr>
              <a:buFont typeface="Muli"/>
              <a:buNone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7pPr>
            <a:lvl8pPr marR="0" lvl="7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C6DAEC"/>
              </a:buClr>
              <a:buFont typeface="Muli"/>
              <a:buNone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8pPr>
            <a:lvl9pPr marR="0" lvl="8" algn="l" rtl="0">
              <a:lnSpc>
                <a:spcPct val="100000"/>
              </a:lnSpc>
              <a:spcBef>
                <a:spcPts val="360"/>
              </a:spcBef>
              <a:spcAft>
                <a:spcPts val="0"/>
              </a:spcAft>
              <a:buClr>
                <a:srgbClr val="C6DAEC"/>
              </a:buClr>
              <a:buFont typeface="Muli"/>
              <a:buNone/>
              <a:defRPr sz="1400" b="0" i="0" u="none" strike="noStrike" cap="none">
                <a:solidFill>
                  <a:srgbClr val="C6DAEC"/>
                </a:solidFill>
                <a:latin typeface="Muli"/>
                <a:ea typeface="Muli"/>
                <a:cs typeface="Muli"/>
                <a:sym typeface="Muli"/>
              </a:defRPr>
            </a:lvl9pPr>
          </a:lstStyle>
          <a:p>
            <a:pPr>
              <a:spcBef>
                <a:spcPts val="0"/>
              </a:spcBef>
              <a:buNone/>
            </a:pPr>
            <a:r>
              <a:rPr lang="en-US" sz="2400" dirty="0">
                <a:solidFill>
                  <a:schemeClr val="accent5">
                    <a:lumMod val="20000"/>
                    <a:lumOff val="80000"/>
                  </a:schemeClr>
                </a:solidFill>
                <a:latin typeface="Gill Sans MT" panose="020B0502020104020203" pitchFamily="34" charset="0"/>
              </a:rPr>
              <a:t>Join the OBA/RBF Community of Practice: </a:t>
            </a:r>
            <a:r>
              <a:rPr lang="en-US" sz="2400" dirty="0">
                <a:solidFill>
                  <a:srgbClr val="FFC000"/>
                </a:solidFill>
                <a:latin typeface="Gill Sans MT" panose="020B0502020104020203" pitchFamily="34" charset="0"/>
              </a:rPr>
              <a:t>gpoba.org/community </a:t>
            </a:r>
          </a:p>
          <a:p>
            <a:pPr>
              <a:spcBef>
                <a:spcPts val="0"/>
              </a:spcBef>
              <a:buNone/>
            </a:pPr>
            <a:endParaRPr lang="en" sz="2400" dirty="0">
              <a:latin typeface="Gill Sans MT" panose="020B0502020104020203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273224" y="2430960"/>
            <a:ext cx="678523" cy="678524"/>
            <a:chOff x="1252752" y="2376368"/>
            <a:chExt cx="678523" cy="678524"/>
          </a:xfrm>
        </p:grpSpPr>
        <p:sp>
          <p:nvSpPr>
            <p:cNvPr id="6" name="Rectangle 5"/>
            <p:cNvSpPr/>
            <p:nvPr/>
          </p:nvSpPr>
          <p:spPr>
            <a:xfrm>
              <a:off x="1255595" y="2376368"/>
              <a:ext cx="675680" cy="6785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52752" y="2376369"/>
              <a:ext cx="678523" cy="678523"/>
            </a:xfrm>
            <a:prstGeom prst="rect">
              <a:avLst/>
            </a:prstGeom>
          </p:spPr>
        </p:pic>
      </p:grpSp>
      <p:pic>
        <p:nvPicPr>
          <p:cNvPr id="11" name="Picture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457" y="3578809"/>
            <a:ext cx="1357421" cy="395281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heme/theme1.xml><?xml version="1.0" encoding="utf-8"?>
<a:theme xmlns:a="http://schemas.openxmlformats.org/drawingml/2006/main" name="Imogen template">
  <a:themeElements>
    <a:clrScheme name="Custom 347">
      <a:dk1>
        <a:srgbClr val="000000"/>
      </a:dk1>
      <a:lt1>
        <a:srgbClr val="FFFFFF"/>
      </a:lt1>
      <a:dk2>
        <a:srgbClr val="666666"/>
      </a:dk2>
      <a:lt2>
        <a:srgbClr val="CCCCCC"/>
      </a:lt2>
      <a:accent1>
        <a:srgbClr val="3A81BA"/>
      </a:accent1>
      <a:accent2>
        <a:srgbClr val="D89F39"/>
      </a:accent2>
      <a:accent3>
        <a:srgbClr val="8BAB42"/>
      </a:accent3>
      <a:accent4>
        <a:srgbClr val="57A7B5"/>
      </a:accent4>
      <a:accent5>
        <a:srgbClr val="8B81D2"/>
      </a:accent5>
      <a:accent6>
        <a:srgbClr val="963334"/>
      </a:accent6>
      <a:hlink>
        <a:srgbClr val="1155CC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47</TotalTime>
  <Words>492</Words>
  <Application>Microsoft Office PowerPoint</Application>
  <PresentationFormat>On-screen Show (16:9)</PresentationFormat>
  <Paragraphs>112</Paragraphs>
  <Slides>7</Slides>
  <Notes>7</Notes>
  <HiddenSlides>0</HiddenSlides>
  <MMClips>0</MMClips>
  <ScaleCrop>false</ScaleCrop>
  <HeadingPairs>
    <vt:vector size="6" baseType="variant">
      <vt:variant>
        <vt:lpstr>Fonts Used</vt:lpstr>
      </vt:variant>
      <vt:variant>
        <vt:i4>1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26" baseType="lpstr">
      <vt:lpstr>Calibri Light</vt:lpstr>
      <vt:lpstr>Aharoni</vt:lpstr>
      <vt:lpstr>Times New Roman</vt:lpstr>
      <vt:lpstr>Andes ExtraLight</vt:lpstr>
      <vt:lpstr>Microsoft Tai Le</vt:lpstr>
      <vt:lpstr>MS PGothic</vt:lpstr>
      <vt:lpstr>Muli</vt:lpstr>
      <vt:lpstr>Wingdings</vt:lpstr>
      <vt:lpstr>Trebuchet MS</vt:lpstr>
      <vt:lpstr>Calibri</vt:lpstr>
      <vt:lpstr>Nirmala UI</vt:lpstr>
      <vt:lpstr>Arial</vt:lpstr>
      <vt:lpstr>Estrangelo Edessa</vt:lpstr>
      <vt:lpstr>MS PGothic</vt:lpstr>
      <vt:lpstr>Gill Sans MT</vt:lpstr>
      <vt:lpstr>Nixie One</vt:lpstr>
      <vt:lpstr>Bastian Sans Light</vt:lpstr>
      <vt:lpstr>Imogen template</vt:lpstr>
      <vt:lpstr>1_Office Theme</vt:lpstr>
      <vt:lpstr>Government of Indonesia  &amp;  GPOBA: A Partnership for LG Performance Improvement &amp; Accountabilit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To Continue the Collaboration……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your presentation title</dc:title>
  <dc:creator>Indra Irnawan</dc:creator>
  <cp:lastModifiedBy>Griya Rufianne</cp:lastModifiedBy>
  <cp:revision>122</cp:revision>
  <cp:lastPrinted>2017-05-05T21:08:38Z</cp:lastPrinted>
  <dcterms:modified xsi:type="dcterms:W3CDTF">2017-05-09T03:44:45Z</dcterms:modified>
</cp:coreProperties>
</file>